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49" r:id="rId2"/>
    <p:sldId id="325" r:id="rId3"/>
    <p:sldId id="274" r:id="rId4"/>
    <p:sldId id="269" r:id="rId5"/>
    <p:sldId id="268" r:id="rId6"/>
    <p:sldId id="262" r:id="rId7"/>
    <p:sldId id="279" r:id="rId8"/>
    <p:sldId id="303" r:id="rId9"/>
    <p:sldId id="286" r:id="rId10"/>
    <p:sldId id="350" r:id="rId11"/>
    <p:sldId id="285" r:id="rId12"/>
    <p:sldId id="351" r:id="rId13"/>
    <p:sldId id="352" r:id="rId14"/>
    <p:sldId id="282" r:id="rId15"/>
    <p:sldId id="353" r:id="rId16"/>
    <p:sldId id="354" r:id="rId17"/>
    <p:sldId id="355" r:id="rId18"/>
    <p:sldId id="273" r:id="rId19"/>
    <p:sldId id="356" r:id="rId20"/>
    <p:sldId id="357" r:id="rId21"/>
    <p:sldId id="358" r:id="rId22"/>
    <p:sldId id="277" r:id="rId23"/>
    <p:sldId id="359" r:id="rId24"/>
    <p:sldId id="360" r:id="rId25"/>
    <p:sldId id="361" r:id="rId26"/>
    <p:sldId id="362" r:id="rId27"/>
    <p:sldId id="363" r:id="rId28"/>
    <p:sldId id="364" r:id="rId29"/>
    <p:sldId id="365" r:id="rId30"/>
    <p:sldId id="366" r:id="rId31"/>
    <p:sldId id="367" r:id="rId32"/>
    <p:sldId id="368" r:id="rId33"/>
    <p:sldId id="369" r:id="rId34"/>
    <p:sldId id="370" r:id="rId35"/>
    <p:sldId id="371" r:id="rId36"/>
    <p:sldId id="284" r:id="rId37"/>
    <p:sldId id="372" r:id="rId38"/>
    <p:sldId id="373" r:id="rId39"/>
    <p:sldId id="374" r:id="rId40"/>
    <p:sldId id="375" r:id="rId41"/>
    <p:sldId id="376" r:id="rId42"/>
    <p:sldId id="378" r:id="rId43"/>
    <p:sldId id="377" r:id="rId44"/>
    <p:sldId id="379" r:id="rId45"/>
    <p:sldId id="380" r:id="rId46"/>
    <p:sldId id="381" r:id="rId47"/>
    <p:sldId id="382" r:id="rId48"/>
    <p:sldId id="383" r:id="rId49"/>
    <p:sldId id="384" r:id="rId50"/>
    <p:sldId id="342" r:id="rId5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c4bOABpHrvCCTHKdbmvjDg==" hashData="KLEq3FUTVwmiuVVD5e864+H8DZBT8i6TLOW65FURwBXJ9xbUZdPn3t6yiK1X2yG8AJaxsoErQcJHe1xbNs7cig=="/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442" autoAdjust="0"/>
    <p:restoredTop sz="94660"/>
  </p:normalViewPr>
  <p:slideViewPr>
    <p:cSldViewPr snapToGrid="0">
      <p:cViewPr varScale="1">
        <p:scale>
          <a:sx n="90" d="100"/>
          <a:sy n="90" d="100"/>
        </p:scale>
        <p:origin x="14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1B2A3E2-37D6-4E47-BA99-1F4C56B79C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A99EBFB3-E7D6-4F6F-86A7-FE46CFC373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BD13A8C-5728-474B-98AC-B90F2742FD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C3DDE-8CF6-433B-A9E1-FE0A1D045C2A}" type="datetimeFigureOut">
              <a:rPr lang="en-US" smtClean="0"/>
              <a:t>1/2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B3998ED-58B9-4800-89DE-31866A58D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603AF27C-E695-4A8F-8623-53B991BFAB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5FB46-A924-4875-8EBE-A32218FE14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9444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D5213B-4756-4678-899C-9A4D5F9D0D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3DA19D1E-ED29-4D86-AB26-9C874D16CA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032D2157-608C-4CDD-85D2-61490EF2C1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C3DDE-8CF6-433B-A9E1-FE0A1D045C2A}" type="datetimeFigureOut">
              <a:rPr lang="en-US" smtClean="0"/>
              <a:t>1/2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B9A4A80-F27D-4B62-9C02-3DA64E5888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2EE958D-81CE-4337-A3B0-4AD5ACEA16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5FB46-A924-4875-8EBE-A32218FE14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5753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9F0BFA4A-F35B-4E59-BCE2-A3F197A89C0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FF602EBD-EDA7-4A45-B641-BD94023C176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EF5700C-7609-4FA4-853D-9F215B84B0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C3DDE-8CF6-433B-A9E1-FE0A1D045C2A}" type="datetimeFigureOut">
              <a:rPr lang="en-US" smtClean="0"/>
              <a:t>1/2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729F117-DCD0-4BA8-8CA3-D8FD3BC281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679EC11D-706F-40CF-B2F0-49DE78FE8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5FB46-A924-4875-8EBE-A32218FE14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960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9AA408-2190-46FB-B9C8-EB7826CFE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ED020B7-295A-4FA0-B0A1-E39397CF68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A9C4DA0-2FCF-4EAA-BB51-436288ED81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C3DDE-8CF6-433B-A9E1-FE0A1D045C2A}" type="datetimeFigureOut">
              <a:rPr lang="en-US" smtClean="0"/>
              <a:t>1/2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BA66F70-6317-4670-867C-0A76C421D1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534E961-15A8-43F8-AAD5-6E79077831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5FB46-A924-4875-8EBE-A32218FE14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0795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60ED0CF-D9AC-4DD0-AC57-9449BA08E2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1326AEB3-74E5-4F59-AFCD-DA4F23E288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A17F034-E293-421B-8DE3-33F5A1DCF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C3DDE-8CF6-433B-A9E1-FE0A1D045C2A}" type="datetimeFigureOut">
              <a:rPr lang="en-US" smtClean="0"/>
              <a:t>1/2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5EEAD89-66CA-4FC8-AF0F-04776FF8A2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A79AE35-63BE-45C6-81A8-FE9D1F47C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5FB46-A924-4875-8EBE-A32218FE14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99137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8C4AA9B-C5BF-4F9F-8948-CD28E64A4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D2F418C4-C442-4F6A-AA99-A543B7269E3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69D0EC0B-1673-48B3-82AE-C5049AB98D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48E4CE6C-C1AC-4A47-8A06-E4ADD8B3F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C3DDE-8CF6-433B-A9E1-FE0A1D045C2A}" type="datetimeFigureOut">
              <a:rPr lang="en-US" smtClean="0"/>
              <a:t>1/23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D3EE1020-BD42-44DC-83AA-A751FEEFC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76EEF8B6-6466-41A7-A791-44C85A538D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5FB46-A924-4875-8EBE-A32218FE14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1646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9AB6866-C996-42B7-A291-3B76DCC4C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0F89093-FDE8-49FA-B102-43DBF1CC15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F9E766DF-CE81-45D2-8E2A-A6986712B8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6C9D6A3C-40D0-4C67-9AAD-F0BE081852C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B400F9BF-61C8-4C99-B4FD-A49DCFE6F0C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9701F983-5171-4F1F-B26B-5AC59426E4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C3DDE-8CF6-433B-A9E1-FE0A1D045C2A}" type="datetimeFigureOut">
              <a:rPr lang="en-US" smtClean="0"/>
              <a:t>1/23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93115C0E-BA80-46BF-A108-48EB86A9A2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702B0B1A-D412-42B3-AF32-F77719DC3C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5FB46-A924-4875-8EBE-A32218FE14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6743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8FDF9C9-1A1C-4ED7-97AF-DA016412B9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BA43BA77-8064-4855-A871-151900ED57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C3DDE-8CF6-433B-A9E1-FE0A1D045C2A}" type="datetimeFigureOut">
              <a:rPr lang="en-US" smtClean="0"/>
              <a:t>1/23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8D43EAD1-EA2B-4D9D-B754-CC4DB03DE8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F445191E-40E9-49C9-B133-9AD57F000C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5FB46-A924-4875-8EBE-A32218FE14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39946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2210A552-D519-42B8-857C-4EF02635C4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C3DDE-8CF6-433B-A9E1-FE0A1D045C2A}" type="datetimeFigureOut">
              <a:rPr lang="en-US" smtClean="0"/>
              <a:t>1/23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DC1ED97C-BF39-4A20-B8E0-8806B6A906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25DA085F-07BA-4C77-85E5-45084A28BB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5FB46-A924-4875-8EBE-A32218FE14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0764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23896E7-3751-4B4D-8FB9-FA68300BCE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BA8028A-1F8E-4393-9513-9F91B94847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33F3161B-232C-443C-86E8-FCBF2AD840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F2238F78-CAA4-4EE5-8820-7DD50FADB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C3DDE-8CF6-433B-A9E1-FE0A1D045C2A}" type="datetimeFigureOut">
              <a:rPr lang="en-US" smtClean="0"/>
              <a:t>1/23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E221A414-FD82-4D9D-A03C-22E6B5405C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45059C80-9B89-44A9-8DC8-93FE713E9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5FB46-A924-4875-8EBE-A32218FE14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10317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A9102B1-9134-4510-8A2B-8F9FDA65E0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63F9C113-2189-4E41-B59F-9BFEDF63235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188BB107-413A-400D-A403-D4FF965696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A87CDBCE-C172-4721-8CBA-EC421BABC5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C3DDE-8CF6-433B-A9E1-FE0A1D045C2A}" type="datetimeFigureOut">
              <a:rPr lang="en-US" smtClean="0"/>
              <a:t>1/23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CA4938F0-C986-41AE-9E28-2CBAA53F44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D111F26E-CB86-4E92-A6C0-41A5E9F37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5FB46-A924-4875-8EBE-A32218FE14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9876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1AF86E2B-8E7F-441D-B0BA-A6A788DDB8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EAE95E6-A2B7-417E-9179-44F90EEC35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EBC5CCC-F8B8-4183-A581-D5ED4F0B1A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4C3DDE-8CF6-433B-A9E1-FE0A1D045C2A}" type="datetimeFigureOut">
              <a:rPr lang="en-US" smtClean="0"/>
              <a:t>1/2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E361681-857D-42E7-A9CE-F02C4333FD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7B24676-2010-4A88-86B0-BF1854A00A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85FB46-A924-4875-8EBE-A32218FE14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1682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/>
          <p:cNvSpPr/>
          <p:nvPr/>
        </p:nvSpPr>
        <p:spPr>
          <a:xfrm flipV="1">
            <a:off x="1524000" y="0"/>
            <a:ext cx="9144000" cy="5625296"/>
          </a:xfrm>
          <a:prstGeom prst="rect">
            <a:avLst/>
          </a:prstGeom>
          <a:blipFill dpi="0" rotWithShape="1">
            <a:blip r:embed="rId2">
              <a:alphaModFix amt="11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 l="-13000" t="-12000" r="-14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320427" y="3310138"/>
            <a:ext cx="9240253" cy="3429000"/>
          </a:xfrm>
          <a:prstGeom prst="rect">
            <a:avLst/>
          </a:prstGeom>
          <a:gradFill flip="none" rotWithShape="1">
            <a:gsLst>
              <a:gs pos="0">
                <a:srgbClr val="33B3A6"/>
              </a:gs>
              <a:gs pos="100000">
                <a:srgbClr val="00569B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    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524000" y="3487190"/>
            <a:ext cx="9144000" cy="92597"/>
          </a:xfrm>
          <a:prstGeom prst="rect">
            <a:avLst/>
          </a:prstGeom>
          <a:solidFill>
            <a:schemeClr val="bg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524000" y="6739138"/>
            <a:ext cx="9144000" cy="92597"/>
          </a:xfrm>
          <a:prstGeom prst="rect">
            <a:avLst/>
          </a:prstGeom>
          <a:solidFill>
            <a:schemeClr val="bg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81306" y="6076704"/>
            <a:ext cx="6186695" cy="46166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/>
            <a:r>
              <a:rPr lang="en-US" sz="2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aul Larner, Ph.D., LL.M., MBA     </a:t>
            </a:r>
            <a:r>
              <a:rPr lang="en-US" sz="2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resenter       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4255627" y="429793"/>
            <a:ext cx="3727046" cy="3727046"/>
            <a:chOff x="2047820" y="104429"/>
            <a:chExt cx="5094660" cy="5094660"/>
          </a:xfrm>
        </p:grpSpPr>
        <p:sp>
          <p:nvSpPr>
            <p:cNvPr id="38" name="Oval 37"/>
            <p:cNvSpPr/>
            <p:nvPr/>
          </p:nvSpPr>
          <p:spPr>
            <a:xfrm>
              <a:off x="2047820" y="104429"/>
              <a:ext cx="5094660" cy="5094660"/>
            </a:xfrm>
            <a:prstGeom prst="ellipse">
              <a:avLst/>
            </a:prstGeom>
            <a:solidFill>
              <a:srgbClr val="33B3A6"/>
            </a:solidFill>
            <a:ln>
              <a:noFill/>
            </a:ln>
            <a:effectLst>
              <a:outerShdw blurRad="63500" sx="102000" sy="102000" algn="ctr" rotWithShape="0">
                <a:srgbClr val="33B3A6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grpSp>
          <p:nvGrpSpPr>
            <p:cNvPr id="39" name="Group 38"/>
            <p:cNvGrpSpPr/>
            <p:nvPr/>
          </p:nvGrpSpPr>
          <p:grpSpPr>
            <a:xfrm>
              <a:off x="2099909" y="156518"/>
              <a:ext cx="4990482" cy="4990482"/>
              <a:chOff x="2076760" y="79604"/>
              <a:chExt cx="4990482" cy="4990482"/>
            </a:xfrm>
          </p:grpSpPr>
          <p:sp>
            <p:nvSpPr>
              <p:cNvPr id="41" name="Oval 40"/>
              <p:cNvSpPr/>
              <p:nvPr/>
            </p:nvSpPr>
            <p:spPr>
              <a:xfrm>
                <a:off x="2076760" y="79604"/>
                <a:ext cx="4990482" cy="4990482"/>
              </a:xfrm>
              <a:prstGeom prst="ellipse">
                <a:avLst/>
              </a:prstGeom>
              <a:solidFill>
                <a:srgbClr val="EF6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pic>
            <p:nvPicPr>
              <p:cNvPr id="42" name="Picture 41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73" t="364" r="729" b="1739"/>
              <a:stretch>
                <a:fillRect/>
              </a:stretch>
            </p:blipFill>
            <p:spPr>
              <a:xfrm>
                <a:off x="2242016" y="244861"/>
                <a:ext cx="4659968" cy="4659968"/>
              </a:xfrm>
              <a:custGeom>
                <a:avLst/>
                <a:gdLst>
                  <a:gd name="connsiteX0" fmla="*/ 2329984 w 4659968"/>
                  <a:gd name="connsiteY0" fmla="*/ 0 h 4659968"/>
                  <a:gd name="connsiteX1" fmla="*/ 4659968 w 4659968"/>
                  <a:gd name="connsiteY1" fmla="*/ 2329984 h 4659968"/>
                  <a:gd name="connsiteX2" fmla="*/ 2329984 w 4659968"/>
                  <a:gd name="connsiteY2" fmla="*/ 4659968 h 4659968"/>
                  <a:gd name="connsiteX3" fmla="*/ 0 w 4659968"/>
                  <a:gd name="connsiteY3" fmla="*/ 2329984 h 4659968"/>
                  <a:gd name="connsiteX4" fmla="*/ 2329984 w 4659968"/>
                  <a:gd name="connsiteY4" fmla="*/ 0 h 4659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59968" h="4659968">
                    <a:moveTo>
                      <a:pt x="2329984" y="0"/>
                    </a:moveTo>
                    <a:cubicBezTo>
                      <a:pt x="3616799" y="0"/>
                      <a:pt x="4659968" y="1043169"/>
                      <a:pt x="4659968" y="2329984"/>
                    </a:cubicBezTo>
                    <a:cubicBezTo>
                      <a:pt x="4659968" y="3616799"/>
                      <a:pt x="3616799" y="4659968"/>
                      <a:pt x="2329984" y="4659968"/>
                    </a:cubicBezTo>
                    <a:cubicBezTo>
                      <a:pt x="1043169" y="4659968"/>
                      <a:pt x="0" y="3616799"/>
                      <a:pt x="0" y="2329984"/>
                    </a:cubicBezTo>
                    <a:cubicBezTo>
                      <a:pt x="0" y="1043169"/>
                      <a:pt x="1043169" y="0"/>
                      <a:pt x="2329984" y="0"/>
                    </a:cubicBezTo>
                    <a:close/>
                  </a:path>
                </a:pathLst>
              </a:custGeom>
              <a:ln w="28575">
                <a:solidFill>
                  <a:srgbClr val="FCD802"/>
                </a:solidFill>
              </a:ln>
            </p:spPr>
          </p:pic>
        </p:grpSp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70724" y="1935062"/>
              <a:ext cx="1380296" cy="1386870"/>
            </a:xfrm>
            <a:prstGeom prst="rect">
              <a:avLst/>
            </a:prstGeom>
          </p:spPr>
        </p:pic>
      </p:grpSp>
      <p:sp>
        <p:nvSpPr>
          <p:cNvPr id="43" name="Rectangle 42"/>
          <p:cNvSpPr/>
          <p:nvPr/>
        </p:nvSpPr>
        <p:spPr>
          <a:xfrm>
            <a:off x="2588795" y="4173334"/>
            <a:ext cx="11070421" cy="110799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66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      TRUST IT!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757872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750943"/>
            <a:ext cx="11353800" cy="45719"/>
          </a:xfrm>
        </p:spPr>
        <p:txBody>
          <a:bodyPr>
            <a:normAutofit fontScale="90000"/>
          </a:bodyPr>
          <a:lstStyle/>
          <a:p>
            <a:r>
              <a:rPr lang="en-US" dirty="0"/>
              <a:t>BENEFIT 1:  USE  SHARES FOR COLLATERAL WHEN BORROW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10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1.  Every bank who understands land trusts knows that the assets cannot be </a:t>
            </a:r>
          </a:p>
          <a:p>
            <a:pPr>
              <a:spcBef>
                <a:spcPts val="600"/>
              </a:spcBef>
            </a:pPr>
            <a:r>
              <a:rPr lang="en-US" sz="2400" dirty="0">
                <a:solidFill>
                  <a:schemeClr val="tx1"/>
                </a:solidFill>
              </a:rPr>
              <a:t>         attached by creditors.</a:t>
            </a:r>
          </a:p>
          <a:p>
            <a:pPr>
              <a:spcBef>
                <a:spcPts val="600"/>
              </a:spcBef>
            </a:pPr>
            <a:endParaRPr lang="en-US" sz="24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2400" dirty="0">
                <a:solidFill>
                  <a:schemeClr val="tx1"/>
                </a:solidFill>
              </a:rPr>
              <a:t>    2.   The bank can act as trustee for greater security.</a:t>
            </a:r>
          </a:p>
          <a:p>
            <a:pPr>
              <a:spcBef>
                <a:spcPts val="600"/>
              </a:spcBef>
            </a:pPr>
            <a:endParaRPr lang="en-US" sz="24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2400" dirty="0">
                <a:solidFill>
                  <a:schemeClr val="tx1"/>
                </a:solidFill>
              </a:rPr>
              <a:t>    3.   Greater financial flexibility</a:t>
            </a:r>
          </a:p>
          <a:p>
            <a:pPr>
              <a:spcBef>
                <a:spcPts val="600"/>
              </a:spcBef>
            </a:pPr>
            <a:endParaRPr lang="en-US" sz="24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2400" dirty="0">
                <a:solidFill>
                  <a:schemeClr val="tx1"/>
                </a:solidFill>
              </a:rPr>
              <a:t>          A.  Collateral assignment of beneficial interest</a:t>
            </a:r>
          </a:p>
          <a:p>
            <a:pPr>
              <a:spcBef>
                <a:spcPts val="600"/>
              </a:spcBef>
            </a:pPr>
            <a:r>
              <a:rPr lang="en-US" sz="2400" dirty="0">
                <a:solidFill>
                  <a:schemeClr val="tx1"/>
                </a:solidFill>
              </a:rPr>
              <a:t>          B.  Substitute of collateral</a:t>
            </a:r>
          </a:p>
          <a:p>
            <a:pPr>
              <a:spcBef>
                <a:spcPts val="600"/>
              </a:spcBef>
            </a:pPr>
            <a:r>
              <a:rPr lang="en-US" sz="2400" dirty="0">
                <a:solidFill>
                  <a:schemeClr val="tx1"/>
                </a:solidFill>
              </a:rPr>
              <a:t>          C.  </a:t>
            </a:r>
            <a:r>
              <a:rPr lang="en-US" sz="2400">
                <a:solidFill>
                  <a:schemeClr val="tx1"/>
                </a:solidFill>
              </a:rPr>
              <a:t>Subordination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692471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1690688"/>
          </a:xfrm>
        </p:spPr>
        <p:txBody>
          <a:bodyPr/>
          <a:lstStyle/>
          <a:p>
            <a:r>
              <a:rPr lang="en-US" dirty="0"/>
              <a:t>BENEFIT 2:    PRIVACY AND SECRECY IN ACQUIS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11</a:t>
            </a:fld>
            <a:endParaRPr lang="en-US"/>
          </a:p>
        </p:txBody>
      </p:sp>
      <p:sp>
        <p:nvSpPr>
          <p:cNvPr id="5" name="Rectangle 4"/>
          <p:cNvSpPr/>
          <p:nvPr/>
        </p:nvSpPr>
        <p:spPr bwMode="gray">
          <a:xfrm>
            <a:off x="1237784" y="1476029"/>
            <a:ext cx="10344616" cy="941922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400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dirty="0"/>
              <a:t>You can change beneficiaries and percentages.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xmlns="" id="{E8CEFFF2-0095-434C-ADD6-FA2002F84E3E}"/>
              </a:ext>
            </a:extLst>
          </p:cNvPr>
          <p:cNvSpPr/>
          <p:nvPr/>
        </p:nvSpPr>
        <p:spPr bwMode="gray">
          <a:xfrm>
            <a:off x="609600" y="1455784"/>
            <a:ext cx="978408" cy="982413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00569B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7" name="Rectangle 6"/>
          <p:cNvSpPr/>
          <p:nvPr/>
        </p:nvSpPr>
        <p:spPr bwMode="gray">
          <a:xfrm>
            <a:off x="1237784" y="2706875"/>
            <a:ext cx="10344616" cy="941922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400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dirty="0"/>
              <a:t> All transactions are private. 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E8CEFFF2-0095-434C-ADD6-FA2002F84E3E}"/>
              </a:ext>
            </a:extLst>
          </p:cNvPr>
          <p:cNvSpPr/>
          <p:nvPr/>
        </p:nvSpPr>
        <p:spPr bwMode="gray">
          <a:xfrm>
            <a:off x="609600" y="2686630"/>
            <a:ext cx="978408" cy="982413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00569B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9" name="Rectangle 8"/>
          <p:cNvSpPr/>
          <p:nvPr/>
        </p:nvSpPr>
        <p:spPr bwMode="gray">
          <a:xfrm>
            <a:off x="1237784" y="3937721"/>
            <a:ext cx="10344616" cy="941922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400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 </a:t>
            </a:r>
            <a:r>
              <a:rPr lang="en-US" sz="2400" dirty="0"/>
              <a:t>Only the trustee’ name appears on the title.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E8CEFFF2-0095-434C-ADD6-FA2002F84E3E}"/>
              </a:ext>
            </a:extLst>
          </p:cNvPr>
          <p:cNvSpPr/>
          <p:nvPr/>
        </p:nvSpPr>
        <p:spPr bwMode="gray">
          <a:xfrm>
            <a:off x="609600" y="3917476"/>
            <a:ext cx="978408" cy="982413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00569B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1" name="Rectangle 10"/>
          <p:cNvSpPr/>
          <p:nvPr/>
        </p:nvSpPr>
        <p:spPr bwMode="gray">
          <a:xfrm>
            <a:off x="1237784" y="5168567"/>
            <a:ext cx="10344616" cy="941922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400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dirty="0"/>
              <a:t> You need not sign a witnessed deed.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E8CEFFF2-0095-434C-ADD6-FA2002F84E3E}"/>
              </a:ext>
            </a:extLst>
          </p:cNvPr>
          <p:cNvSpPr/>
          <p:nvPr/>
        </p:nvSpPr>
        <p:spPr bwMode="gray">
          <a:xfrm>
            <a:off x="609600" y="5148322"/>
            <a:ext cx="978408" cy="982413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00569B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grpSp>
        <p:nvGrpSpPr>
          <p:cNvPr id="13" name="Group 4"/>
          <p:cNvGrpSpPr>
            <a:grpSpLocks noChangeAspect="1"/>
          </p:cNvGrpSpPr>
          <p:nvPr/>
        </p:nvGrpSpPr>
        <p:grpSpPr bwMode="auto">
          <a:xfrm>
            <a:off x="814381" y="1685002"/>
            <a:ext cx="568846" cy="523976"/>
            <a:chOff x="-413" y="1979"/>
            <a:chExt cx="393" cy="362"/>
          </a:xfrm>
          <a:solidFill>
            <a:srgbClr val="00569B"/>
          </a:solidFill>
        </p:grpSpPr>
        <p:sp>
          <p:nvSpPr>
            <p:cNvPr id="14" name="Rectangle 6"/>
            <p:cNvSpPr>
              <a:spLocks noChangeArrowheads="1"/>
            </p:cNvSpPr>
            <p:nvPr/>
          </p:nvSpPr>
          <p:spPr bwMode="auto">
            <a:xfrm>
              <a:off x="-389" y="2104"/>
              <a:ext cx="17" cy="4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7"/>
            <p:cNvSpPr>
              <a:spLocks noChangeArrowheads="1"/>
            </p:cNvSpPr>
            <p:nvPr/>
          </p:nvSpPr>
          <p:spPr bwMode="auto">
            <a:xfrm>
              <a:off x="-389" y="2176"/>
              <a:ext cx="17" cy="4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-389" y="1979"/>
              <a:ext cx="305" cy="153"/>
            </a:xfrm>
            <a:custGeom>
              <a:avLst/>
              <a:gdLst>
                <a:gd name="T0" fmla="*/ 2746 w 2746"/>
                <a:gd name="T1" fmla="*/ 942 h 1381"/>
                <a:gd name="T2" fmla="*/ 2746 w 2746"/>
                <a:gd name="T3" fmla="*/ 1225 h 1381"/>
                <a:gd name="T4" fmla="*/ 2589 w 2746"/>
                <a:gd name="T5" fmla="*/ 1381 h 1381"/>
                <a:gd name="T6" fmla="*/ 2589 w 2746"/>
                <a:gd name="T7" fmla="*/ 287 h 1381"/>
                <a:gd name="T8" fmla="*/ 2586 w 2746"/>
                <a:gd name="T9" fmla="*/ 260 h 1381"/>
                <a:gd name="T10" fmla="*/ 2579 w 2746"/>
                <a:gd name="T11" fmla="*/ 236 h 1381"/>
                <a:gd name="T12" fmla="*/ 2567 w 2746"/>
                <a:gd name="T13" fmla="*/ 214 h 1381"/>
                <a:gd name="T14" fmla="*/ 2551 w 2746"/>
                <a:gd name="T15" fmla="*/ 195 h 1381"/>
                <a:gd name="T16" fmla="*/ 2531 w 2746"/>
                <a:gd name="T17" fmla="*/ 179 h 1381"/>
                <a:gd name="T18" fmla="*/ 2509 w 2746"/>
                <a:gd name="T19" fmla="*/ 166 h 1381"/>
                <a:gd name="T20" fmla="*/ 2484 w 2746"/>
                <a:gd name="T21" fmla="*/ 159 h 1381"/>
                <a:gd name="T22" fmla="*/ 2458 w 2746"/>
                <a:gd name="T23" fmla="*/ 156 h 1381"/>
                <a:gd name="T24" fmla="*/ 287 w 2746"/>
                <a:gd name="T25" fmla="*/ 156 h 1381"/>
                <a:gd name="T26" fmla="*/ 261 w 2746"/>
                <a:gd name="T27" fmla="*/ 159 h 1381"/>
                <a:gd name="T28" fmla="*/ 236 w 2746"/>
                <a:gd name="T29" fmla="*/ 166 h 1381"/>
                <a:gd name="T30" fmla="*/ 214 w 2746"/>
                <a:gd name="T31" fmla="*/ 179 h 1381"/>
                <a:gd name="T32" fmla="*/ 194 w 2746"/>
                <a:gd name="T33" fmla="*/ 195 h 1381"/>
                <a:gd name="T34" fmla="*/ 178 w 2746"/>
                <a:gd name="T35" fmla="*/ 214 h 1381"/>
                <a:gd name="T36" fmla="*/ 166 w 2746"/>
                <a:gd name="T37" fmla="*/ 236 h 1381"/>
                <a:gd name="T38" fmla="*/ 159 w 2746"/>
                <a:gd name="T39" fmla="*/ 260 h 1381"/>
                <a:gd name="T40" fmla="*/ 156 w 2746"/>
                <a:gd name="T41" fmla="*/ 287 h 1381"/>
                <a:gd name="T42" fmla="*/ 156 w 2746"/>
                <a:gd name="T43" fmla="*/ 832 h 1381"/>
                <a:gd name="T44" fmla="*/ 0 w 2746"/>
                <a:gd name="T45" fmla="*/ 832 h 1381"/>
                <a:gd name="T46" fmla="*/ 0 w 2746"/>
                <a:gd name="T47" fmla="*/ 287 h 1381"/>
                <a:gd name="T48" fmla="*/ 3 w 2746"/>
                <a:gd name="T49" fmla="*/ 244 h 1381"/>
                <a:gd name="T50" fmla="*/ 12 w 2746"/>
                <a:gd name="T51" fmla="*/ 205 h 1381"/>
                <a:gd name="T52" fmla="*/ 27 w 2746"/>
                <a:gd name="T53" fmla="*/ 166 h 1381"/>
                <a:gd name="T54" fmla="*/ 46 w 2746"/>
                <a:gd name="T55" fmla="*/ 131 h 1381"/>
                <a:gd name="T56" fmla="*/ 70 w 2746"/>
                <a:gd name="T57" fmla="*/ 99 h 1381"/>
                <a:gd name="T58" fmla="*/ 99 w 2746"/>
                <a:gd name="T59" fmla="*/ 71 h 1381"/>
                <a:gd name="T60" fmla="*/ 131 w 2746"/>
                <a:gd name="T61" fmla="*/ 46 h 1381"/>
                <a:gd name="T62" fmla="*/ 165 w 2746"/>
                <a:gd name="T63" fmla="*/ 27 h 1381"/>
                <a:gd name="T64" fmla="*/ 204 w 2746"/>
                <a:gd name="T65" fmla="*/ 13 h 1381"/>
                <a:gd name="T66" fmla="*/ 245 w 2746"/>
                <a:gd name="T67" fmla="*/ 3 h 1381"/>
                <a:gd name="T68" fmla="*/ 287 w 2746"/>
                <a:gd name="T69" fmla="*/ 0 h 1381"/>
                <a:gd name="T70" fmla="*/ 2458 w 2746"/>
                <a:gd name="T71" fmla="*/ 0 h 1381"/>
                <a:gd name="T72" fmla="*/ 2500 w 2746"/>
                <a:gd name="T73" fmla="*/ 3 h 1381"/>
                <a:gd name="T74" fmla="*/ 2541 w 2746"/>
                <a:gd name="T75" fmla="*/ 13 h 1381"/>
                <a:gd name="T76" fmla="*/ 2579 w 2746"/>
                <a:gd name="T77" fmla="*/ 27 h 1381"/>
                <a:gd name="T78" fmla="*/ 2614 w 2746"/>
                <a:gd name="T79" fmla="*/ 46 h 1381"/>
                <a:gd name="T80" fmla="*/ 2646 w 2746"/>
                <a:gd name="T81" fmla="*/ 71 h 1381"/>
                <a:gd name="T82" fmla="*/ 2674 w 2746"/>
                <a:gd name="T83" fmla="*/ 99 h 1381"/>
                <a:gd name="T84" fmla="*/ 2699 w 2746"/>
                <a:gd name="T85" fmla="*/ 131 h 1381"/>
                <a:gd name="T86" fmla="*/ 2718 w 2746"/>
                <a:gd name="T87" fmla="*/ 166 h 1381"/>
                <a:gd name="T88" fmla="*/ 2733 w 2746"/>
                <a:gd name="T89" fmla="*/ 205 h 1381"/>
                <a:gd name="T90" fmla="*/ 2742 w 2746"/>
                <a:gd name="T91" fmla="*/ 244 h 1381"/>
                <a:gd name="T92" fmla="*/ 2745 w 2746"/>
                <a:gd name="T93" fmla="*/ 287 h 1381"/>
                <a:gd name="T94" fmla="*/ 2745 w 2746"/>
                <a:gd name="T95" fmla="*/ 942 h 1381"/>
                <a:gd name="T96" fmla="*/ 2746 w 2746"/>
                <a:gd name="T97" fmla="*/ 942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46" h="1381">
                  <a:moveTo>
                    <a:pt x="2746" y="942"/>
                  </a:moveTo>
                  <a:lnTo>
                    <a:pt x="2746" y="1225"/>
                  </a:lnTo>
                  <a:lnTo>
                    <a:pt x="2589" y="1381"/>
                  </a:lnTo>
                  <a:lnTo>
                    <a:pt x="2589" y="287"/>
                  </a:lnTo>
                  <a:lnTo>
                    <a:pt x="2586" y="260"/>
                  </a:lnTo>
                  <a:lnTo>
                    <a:pt x="2579" y="236"/>
                  </a:lnTo>
                  <a:lnTo>
                    <a:pt x="2567" y="214"/>
                  </a:lnTo>
                  <a:lnTo>
                    <a:pt x="2551" y="195"/>
                  </a:lnTo>
                  <a:lnTo>
                    <a:pt x="2531" y="179"/>
                  </a:lnTo>
                  <a:lnTo>
                    <a:pt x="2509" y="166"/>
                  </a:lnTo>
                  <a:lnTo>
                    <a:pt x="2484" y="159"/>
                  </a:lnTo>
                  <a:lnTo>
                    <a:pt x="2458" y="156"/>
                  </a:lnTo>
                  <a:lnTo>
                    <a:pt x="287" y="156"/>
                  </a:lnTo>
                  <a:lnTo>
                    <a:pt x="261" y="159"/>
                  </a:lnTo>
                  <a:lnTo>
                    <a:pt x="236" y="166"/>
                  </a:lnTo>
                  <a:lnTo>
                    <a:pt x="214" y="179"/>
                  </a:lnTo>
                  <a:lnTo>
                    <a:pt x="194" y="195"/>
                  </a:lnTo>
                  <a:lnTo>
                    <a:pt x="178" y="214"/>
                  </a:lnTo>
                  <a:lnTo>
                    <a:pt x="166" y="236"/>
                  </a:lnTo>
                  <a:lnTo>
                    <a:pt x="159" y="260"/>
                  </a:lnTo>
                  <a:lnTo>
                    <a:pt x="156" y="287"/>
                  </a:lnTo>
                  <a:lnTo>
                    <a:pt x="156" y="832"/>
                  </a:lnTo>
                  <a:lnTo>
                    <a:pt x="0" y="832"/>
                  </a:lnTo>
                  <a:lnTo>
                    <a:pt x="0" y="287"/>
                  </a:lnTo>
                  <a:lnTo>
                    <a:pt x="3" y="244"/>
                  </a:lnTo>
                  <a:lnTo>
                    <a:pt x="12" y="205"/>
                  </a:lnTo>
                  <a:lnTo>
                    <a:pt x="27" y="166"/>
                  </a:lnTo>
                  <a:lnTo>
                    <a:pt x="46" y="131"/>
                  </a:lnTo>
                  <a:lnTo>
                    <a:pt x="70" y="99"/>
                  </a:lnTo>
                  <a:lnTo>
                    <a:pt x="99" y="71"/>
                  </a:lnTo>
                  <a:lnTo>
                    <a:pt x="131" y="46"/>
                  </a:lnTo>
                  <a:lnTo>
                    <a:pt x="165" y="27"/>
                  </a:lnTo>
                  <a:lnTo>
                    <a:pt x="204" y="13"/>
                  </a:lnTo>
                  <a:lnTo>
                    <a:pt x="245" y="3"/>
                  </a:lnTo>
                  <a:lnTo>
                    <a:pt x="287" y="0"/>
                  </a:lnTo>
                  <a:lnTo>
                    <a:pt x="2458" y="0"/>
                  </a:lnTo>
                  <a:lnTo>
                    <a:pt x="2500" y="3"/>
                  </a:lnTo>
                  <a:lnTo>
                    <a:pt x="2541" y="13"/>
                  </a:lnTo>
                  <a:lnTo>
                    <a:pt x="2579" y="27"/>
                  </a:lnTo>
                  <a:lnTo>
                    <a:pt x="2614" y="46"/>
                  </a:lnTo>
                  <a:lnTo>
                    <a:pt x="2646" y="71"/>
                  </a:lnTo>
                  <a:lnTo>
                    <a:pt x="2674" y="99"/>
                  </a:lnTo>
                  <a:lnTo>
                    <a:pt x="2699" y="131"/>
                  </a:lnTo>
                  <a:lnTo>
                    <a:pt x="2718" y="166"/>
                  </a:lnTo>
                  <a:lnTo>
                    <a:pt x="2733" y="205"/>
                  </a:lnTo>
                  <a:lnTo>
                    <a:pt x="2742" y="244"/>
                  </a:lnTo>
                  <a:lnTo>
                    <a:pt x="2745" y="287"/>
                  </a:lnTo>
                  <a:lnTo>
                    <a:pt x="2745" y="942"/>
                  </a:lnTo>
                  <a:lnTo>
                    <a:pt x="2746" y="9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-389" y="2235"/>
              <a:ext cx="305" cy="106"/>
            </a:xfrm>
            <a:custGeom>
              <a:avLst/>
              <a:gdLst>
                <a:gd name="T0" fmla="*/ 2662 w 2746"/>
                <a:gd name="T1" fmla="*/ 53 h 954"/>
                <a:gd name="T2" fmla="*/ 2689 w 2746"/>
                <a:gd name="T3" fmla="*/ 66 h 954"/>
                <a:gd name="T4" fmla="*/ 2717 w 2746"/>
                <a:gd name="T5" fmla="*/ 74 h 954"/>
                <a:gd name="T6" fmla="*/ 2746 w 2746"/>
                <a:gd name="T7" fmla="*/ 78 h 954"/>
                <a:gd name="T8" fmla="*/ 2746 w 2746"/>
                <a:gd name="T9" fmla="*/ 667 h 954"/>
                <a:gd name="T10" fmla="*/ 2743 w 2746"/>
                <a:gd name="T11" fmla="*/ 710 h 954"/>
                <a:gd name="T12" fmla="*/ 2733 w 2746"/>
                <a:gd name="T13" fmla="*/ 749 h 954"/>
                <a:gd name="T14" fmla="*/ 2719 w 2746"/>
                <a:gd name="T15" fmla="*/ 788 h 954"/>
                <a:gd name="T16" fmla="*/ 2699 w 2746"/>
                <a:gd name="T17" fmla="*/ 823 h 954"/>
                <a:gd name="T18" fmla="*/ 2675 w 2746"/>
                <a:gd name="T19" fmla="*/ 854 h 954"/>
                <a:gd name="T20" fmla="*/ 2646 w 2746"/>
                <a:gd name="T21" fmla="*/ 883 h 954"/>
                <a:gd name="T22" fmla="*/ 2614 w 2746"/>
                <a:gd name="T23" fmla="*/ 907 h 954"/>
                <a:gd name="T24" fmla="*/ 2579 w 2746"/>
                <a:gd name="T25" fmla="*/ 927 h 954"/>
                <a:gd name="T26" fmla="*/ 2541 w 2746"/>
                <a:gd name="T27" fmla="*/ 941 h 954"/>
                <a:gd name="T28" fmla="*/ 2500 w 2746"/>
                <a:gd name="T29" fmla="*/ 951 h 954"/>
                <a:gd name="T30" fmla="*/ 2458 w 2746"/>
                <a:gd name="T31" fmla="*/ 954 h 954"/>
                <a:gd name="T32" fmla="*/ 287 w 2746"/>
                <a:gd name="T33" fmla="*/ 954 h 954"/>
                <a:gd name="T34" fmla="*/ 245 w 2746"/>
                <a:gd name="T35" fmla="*/ 951 h 954"/>
                <a:gd name="T36" fmla="*/ 204 w 2746"/>
                <a:gd name="T37" fmla="*/ 941 h 954"/>
                <a:gd name="T38" fmla="*/ 165 w 2746"/>
                <a:gd name="T39" fmla="*/ 927 h 954"/>
                <a:gd name="T40" fmla="*/ 131 w 2746"/>
                <a:gd name="T41" fmla="*/ 907 h 954"/>
                <a:gd name="T42" fmla="*/ 99 w 2746"/>
                <a:gd name="T43" fmla="*/ 883 h 954"/>
                <a:gd name="T44" fmla="*/ 70 w 2746"/>
                <a:gd name="T45" fmla="*/ 854 h 954"/>
                <a:gd name="T46" fmla="*/ 46 w 2746"/>
                <a:gd name="T47" fmla="*/ 823 h 954"/>
                <a:gd name="T48" fmla="*/ 27 w 2746"/>
                <a:gd name="T49" fmla="*/ 788 h 954"/>
                <a:gd name="T50" fmla="*/ 12 w 2746"/>
                <a:gd name="T51" fmla="*/ 749 h 954"/>
                <a:gd name="T52" fmla="*/ 3 w 2746"/>
                <a:gd name="T53" fmla="*/ 710 h 954"/>
                <a:gd name="T54" fmla="*/ 0 w 2746"/>
                <a:gd name="T55" fmla="*/ 667 h 954"/>
                <a:gd name="T56" fmla="*/ 0 w 2746"/>
                <a:gd name="T57" fmla="*/ 123 h 954"/>
                <a:gd name="T58" fmla="*/ 156 w 2746"/>
                <a:gd name="T59" fmla="*/ 123 h 954"/>
                <a:gd name="T60" fmla="*/ 156 w 2746"/>
                <a:gd name="T61" fmla="*/ 667 h 954"/>
                <a:gd name="T62" fmla="*/ 159 w 2746"/>
                <a:gd name="T63" fmla="*/ 694 h 954"/>
                <a:gd name="T64" fmla="*/ 166 w 2746"/>
                <a:gd name="T65" fmla="*/ 718 h 954"/>
                <a:gd name="T66" fmla="*/ 178 w 2746"/>
                <a:gd name="T67" fmla="*/ 740 h 954"/>
                <a:gd name="T68" fmla="*/ 194 w 2746"/>
                <a:gd name="T69" fmla="*/ 759 h 954"/>
                <a:gd name="T70" fmla="*/ 214 w 2746"/>
                <a:gd name="T71" fmla="*/ 775 h 954"/>
                <a:gd name="T72" fmla="*/ 236 w 2746"/>
                <a:gd name="T73" fmla="*/ 788 h 954"/>
                <a:gd name="T74" fmla="*/ 261 w 2746"/>
                <a:gd name="T75" fmla="*/ 795 h 954"/>
                <a:gd name="T76" fmla="*/ 287 w 2746"/>
                <a:gd name="T77" fmla="*/ 798 h 954"/>
                <a:gd name="T78" fmla="*/ 2458 w 2746"/>
                <a:gd name="T79" fmla="*/ 798 h 954"/>
                <a:gd name="T80" fmla="*/ 2484 w 2746"/>
                <a:gd name="T81" fmla="*/ 795 h 954"/>
                <a:gd name="T82" fmla="*/ 2509 w 2746"/>
                <a:gd name="T83" fmla="*/ 788 h 954"/>
                <a:gd name="T84" fmla="*/ 2531 w 2746"/>
                <a:gd name="T85" fmla="*/ 775 h 954"/>
                <a:gd name="T86" fmla="*/ 2551 w 2746"/>
                <a:gd name="T87" fmla="*/ 759 h 954"/>
                <a:gd name="T88" fmla="*/ 2567 w 2746"/>
                <a:gd name="T89" fmla="*/ 740 h 954"/>
                <a:gd name="T90" fmla="*/ 2579 w 2746"/>
                <a:gd name="T91" fmla="*/ 718 h 954"/>
                <a:gd name="T92" fmla="*/ 2587 w 2746"/>
                <a:gd name="T93" fmla="*/ 694 h 954"/>
                <a:gd name="T94" fmla="*/ 2589 w 2746"/>
                <a:gd name="T95" fmla="*/ 667 h 954"/>
                <a:gd name="T96" fmla="*/ 2589 w 2746"/>
                <a:gd name="T97" fmla="*/ 181 h 954"/>
                <a:gd name="T98" fmla="*/ 2589 w 2746"/>
                <a:gd name="T99" fmla="*/ 181 h 954"/>
                <a:gd name="T100" fmla="*/ 2589 w 2746"/>
                <a:gd name="T101" fmla="*/ 9 h 954"/>
                <a:gd name="T102" fmla="*/ 2599 w 2746"/>
                <a:gd name="T103" fmla="*/ 0 h 954"/>
                <a:gd name="T104" fmla="*/ 2617 w 2746"/>
                <a:gd name="T105" fmla="*/ 20 h 954"/>
                <a:gd name="T106" fmla="*/ 2639 w 2746"/>
                <a:gd name="T107" fmla="*/ 38 h 954"/>
                <a:gd name="T108" fmla="*/ 2662 w 2746"/>
                <a:gd name="T109" fmla="*/ 53 h 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46" h="954">
                  <a:moveTo>
                    <a:pt x="2662" y="53"/>
                  </a:moveTo>
                  <a:lnTo>
                    <a:pt x="2689" y="66"/>
                  </a:lnTo>
                  <a:lnTo>
                    <a:pt x="2717" y="74"/>
                  </a:lnTo>
                  <a:lnTo>
                    <a:pt x="2746" y="78"/>
                  </a:lnTo>
                  <a:lnTo>
                    <a:pt x="2746" y="667"/>
                  </a:lnTo>
                  <a:lnTo>
                    <a:pt x="2743" y="710"/>
                  </a:lnTo>
                  <a:lnTo>
                    <a:pt x="2733" y="749"/>
                  </a:lnTo>
                  <a:lnTo>
                    <a:pt x="2719" y="788"/>
                  </a:lnTo>
                  <a:lnTo>
                    <a:pt x="2699" y="823"/>
                  </a:lnTo>
                  <a:lnTo>
                    <a:pt x="2675" y="854"/>
                  </a:lnTo>
                  <a:lnTo>
                    <a:pt x="2646" y="883"/>
                  </a:lnTo>
                  <a:lnTo>
                    <a:pt x="2614" y="907"/>
                  </a:lnTo>
                  <a:lnTo>
                    <a:pt x="2579" y="927"/>
                  </a:lnTo>
                  <a:lnTo>
                    <a:pt x="2541" y="941"/>
                  </a:lnTo>
                  <a:lnTo>
                    <a:pt x="2500" y="951"/>
                  </a:lnTo>
                  <a:lnTo>
                    <a:pt x="2458" y="954"/>
                  </a:lnTo>
                  <a:lnTo>
                    <a:pt x="287" y="954"/>
                  </a:lnTo>
                  <a:lnTo>
                    <a:pt x="245" y="951"/>
                  </a:lnTo>
                  <a:lnTo>
                    <a:pt x="204" y="941"/>
                  </a:lnTo>
                  <a:lnTo>
                    <a:pt x="165" y="927"/>
                  </a:lnTo>
                  <a:lnTo>
                    <a:pt x="131" y="907"/>
                  </a:lnTo>
                  <a:lnTo>
                    <a:pt x="99" y="883"/>
                  </a:lnTo>
                  <a:lnTo>
                    <a:pt x="70" y="854"/>
                  </a:lnTo>
                  <a:lnTo>
                    <a:pt x="46" y="823"/>
                  </a:lnTo>
                  <a:lnTo>
                    <a:pt x="27" y="788"/>
                  </a:lnTo>
                  <a:lnTo>
                    <a:pt x="12" y="749"/>
                  </a:lnTo>
                  <a:lnTo>
                    <a:pt x="3" y="710"/>
                  </a:lnTo>
                  <a:lnTo>
                    <a:pt x="0" y="667"/>
                  </a:lnTo>
                  <a:lnTo>
                    <a:pt x="0" y="123"/>
                  </a:lnTo>
                  <a:lnTo>
                    <a:pt x="156" y="123"/>
                  </a:lnTo>
                  <a:lnTo>
                    <a:pt x="156" y="667"/>
                  </a:lnTo>
                  <a:lnTo>
                    <a:pt x="159" y="694"/>
                  </a:lnTo>
                  <a:lnTo>
                    <a:pt x="166" y="718"/>
                  </a:lnTo>
                  <a:lnTo>
                    <a:pt x="178" y="740"/>
                  </a:lnTo>
                  <a:lnTo>
                    <a:pt x="194" y="759"/>
                  </a:lnTo>
                  <a:lnTo>
                    <a:pt x="214" y="775"/>
                  </a:lnTo>
                  <a:lnTo>
                    <a:pt x="236" y="788"/>
                  </a:lnTo>
                  <a:lnTo>
                    <a:pt x="261" y="795"/>
                  </a:lnTo>
                  <a:lnTo>
                    <a:pt x="287" y="798"/>
                  </a:lnTo>
                  <a:lnTo>
                    <a:pt x="2458" y="798"/>
                  </a:lnTo>
                  <a:lnTo>
                    <a:pt x="2484" y="795"/>
                  </a:lnTo>
                  <a:lnTo>
                    <a:pt x="2509" y="788"/>
                  </a:lnTo>
                  <a:lnTo>
                    <a:pt x="2531" y="775"/>
                  </a:lnTo>
                  <a:lnTo>
                    <a:pt x="2551" y="759"/>
                  </a:lnTo>
                  <a:lnTo>
                    <a:pt x="2567" y="740"/>
                  </a:lnTo>
                  <a:lnTo>
                    <a:pt x="2579" y="718"/>
                  </a:lnTo>
                  <a:lnTo>
                    <a:pt x="2587" y="694"/>
                  </a:lnTo>
                  <a:lnTo>
                    <a:pt x="2589" y="667"/>
                  </a:lnTo>
                  <a:lnTo>
                    <a:pt x="2589" y="181"/>
                  </a:lnTo>
                  <a:lnTo>
                    <a:pt x="2589" y="181"/>
                  </a:lnTo>
                  <a:lnTo>
                    <a:pt x="2589" y="9"/>
                  </a:lnTo>
                  <a:lnTo>
                    <a:pt x="2599" y="0"/>
                  </a:lnTo>
                  <a:lnTo>
                    <a:pt x="2617" y="20"/>
                  </a:lnTo>
                  <a:lnTo>
                    <a:pt x="2639" y="38"/>
                  </a:lnTo>
                  <a:lnTo>
                    <a:pt x="2662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-413" y="2218"/>
              <a:ext cx="72" cy="29"/>
            </a:xfrm>
            <a:custGeom>
              <a:avLst/>
              <a:gdLst>
                <a:gd name="T0" fmla="*/ 400 w 647"/>
                <a:gd name="T1" fmla="*/ 64 h 264"/>
                <a:gd name="T2" fmla="*/ 68 w 647"/>
                <a:gd name="T3" fmla="*/ 64 h 264"/>
                <a:gd name="T4" fmla="*/ 51 w 647"/>
                <a:gd name="T5" fmla="*/ 67 h 264"/>
                <a:gd name="T6" fmla="*/ 35 w 647"/>
                <a:gd name="T7" fmla="*/ 73 h 264"/>
                <a:gd name="T8" fmla="*/ 21 w 647"/>
                <a:gd name="T9" fmla="*/ 84 h 264"/>
                <a:gd name="T10" fmla="*/ 10 w 647"/>
                <a:gd name="T11" fmla="*/ 97 h 264"/>
                <a:gd name="T12" fmla="*/ 4 w 647"/>
                <a:gd name="T13" fmla="*/ 114 h 264"/>
                <a:gd name="T14" fmla="*/ 0 w 647"/>
                <a:gd name="T15" fmla="*/ 131 h 264"/>
                <a:gd name="T16" fmla="*/ 4 w 647"/>
                <a:gd name="T17" fmla="*/ 149 h 264"/>
                <a:gd name="T18" fmla="*/ 10 w 647"/>
                <a:gd name="T19" fmla="*/ 166 h 264"/>
                <a:gd name="T20" fmla="*/ 21 w 647"/>
                <a:gd name="T21" fmla="*/ 179 h 264"/>
                <a:gd name="T22" fmla="*/ 35 w 647"/>
                <a:gd name="T23" fmla="*/ 190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0 h 264"/>
                <a:gd name="T32" fmla="*/ 437 w 647"/>
                <a:gd name="T33" fmla="*/ 238 h 264"/>
                <a:gd name="T34" fmla="*/ 459 w 647"/>
                <a:gd name="T35" fmla="*/ 252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1 h 264"/>
                <a:gd name="T42" fmla="*/ 566 w 647"/>
                <a:gd name="T43" fmla="*/ 253 h 264"/>
                <a:gd name="T44" fmla="*/ 588 w 647"/>
                <a:gd name="T45" fmla="*/ 242 h 264"/>
                <a:gd name="T46" fmla="*/ 607 w 647"/>
                <a:gd name="T47" fmla="*/ 224 h 264"/>
                <a:gd name="T48" fmla="*/ 624 w 647"/>
                <a:gd name="T49" fmla="*/ 205 h 264"/>
                <a:gd name="T50" fmla="*/ 636 w 647"/>
                <a:gd name="T51" fmla="*/ 183 h 264"/>
                <a:gd name="T52" fmla="*/ 644 w 647"/>
                <a:gd name="T53" fmla="*/ 158 h 264"/>
                <a:gd name="T54" fmla="*/ 647 w 647"/>
                <a:gd name="T55" fmla="*/ 131 h 264"/>
                <a:gd name="T56" fmla="*/ 644 w 647"/>
                <a:gd name="T57" fmla="*/ 104 h 264"/>
                <a:gd name="T58" fmla="*/ 636 w 647"/>
                <a:gd name="T59" fmla="*/ 80 h 264"/>
                <a:gd name="T60" fmla="*/ 624 w 647"/>
                <a:gd name="T61" fmla="*/ 57 h 264"/>
                <a:gd name="T62" fmla="*/ 607 w 647"/>
                <a:gd name="T63" fmla="*/ 38 h 264"/>
                <a:gd name="T64" fmla="*/ 588 w 647"/>
                <a:gd name="T65" fmla="*/ 22 h 264"/>
                <a:gd name="T66" fmla="*/ 566 w 647"/>
                <a:gd name="T67" fmla="*/ 9 h 264"/>
                <a:gd name="T68" fmla="*/ 541 w 647"/>
                <a:gd name="T69" fmla="*/ 2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1 h 264"/>
                <a:gd name="T76" fmla="*/ 437 w 647"/>
                <a:gd name="T77" fmla="*/ 24 h 264"/>
                <a:gd name="T78" fmla="*/ 416 w 647"/>
                <a:gd name="T79" fmla="*/ 42 h 264"/>
                <a:gd name="T80" fmla="*/ 400 w 647"/>
                <a:gd name="T81" fmla="*/ 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4"/>
                  </a:moveTo>
                  <a:lnTo>
                    <a:pt x="68" y="64"/>
                  </a:lnTo>
                  <a:lnTo>
                    <a:pt x="51" y="67"/>
                  </a:lnTo>
                  <a:lnTo>
                    <a:pt x="35" y="73"/>
                  </a:lnTo>
                  <a:lnTo>
                    <a:pt x="21" y="84"/>
                  </a:lnTo>
                  <a:lnTo>
                    <a:pt x="10" y="97"/>
                  </a:lnTo>
                  <a:lnTo>
                    <a:pt x="4" y="114"/>
                  </a:lnTo>
                  <a:lnTo>
                    <a:pt x="0" y="131"/>
                  </a:lnTo>
                  <a:lnTo>
                    <a:pt x="4" y="149"/>
                  </a:lnTo>
                  <a:lnTo>
                    <a:pt x="10" y="166"/>
                  </a:lnTo>
                  <a:lnTo>
                    <a:pt x="21" y="179"/>
                  </a:lnTo>
                  <a:lnTo>
                    <a:pt x="35" y="190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0"/>
                  </a:lnTo>
                  <a:lnTo>
                    <a:pt x="437" y="238"/>
                  </a:lnTo>
                  <a:lnTo>
                    <a:pt x="459" y="252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1"/>
                  </a:lnTo>
                  <a:lnTo>
                    <a:pt x="566" y="253"/>
                  </a:lnTo>
                  <a:lnTo>
                    <a:pt x="588" y="242"/>
                  </a:lnTo>
                  <a:lnTo>
                    <a:pt x="607" y="224"/>
                  </a:lnTo>
                  <a:lnTo>
                    <a:pt x="624" y="205"/>
                  </a:lnTo>
                  <a:lnTo>
                    <a:pt x="636" y="183"/>
                  </a:lnTo>
                  <a:lnTo>
                    <a:pt x="644" y="158"/>
                  </a:lnTo>
                  <a:lnTo>
                    <a:pt x="647" y="131"/>
                  </a:lnTo>
                  <a:lnTo>
                    <a:pt x="644" y="104"/>
                  </a:lnTo>
                  <a:lnTo>
                    <a:pt x="636" y="80"/>
                  </a:lnTo>
                  <a:lnTo>
                    <a:pt x="624" y="57"/>
                  </a:lnTo>
                  <a:lnTo>
                    <a:pt x="607" y="38"/>
                  </a:lnTo>
                  <a:lnTo>
                    <a:pt x="588" y="22"/>
                  </a:lnTo>
                  <a:lnTo>
                    <a:pt x="566" y="9"/>
                  </a:lnTo>
                  <a:lnTo>
                    <a:pt x="541" y="2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1"/>
                  </a:lnTo>
                  <a:lnTo>
                    <a:pt x="437" y="24"/>
                  </a:lnTo>
                  <a:lnTo>
                    <a:pt x="416" y="42"/>
                  </a:lnTo>
                  <a:lnTo>
                    <a:pt x="400" y="6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-413" y="2145"/>
              <a:ext cx="72" cy="30"/>
            </a:xfrm>
            <a:custGeom>
              <a:avLst/>
              <a:gdLst>
                <a:gd name="T0" fmla="*/ 400 w 647"/>
                <a:gd name="T1" fmla="*/ 66 h 265"/>
                <a:gd name="T2" fmla="*/ 68 w 647"/>
                <a:gd name="T3" fmla="*/ 66 h 265"/>
                <a:gd name="T4" fmla="*/ 51 w 647"/>
                <a:gd name="T5" fmla="*/ 68 h 265"/>
                <a:gd name="T6" fmla="*/ 35 w 647"/>
                <a:gd name="T7" fmla="*/ 74 h 265"/>
                <a:gd name="T8" fmla="*/ 21 w 647"/>
                <a:gd name="T9" fmla="*/ 85 h 265"/>
                <a:gd name="T10" fmla="*/ 10 w 647"/>
                <a:gd name="T11" fmla="*/ 99 h 265"/>
                <a:gd name="T12" fmla="*/ 4 w 647"/>
                <a:gd name="T13" fmla="*/ 115 h 265"/>
                <a:gd name="T14" fmla="*/ 0 w 647"/>
                <a:gd name="T15" fmla="*/ 132 h 265"/>
                <a:gd name="T16" fmla="*/ 4 w 647"/>
                <a:gd name="T17" fmla="*/ 151 h 265"/>
                <a:gd name="T18" fmla="*/ 10 w 647"/>
                <a:gd name="T19" fmla="*/ 167 h 265"/>
                <a:gd name="T20" fmla="*/ 21 w 647"/>
                <a:gd name="T21" fmla="*/ 181 h 265"/>
                <a:gd name="T22" fmla="*/ 35 w 647"/>
                <a:gd name="T23" fmla="*/ 191 h 265"/>
                <a:gd name="T24" fmla="*/ 51 w 647"/>
                <a:gd name="T25" fmla="*/ 198 h 265"/>
                <a:gd name="T26" fmla="*/ 68 w 647"/>
                <a:gd name="T27" fmla="*/ 200 h 265"/>
                <a:gd name="T28" fmla="*/ 400 w 647"/>
                <a:gd name="T29" fmla="*/ 200 h 265"/>
                <a:gd name="T30" fmla="*/ 416 w 647"/>
                <a:gd name="T31" fmla="*/ 222 h 265"/>
                <a:gd name="T32" fmla="*/ 437 w 647"/>
                <a:gd name="T33" fmla="*/ 240 h 265"/>
                <a:gd name="T34" fmla="*/ 460 w 647"/>
                <a:gd name="T35" fmla="*/ 253 h 265"/>
                <a:gd name="T36" fmla="*/ 486 w 647"/>
                <a:gd name="T37" fmla="*/ 262 h 265"/>
                <a:gd name="T38" fmla="*/ 514 w 647"/>
                <a:gd name="T39" fmla="*/ 265 h 265"/>
                <a:gd name="T40" fmla="*/ 541 w 647"/>
                <a:gd name="T41" fmla="*/ 263 h 265"/>
                <a:gd name="T42" fmla="*/ 566 w 647"/>
                <a:gd name="T43" fmla="*/ 255 h 265"/>
                <a:gd name="T44" fmla="*/ 588 w 647"/>
                <a:gd name="T45" fmla="*/ 242 h 265"/>
                <a:gd name="T46" fmla="*/ 607 w 647"/>
                <a:gd name="T47" fmla="*/ 226 h 265"/>
                <a:gd name="T48" fmla="*/ 624 w 647"/>
                <a:gd name="T49" fmla="*/ 207 h 265"/>
                <a:gd name="T50" fmla="*/ 636 w 647"/>
                <a:gd name="T51" fmla="*/ 184 h 265"/>
                <a:gd name="T52" fmla="*/ 644 w 647"/>
                <a:gd name="T53" fmla="*/ 160 h 265"/>
                <a:gd name="T54" fmla="*/ 647 w 647"/>
                <a:gd name="T55" fmla="*/ 132 h 265"/>
                <a:gd name="T56" fmla="*/ 644 w 647"/>
                <a:gd name="T57" fmla="*/ 106 h 265"/>
                <a:gd name="T58" fmla="*/ 636 w 647"/>
                <a:gd name="T59" fmla="*/ 82 h 265"/>
                <a:gd name="T60" fmla="*/ 624 w 647"/>
                <a:gd name="T61" fmla="*/ 59 h 265"/>
                <a:gd name="T62" fmla="*/ 607 w 647"/>
                <a:gd name="T63" fmla="*/ 40 h 265"/>
                <a:gd name="T64" fmla="*/ 588 w 647"/>
                <a:gd name="T65" fmla="*/ 24 h 265"/>
                <a:gd name="T66" fmla="*/ 566 w 647"/>
                <a:gd name="T67" fmla="*/ 11 h 265"/>
                <a:gd name="T68" fmla="*/ 541 w 647"/>
                <a:gd name="T69" fmla="*/ 3 h 265"/>
                <a:gd name="T70" fmla="*/ 514 w 647"/>
                <a:gd name="T71" fmla="*/ 0 h 265"/>
                <a:gd name="T72" fmla="*/ 486 w 647"/>
                <a:gd name="T73" fmla="*/ 3 h 265"/>
                <a:gd name="T74" fmla="*/ 460 w 647"/>
                <a:gd name="T75" fmla="*/ 12 h 265"/>
                <a:gd name="T76" fmla="*/ 437 w 647"/>
                <a:gd name="T77" fmla="*/ 26 h 265"/>
                <a:gd name="T78" fmla="*/ 416 w 647"/>
                <a:gd name="T79" fmla="*/ 44 h 265"/>
                <a:gd name="T80" fmla="*/ 400 w 647"/>
                <a:gd name="T81" fmla="*/ 66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5">
                  <a:moveTo>
                    <a:pt x="400" y="66"/>
                  </a:moveTo>
                  <a:lnTo>
                    <a:pt x="68" y="66"/>
                  </a:lnTo>
                  <a:lnTo>
                    <a:pt x="51" y="68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9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1"/>
                  </a:lnTo>
                  <a:lnTo>
                    <a:pt x="10" y="167"/>
                  </a:lnTo>
                  <a:lnTo>
                    <a:pt x="21" y="181"/>
                  </a:lnTo>
                  <a:lnTo>
                    <a:pt x="35" y="191"/>
                  </a:lnTo>
                  <a:lnTo>
                    <a:pt x="51" y="198"/>
                  </a:lnTo>
                  <a:lnTo>
                    <a:pt x="68" y="200"/>
                  </a:lnTo>
                  <a:lnTo>
                    <a:pt x="400" y="200"/>
                  </a:lnTo>
                  <a:lnTo>
                    <a:pt x="416" y="222"/>
                  </a:lnTo>
                  <a:lnTo>
                    <a:pt x="437" y="240"/>
                  </a:lnTo>
                  <a:lnTo>
                    <a:pt x="460" y="253"/>
                  </a:lnTo>
                  <a:lnTo>
                    <a:pt x="486" y="262"/>
                  </a:lnTo>
                  <a:lnTo>
                    <a:pt x="514" y="265"/>
                  </a:lnTo>
                  <a:lnTo>
                    <a:pt x="541" y="263"/>
                  </a:lnTo>
                  <a:lnTo>
                    <a:pt x="566" y="255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2"/>
                  </a:lnTo>
                  <a:lnTo>
                    <a:pt x="644" y="106"/>
                  </a:lnTo>
                  <a:lnTo>
                    <a:pt x="636" y="82"/>
                  </a:lnTo>
                  <a:lnTo>
                    <a:pt x="624" y="59"/>
                  </a:lnTo>
                  <a:lnTo>
                    <a:pt x="607" y="40"/>
                  </a:lnTo>
                  <a:lnTo>
                    <a:pt x="588" y="24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60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auto">
            <a:xfrm>
              <a:off x="-413" y="2073"/>
              <a:ext cx="72" cy="29"/>
            </a:xfrm>
            <a:custGeom>
              <a:avLst/>
              <a:gdLst>
                <a:gd name="T0" fmla="*/ 400 w 647"/>
                <a:gd name="T1" fmla="*/ 65 h 264"/>
                <a:gd name="T2" fmla="*/ 68 w 647"/>
                <a:gd name="T3" fmla="*/ 65 h 264"/>
                <a:gd name="T4" fmla="*/ 51 w 647"/>
                <a:gd name="T5" fmla="*/ 67 h 264"/>
                <a:gd name="T6" fmla="*/ 35 w 647"/>
                <a:gd name="T7" fmla="*/ 74 h 264"/>
                <a:gd name="T8" fmla="*/ 21 w 647"/>
                <a:gd name="T9" fmla="*/ 85 h 264"/>
                <a:gd name="T10" fmla="*/ 10 w 647"/>
                <a:gd name="T11" fmla="*/ 98 h 264"/>
                <a:gd name="T12" fmla="*/ 4 w 647"/>
                <a:gd name="T13" fmla="*/ 115 h 264"/>
                <a:gd name="T14" fmla="*/ 0 w 647"/>
                <a:gd name="T15" fmla="*/ 132 h 264"/>
                <a:gd name="T16" fmla="*/ 4 w 647"/>
                <a:gd name="T17" fmla="*/ 150 h 264"/>
                <a:gd name="T18" fmla="*/ 10 w 647"/>
                <a:gd name="T19" fmla="*/ 166 h 264"/>
                <a:gd name="T20" fmla="*/ 21 w 647"/>
                <a:gd name="T21" fmla="*/ 180 h 264"/>
                <a:gd name="T22" fmla="*/ 35 w 647"/>
                <a:gd name="T23" fmla="*/ 191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2 h 264"/>
                <a:gd name="T32" fmla="*/ 437 w 647"/>
                <a:gd name="T33" fmla="*/ 239 h 264"/>
                <a:gd name="T34" fmla="*/ 459 w 647"/>
                <a:gd name="T35" fmla="*/ 253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2 h 264"/>
                <a:gd name="T42" fmla="*/ 566 w 647"/>
                <a:gd name="T43" fmla="*/ 254 h 264"/>
                <a:gd name="T44" fmla="*/ 588 w 647"/>
                <a:gd name="T45" fmla="*/ 242 h 264"/>
                <a:gd name="T46" fmla="*/ 607 w 647"/>
                <a:gd name="T47" fmla="*/ 226 h 264"/>
                <a:gd name="T48" fmla="*/ 624 w 647"/>
                <a:gd name="T49" fmla="*/ 207 h 264"/>
                <a:gd name="T50" fmla="*/ 636 w 647"/>
                <a:gd name="T51" fmla="*/ 184 h 264"/>
                <a:gd name="T52" fmla="*/ 644 w 647"/>
                <a:gd name="T53" fmla="*/ 160 h 264"/>
                <a:gd name="T54" fmla="*/ 647 w 647"/>
                <a:gd name="T55" fmla="*/ 133 h 264"/>
                <a:gd name="T56" fmla="*/ 644 w 647"/>
                <a:gd name="T57" fmla="*/ 106 h 264"/>
                <a:gd name="T58" fmla="*/ 636 w 647"/>
                <a:gd name="T59" fmla="*/ 81 h 264"/>
                <a:gd name="T60" fmla="*/ 624 w 647"/>
                <a:gd name="T61" fmla="*/ 59 h 264"/>
                <a:gd name="T62" fmla="*/ 607 w 647"/>
                <a:gd name="T63" fmla="*/ 39 h 264"/>
                <a:gd name="T64" fmla="*/ 588 w 647"/>
                <a:gd name="T65" fmla="*/ 22 h 264"/>
                <a:gd name="T66" fmla="*/ 566 w 647"/>
                <a:gd name="T67" fmla="*/ 11 h 264"/>
                <a:gd name="T68" fmla="*/ 541 w 647"/>
                <a:gd name="T69" fmla="*/ 3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2 h 264"/>
                <a:gd name="T76" fmla="*/ 437 w 647"/>
                <a:gd name="T77" fmla="*/ 26 h 264"/>
                <a:gd name="T78" fmla="*/ 416 w 647"/>
                <a:gd name="T79" fmla="*/ 44 h 264"/>
                <a:gd name="T80" fmla="*/ 400 w 647"/>
                <a:gd name="T81" fmla="*/ 65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5"/>
                  </a:moveTo>
                  <a:lnTo>
                    <a:pt x="68" y="65"/>
                  </a:lnTo>
                  <a:lnTo>
                    <a:pt x="51" y="67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8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0"/>
                  </a:lnTo>
                  <a:lnTo>
                    <a:pt x="10" y="166"/>
                  </a:lnTo>
                  <a:lnTo>
                    <a:pt x="21" y="180"/>
                  </a:lnTo>
                  <a:lnTo>
                    <a:pt x="35" y="191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2"/>
                  </a:lnTo>
                  <a:lnTo>
                    <a:pt x="437" y="239"/>
                  </a:lnTo>
                  <a:lnTo>
                    <a:pt x="459" y="253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2"/>
                  </a:lnTo>
                  <a:lnTo>
                    <a:pt x="566" y="254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3"/>
                  </a:lnTo>
                  <a:lnTo>
                    <a:pt x="644" y="106"/>
                  </a:lnTo>
                  <a:lnTo>
                    <a:pt x="636" y="81"/>
                  </a:lnTo>
                  <a:lnTo>
                    <a:pt x="624" y="59"/>
                  </a:lnTo>
                  <a:lnTo>
                    <a:pt x="607" y="39"/>
                  </a:lnTo>
                  <a:lnTo>
                    <a:pt x="588" y="22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-118" y="2110"/>
              <a:ext cx="91" cy="90"/>
            </a:xfrm>
            <a:custGeom>
              <a:avLst/>
              <a:gdLst>
                <a:gd name="T0" fmla="*/ 537 w 816"/>
                <a:gd name="T1" fmla="*/ 547 h 805"/>
                <a:gd name="T2" fmla="*/ 497 w 816"/>
                <a:gd name="T3" fmla="*/ 587 h 805"/>
                <a:gd name="T4" fmla="*/ 468 w 816"/>
                <a:gd name="T5" fmla="*/ 616 h 805"/>
                <a:gd name="T6" fmla="*/ 447 w 816"/>
                <a:gd name="T7" fmla="*/ 636 h 805"/>
                <a:gd name="T8" fmla="*/ 433 w 816"/>
                <a:gd name="T9" fmla="*/ 650 h 805"/>
                <a:gd name="T10" fmla="*/ 421 w 816"/>
                <a:gd name="T11" fmla="*/ 662 h 805"/>
                <a:gd name="T12" fmla="*/ 410 w 816"/>
                <a:gd name="T13" fmla="*/ 673 h 805"/>
                <a:gd name="T14" fmla="*/ 395 w 816"/>
                <a:gd name="T15" fmla="*/ 688 h 805"/>
                <a:gd name="T16" fmla="*/ 374 w 816"/>
                <a:gd name="T17" fmla="*/ 708 h 805"/>
                <a:gd name="T18" fmla="*/ 345 w 816"/>
                <a:gd name="T19" fmla="*/ 737 h 805"/>
                <a:gd name="T20" fmla="*/ 303 w 816"/>
                <a:gd name="T21" fmla="*/ 779 h 805"/>
                <a:gd name="T22" fmla="*/ 208 w 816"/>
                <a:gd name="T23" fmla="*/ 736 h 805"/>
                <a:gd name="T24" fmla="*/ 68 w 816"/>
                <a:gd name="T25" fmla="*/ 607 h 805"/>
                <a:gd name="T26" fmla="*/ 0 w 816"/>
                <a:gd name="T27" fmla="*/ 538 h 805"/>
                <a:gd name="T28" fmla="*/ 2 w 816"/>
                <a:gd name="T29" fmla="*/ 535 h 805"/>
                <a:gd name="T30" fmla="*/ 37 w 816"/>
                <a:gd name="T31" fmla="*/ 499 h 805"/>
                <a:gd name="T32" fmla="*/ 92 w 816"/>
                <a:gd name="T33" fmla="*/ 446 h 805"/>
                <a:gd name="T34" fmla="*/ 135 w 816"/>
                <a:gd name="T35" fmla="*/ 403 h 805"/>
                <a:gd name="T36" fmla="*/ 169 w 816"/>
                <a:gd name="T37" fmla="*/ 369 h 805"/>
                <a:gd name="T38" fmla="*/ 197 w 816"/>
                <a:gd name="T39" fmla="*/ 341 h 805"/>
                <a:gd name="T40" fmla="*/ 223 w 816"/>
                <a:gd name="T41" fmla="*/ 315 h 805"/>
                <a:gd name="T42" fmla="*/ 248 w 816"/>
                <a:gd name="T43" fmla="*/ 291 h 805"/>
                <a:gd name="T44" fmla="*/ 277 w 816"/>
                <a:gd name="T45" fmla="*/ 263 h 805"/>
                <a:gd name="T46" fmla="*/ 312 w 816"/>
                <a:gd name="T47" fmla="*/ 228 h 805"/>
                <a:gd name="T48" fmla="*/ 356 w 816"/>
                <a:gd name="T49" fmla="*/ 187 h 805"/>
                <a:gd name="T50" fmla="*/ 411 w 816"/>
                <a:gd name="T51" fmla="*/ 133 h 805"/>
                <a:gd name="T52" fmla="*/ 473 w 816"/>
                <a:gd name="T53" fmla="*/ 75 h 805"/>
                <a:gd name="T54" fmla="*/ 540 w 816"/>
                <a:gd name="T55" fmla="*/ 31 h 805"/>
                <a:gd name="T56" fmla="*/ 602 w 816"/>
                <a:gd name="T57" fmla="*/ 4 h 805"/>
                <a:gd name="T58" fmla="*/ 657 w 816"/>
                <a:gd name="T59" fmla="*/ 1 h 805"/>
                <a:gd name="T60" fmla="*/ 709 w 816"/>
                <a:gd name="T61" fmla="*/ 22 h 805"/>
                <a:gd name="T62" fmla="*/ 759 w 816"/>
                <a:gd name="T63" fmla="*/ 60 h 805"/>
                <a:gd name="T64" fmla="*/ 796 w 816"/>
                <a:gd name="T65" fmla="*/ 108 h 805"/>
                <a:gd name="T66" fmla="*/ 815 w 816"/>
                <a:gd name="T67" fmla="*/ 161 h 805"/>
                <a:gd name="T68" fmla="*/ 810 w 816"/>
                <a:gd name="T69" fmla="*/ 217 h 805"/>
                <a:gd name="T70" fmla="*/ 773 w 816"/>
                <a:gd name="T71" fmla="*/ 283 h 805"/>
                <a:gd name="T72" fmla="*/ 717 w 816"/>
                <a:gd name="T73" fmla="*/ 354 h 805"/>
                <a:gd name="T74" fmla="*/ 681 w 816"/>
                <a:gd name="T75" fmla="*/ 398 h 805"/>
                <a:gd name="T76" fmla="*/ 656 w 816"/>
                <a:gd name="T77" fmla="*/ 424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6" h="805">
                  <a:moveTo>
                    <a:pt x="563" y="521"/>
                  </a:moveTo>
                  <a:lnTo>
                    <a:pt x="537" y="547"/>
                  </a:lnTo>
                  <a:lnTo>
                    <a:pt x="516" y="569"/>
                  </a:lnTo>
                  <a:lnTo>
                    <a:pt x="497" y="587"/>
                  </a:lnTo>
                  <a:lnTo>
                    <a:pt x="482" y="603"/>
                  </a:lnTo>
                  <a:lnTo>
                    <a:pt x="468" y="616"/>
                  </a:lnTo>
                  <a:lnTo>
                    <a:pt x="457" y="627"/>
                  </a:lnTo>
                  <a:lnTo>
                    <a:pt x="447" y="636"/>
                  </a:lnTo>
                  <a:lnTo>
                    <a:pt x="440" y="644"/>
                  </a:lnTo>
                  <a:lnTo>
                    <a:pt x="433" y="650"/>
                  </a:lnTo>
                  <a:lnTo>
                    <a:pt x="427" y="657"/>
                  </a:lnTo>
                  <a:lnTo>
                    <a:pt x="421" y="662"/>
                  </a:lnTo>
                  <a:lnTo>
                    <a:pt x="416" y="668"/>
                  </a:lnTo>
                  <a:lnTo>
                    <a:pt x="410" y="673"/>
                  </a:lnTo>
                  <a:lnTo>
                    <a:pt x="403" y="679"/>
                  </a:lnTo>
                  <a:lnTo>
                    <a:pt x="395" y="688"/>
                  </a:lnTo>
                  <a:lnTo>
                    <a:pt x="386" y="696"/>
                  </a:lnTo>
                  <a:lnTo>
                    <a:pt x="374" y="708"/>
                  </a:lnTo>
                  <a:lnTo>
                    <a:pt x="361" y="721"/>
                  </a:lnTo>
                  <a:lnTo>
                    <a:pt x="345" y="737"/>
                  </a:lnTo>
                  <a:lnTo>
                    <a:pt x="326" y="756"/>
                  </a:lnTo>
                  <a:lnTo>
                    <a:pt x="303" y="779"/>
                  </a:lnTo>
                  <a:lnTo>
                    <a:pt x="277" y="805"/>
                  </a:lnTo>
                  <a:lnTo>
                    <a:pt x="208" y="736"/>
                  </a:lnTo>
                  <a:lnTo>
                    <a:pt x="138" y="671"/>
                  </a:lnTo>
                  <a:lnTo>
                    <a:pt x="68" y="607"/>
                  </a:lnTo>
                  <a:lnTo>
                    <a:pt x="0" y="539"/>
                  </a:lnTo>
                  <a:lnTo>
                    <a:pt x="0" y="538"/>
                  </a:lnTo>
                  <a:lnTo>
                    <a:pt x="1" y="537"/>
                  </a:lnTo>
                  <a:lnTo>
                    <a:pt x="2" y="535"/>
                  </a:lnTo>
                  <a:lnTo>
                    <a:pt x="3" y="533"/>
                  </a:lnTo>
                  <a:lnTo>
                    <a:pt x="37" y="499"/>
                  </a:lnTo>
                  <a:lnTo>
                    <a:pt x="66" y="472"/>
                  </a:lnTo>
                  <a:lnTo>
                    <a:pt x="92" y="446"/>
                  </a:lnTo>
                  <a:lnTo>
                    <a:pt x="114" y="423"/>
                  </a:lnTo>
                  <a:lnTo>
                    <a:pt x="135" y="403"/>
                  </a:lnTo>
                  <a:lnTo>
                    <a:pt x="152" y="385"/>
                  </a:lnTo>
                  <a:lnTo>
                    <a:pt x="169" y="369"/>
                  </a:lnTo>
                  <a:lnTo>
                    <a:pt x="183" y="355"/>
                  </a:lnTo>
                  <a:lnTo>
                    <a:pt x="197" y="341"/>
                  </a:lnTo>
                  <a:lnTo>
                    <a:pt x="210" y="328"/>
                  </a:lnTo>
                  <a:lnTo>
                    <a:pt x="223" y="315"/>
                  </a:lnTo>
                  <a:lnTo>
                    <a:pt x="236" y="303"/>
                  </a:lnTo>
                  <a:lnTo>
                    <a:pt x="248" y="291"/>
                  </a:lnTo>
                  <a:lnTo>
                    <a:pt x="262" y="277"/>
                  </a:lnTo>
                  <a:lnTo>
                    <a:pt x="277" y="263"/>
                  </a:lnTo>
                  <a:lnTo>
                    <a:pt x="294" y="247"/>
                  </a:lnTo>
                  <a:lnTo>
                    <a:pt x="312" y="228"/>
                  </a:lnTo>
                  <a:lnTo>
                    <a:pt x="332" y="209"/>
                  </a:lnTo>
                  <a:lnTo>
                    <a:pt x="356" y="187"/>
                  </a:lnTo>
                  <a:lnTo>
                    <a:pt x="382" y="161"/>
                  </a:lnTo>
                  <a:lnTo>
                    <a:pt x="411" y="133"/>
                  </a:lnTo>
                  <a:lnTo>
                    <a:pt x="443" y="101"/>
                  </a:lnTo>
                  <a:lnTo>
                    <a:pt x="473" y="75"/>
                  </a:lnTo>
                  <a:lnTo>
                    <a:pt x="505" y="52"/>
                  </a:lnTo>
                  <a:lnTo>
                    <a:pt x="540" y="31"/>
                  </a:lnTo>
                  <a:lnTo>
                    <a:pt x="574" y="14"/>
                  </a:lnTo>
                  <a:lnTo>
                    <a:pt x="602" y="4"/>
                  </a:lnTo>
                  <a:lnTo>
                    <a:pt x="630" y="0"/>
                  </a:lnTo>
                  <a:lnTo>
                    <a:pt x="657" y="1"/>
                  </a:lnTo>
                  <a:lnTo>
                    <a:pt x="684" y="9"/>
                  </a:lnTo>
                  <a:lnTo>
                    <a:pt x="709" y="22"/>
                  </a:lnTo>
                  <a:lnTo>
                    <a:pt x="734" y="39"/>
                  </a:lnTo>
                  <a:lnTo>
                    <a:pt x="759" y="60"/>
                  </a:lnTo>
                  <a:lnTo>
                    <a:pt x="780" y="84"/>
                  </a:lnTo>
                  <a:lnTo>
                    <a:pt x="796" y="108"/>
                  </a:lnTo>
                  <a:lnTo>
                    <a:pt x="808" y="134"/>
                  </a:lnTo>
                  <a:lnTo>
                    <a:pt x="815" y="161"/>
                  </a:lnTo>
                  <a:lnTo>
                    <a:pt x="816" y="188"/>
                  </a:lnTo>
                  <a:lnTo>
                    <a:pt x="810" y="217"/>
                  </a:lnTo>
                  <a:lnTo>
                    <a:pt x="798" y="246"/>
                  </a:lnTo>
                  <a:lnTo>
                    <a:pt x="773" y="283"/>
                  </a:lnTo>
                  <a:lnTo>
                    <a:pt x="746" y="319"/>
                  </a:lnTo>
                  <a:lnTo>
                    <a:pt x="717" y="354"/>
                  </a:lnTo>
                  <a:lnTo>
                    <a:pt x="689" y="389"/>
                  </a:lnTo>
                  <a:lnTo>
                    <a:pt x="681" y="398"/>
                  </a:lnTo>
                  <a:lnTo>
                    <a:pt x="674" y="407"/>
                  </a:lnTo>
                  <a:lnTo>
                    <a:pt x="656" y="424"/>
                  </a:lnTo>
                  <a:lnTo>
                    <a:pt x="563" y="52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-89" y="2158"/>
              <a:ext cx="69" cy="70"/>
            </a:xfrm>
            <a:custGeom>
              <a:avLst/>
              <a:gdLst>
                <a:gd name="T0" fmla="*/ 606 w 629"/>
                <a:gd name="T1" fmla="*/ 105 h 630"/>
                <a:gd name="T2" fmla="*/ 517 w 629"/>
                <a:gd name="T3" fmla="*/ 196 h 630"/>
                <a:gd name="T4" fmla="*/ 427 w 629"/>
                <a:gd name="T5" fmla="*/ 286 h 630"/>
                <a:gd name="T6" fmla="*/ 106 w 629"/>
                <a:gd name="T7" fmla="*/ 605 h 630"/>
                <a:gd name="T8" fmla="*/ 94 w 629"/>
                <a:gd name="T9" fmla="*/ 618 h 630"/>
                <a:gd name="T10" fmla="*/ 78 w 629"/>
                <a:gd name="T11" fmla="*/ 625 h 630"/>
                <a:gd name="T12" fmla="*/ 63 w 629"/>
                <a:gd name="T13" fmla="*/ 630 h 630"/>
                <a:gd name="T14" fmla="*/ 47 w 629"/>
                <a:gd name="T15" fmla="*/ 630 h 630"/>
                <a:gd name="T16" fmla="*/ 30 w 629"/>
                <a:gd name="T17" fmla="*/ 622 h 630"/>
                <a:gd name="T18" fmla="*/ 16 w 629"/>
                <a:gd name="T19" fmla="*/ 613 h 630"/>
                <a:gd name="T20" fmla="*/ 6 w 629"/>
                <a:gd name="T21" fmla="*/ 601 h 630"/>
                <a:gd name="T22" fmla="*/ 1 w 629"/>
                <a:gd name="T23" fmla="*/ 588 h 630"/>
                <a:gd name="T24" fmla="*/ 0 w 629"/>
                <a:gd name="T25" fmla="*/ 573 h 630"/>
                <a:gd name="T26" fmla="*/ 3 w 629"/>
                <a:gd name="T27" fmla="*/ 557 h 630"/>
                <a:gd name="T28" fmla="*/ 10 w 629"/>
                <a:gd name="T29" fmla="*/ 543 h 630"/>
                <a:gd name="T30" fmla="*/ 20 w 629"/>
                <a:gd name="T31" fmla="*/ 530 h 630"/>
                <a:gd name="T32" fmla="*/ 32 w 629"/>
                <a:gd name="T33" fmla="*/ 517 h 630"/>
                <a:gd name="T34" fmla="*/ 48 w 629"/>
                <a:gd name="T35" fmla="*/ 501 h 630"/>
                <a:gd name="T36" fmla="*/ 68 w 629"/>
                <a:gd name="T37" fmla="*/ 482 h 630"/>
                <a:gd name="T38" fmla="*/ 88 w 629"/>
                <a:gd name="T39" fmla="*/ 461 h 630"/>
                <a:gd name="T40" fmla="*/ 112 w 629"/>
                <a:gd name="T41" fmla="*/ 438 h 630"/>
                <a:gd name="T42" fmla="*/ 136 w 629"/>
                <a:gd name="T43" fmla="*/ 413 h 630"/>
                <a:gd name="T44" fmla="*/ 162 w 629"/>
                <a:gd name="T45" fmla="*/ 387 h 630"/>
                <a:gd name="T46" fmla="*/ 189 w 629"/>
                <a:gd name="T47" fmla="*/ 360 h 630"/>
                <a:gd name="T48" fmla="*/ 217 w 629"/>
                <a:gd name="T49" fmla="*/ 332 h 630"/>
                <a:gd name="T50" fmla="*/ 246 w 629"/>
                <a:gd name="T51" fmla="*/ 303 h 630"/>
                <a:gd name="T52" fmla="*/ 275 w 629"/>
                <a:gd name="T53" fmla="*/ 274 h 630"/>
                <a:gd name="T54" fmla="*/ 303 w 629"/>
                <a:gd name="T55" fmla="*/ 246 h 630"/>
                <a:gd name="T56" fmla="*/ 331 w 629"/>
                <a:gd name="T57" fmla="*/ 217 h 630"/>
                <a:gd name="T58" fmla="*/ 359 w 629"/>
                <a:gd name="T59" fmla="*/ 191 h 630"/>
                <a:gd name="T60" fmla="*/ 385 w 629"/>
                <a:gd name="T61" fmla="*/ 164 h 630"/>
                <a:gd name="T62" fmla="*/ 409 w 629"/>
                <a:gd name="T63" fmla="*/ 139 h 630"/>
                <a:gd name="T64" fmla="*/ 433 w 629"/>
                <a:gd name="T65" fmla="*/ 116 h 630"/>
                <a:gd name="T66" fmla="*/ 455 w 629"/>
                <a:gd name="T67" fmla="*/ 94 h 630"/>
                <a:gd name="T68" fmla="*/ 474 w 629"/>
                <a:gd name="T69" fmla="*/ 75 h 630"/>
                <a:gd name="T70" fmla="*/ 491 w 629"/>
                <a:gd name="T71" fmla="*/ 59 h 630"/>
                <a:gd name="T72" fmla="*/ 505 w 629"/>
                <a:gd name="T73" fmla="*/ 45 h 630"/>
                <a:gd name="T74" fmla="*/ 516 w 629"/>
                <a:gd name="T75" fmla="*/ 34 h 630"/>
                <a:gd name="T76" fmla="*/ 523 w 629"/>
                <a:gd name="T77" fmla="*/ 27 h 630"/>
                <a:gd name="T78" fmla="*/ 527 w 629"/>
                <a:gd name="T79" fmla="*/ 22 h 630"/>
                <a:gd name="T80" fmla="*/ 546 w 629"/>
                <a:gd name="T81" fmla="*/ 9 h 630"/>
                <a:gd name="T82" fmla="*/ 564 w 629"/>
                <a:gd name="T83" fmla="*/ 1 h 630"/>
                <a:gd name="T84" fmla="*/ 581 w 629"/>
                <a:gd name="T85" fmla="*/ 0 h 630"/>
                <a:gd name="T86" fmla="*/ 599 w 629"/>
                <a:gd name="T87" fmla="*/ 6 h 630"/>
                <a:gd name="T88" fmla="*/ 615 w 629"/>
                <a:gd name="T89" fmla="*/ 19 h 630"/>
                <a:gd name="T90" fmla="*/ 623 w 629"/>
                <a:gd name="T91" fmla="*/ 31 h 630"/>
                <a:gd name="T92" fmla="*/ 629 w 629"/>
                <a:gd name="T93" fmla="*/ 45 h 630"/>
                <a:gd name="T94" fmla="*/ 629 w 629"/>
                <a:gd name="T95" fmla="*/ 60 h 630"/>
                <a:gd name="T96" fmla="*/ 625 w 629"/>
                <a:gd name="T97" fmla="*/ 75 h 630"/>
                <a:gd name="T98" fmla="*/ 618 w 629"/>
                <a:gd name="T99" fmla="*/ 90 h 630"/>
                <a:gd name="T100" fmla="*/ 606 w 629"/>
                <a:gd name="T101" fmla="*/ 105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9" h="630">
                  <a:moveTo>
                    <a:pt x="606" y="105"/>
                  </a:moveTo>
                  <a:lnTo>
                    <a:pt x="517" y="196"/>
                  </a:lnTo>
                  <a:lnTo>
                    <a:pt x="427" y="286"/>
                  </a:lnTo>
                  <a:lnTo>
                    <a:pt x="106" y="605"/>
                  </a:lnTo>
                  <a:lnTo>
                    <a:pt x="94" y="618"/>
                  </a:lnTo>
                  <a:lnTo>
                    <a:pt x="78" y="625"/>
                  </a:lnTo>
                  <a:lnTo>
                    <a:pt x="63" y="630"/>
                  </a:lnTo>
                  <a:lnTo>
                    <a:pt x="47" y="630"/>
                  </a:lnTo>
                  <a:lnTo>
                    <a:pt x="30" y="622"/>
                  </a:lnTo>
                  <a:lnTo>
                    <a:pt x="16" y="613"/>
                  </a:lnTo>
                  <a:lnTo>
                    <a:pt x="6" y="601"/>
                  </a:lnTo>
                  <a:lnTo>
                    <a:pt x="1" y="588"/>
                  </a:lnTo>
                  <a:lnTo>
                    <a:pt x="0" y="573"/>
                  </a:lnTo>
                  <a:lnTo>
                    <a:pt x="3" y="557"/>
                  </a:lnTo>
                  <a:lnTo>
                    <a:pt x="10" y="543"/>
                  </a:lnTo>
                  <a:lnTo>
                    <a:pt x="20" y="530"/>
                  </a:lnTo>
                  <a:lnTo>
                    <a:pt x="32" y="517"/>
                  </a:lnTo>
                  <a:lnTo>
                    <a:pt x="48" y="501"/>
                  </a:lnTo>
                  <a:lnTo>
                    <a:pt x="68" y="482"/>
                  </a:lnTo>
                  <a:lnTo>
                    <a:pt x="88" y="461"/>
                  </a:lnTo>
                  <a:lnTo>
                    <a:pt x="112" y="438"/>
                  </a:lnTo>
                  <a:lnTo>
                    <a:pt x="136" y="413"/>
                  </a:lnTo>
                  <a:lnTo>
                    <a:pt x="162" y="387"/>
                  </a:lnTo>
                  <a:lnTo>
                    <a:pt x="189" y="360"/>
                  </a:lnTo>
                  <a:lnTo>
                    <a:pt x="217" y="332"/>
                  </a:lnTo>
                  <a:lnTo>
                    <a:pt x="246" y="303"/>
                  </a:lnTo>
                  <a:lnTo>
                    <a:pt x="275" y="274"/>
                  </a:lnTo>
                  <a:lnTo>
                    <a:pt x="303" y="246"/>
                  </a:lnTo>
                  <a:lnTo>
                    <a:pt x="331" y="217"/>
                  </a:lnTo>
                  <a:lnTo>
                    <a:pt x="359" y="191"/>
                  </a:lnTo>
                  <a:lnTo>
                    <a:pt x="385" y="164"/>
                  </a:lnTo>
                  <a:lnTo>
                    <a:pt x="409" y="139"/>
                  </a:lnTo>
                  <a:lnTo>
                    <a:pt x="433" y="116"/>
                  </a:lnTo>
                  <a:lnTo>
                    <a:pt x="455" y="94"/>
                  </a:lnTo>
                  <a:lnTo>
                    <a:pt x="474" y="75"/>
                  </a:lnTo>
                  <a:lnTo>
                    <a:pt x="491" y="59"/>
                  </a:lnTo>
                  <a:lnTo>
                    <a:pt x="505" y="45"/>
                  </a:lnTo>
                  <a:lnTo>
                    <a:pt x="516" y="34"/>
                  </a:lnTo>
                  <a:lnTo>
                    <a:pt x="523" y="27"/>
                  </a:lnTo>
                  <a:lnTo>
                    <a:pt x="527" y="22"/>
                  </a:lnTo>
                  <a:lnTo>
                    <a:pt x="546" y="9"/>
                  </a:lnTo>
                  <a:lnTo>
                    <a:pt x="564" y="1"/>
                  </a:lnTo>
                  <a:lnTo>
                    <a:pt x="581" y="0"/>
                  </a:lnTo>
                  <a:lnTo>
                    <a:pt x="599" y="6"/>
                  </a:lnTo>
                  <a:lnTo>
                    <a:pt x="615" y="19"/>
                  </a:lnTo>
                  <a:lnTo>
                    <a:pt x="623" y="31"/>
                  </a:lnTo>
                  <a:lnTo>
                    <a:pt x="629" y="45"/>
                  </a:lnTo>
                  <a:lnTo>
                    <a:pt x="629" y="60"/>
                  </a:lnTo>
                  <a:lnTo>
                    <a:pt x="625" y="75"/>
                  </a:lnTo>
                  <a:lnTo>
                    <a:pt x="618" y="90"/>
                  </a:lnTo>
                  <a:lnTo>
                    <a:pt x="606" y="1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-312" y="2031"/>
              <a:ext cx="180" cy="13"/>
            </a:xfrm>
            <a:custGeom>
              <a:avLst/>
              <a:gdLst>
                <a:gd name="T0" fmla="*/ 1615 w 1615"/>
                <a:gd name="T1" fmla="*/ 61 h 123"/>
                <a:gd name="T2" fmla="*/ 1612 w 1615"/>
                <a:gd name="T3" fmla="*/ 81 h 123"/>
                <a:gd name="T4" fmla="*/ 1603 w 1615"/>
                <a:gd name="T5" fmla="*/ 98 h 123"/>
                <a:gd name="T6" fmla="*/ 1590 w 1615"/>
                <a:gd name="T7" fmla="*/ 111 h 123"/>
                <a:gd name="T8" fmla="*/ 1573 w 1615"/>
                <a:gd name="T9" fmla="*/ 120 h 123"/>
                <a:gd name="T10" fmla="*/ 1554 w 1615"/>
                <a:gd name="T11" fmla="*/ 123 h 123"/>
                <a:gd name="T12" fmla="*/ 61 w 1615"/>
                <a:gd name="T13" fmla="*/ 123 h 123"/>
                <a:gd name="T14" fmla="*/ 42 w 1615"/>
                <a:gd name="T15" fmla="*/ 120 h 123"/>
                <a:gd name="T16" fmla="*/ 25 w 1615"/>
                <a:gd name="T17" fmla="*/ 111 h 123"/>
                <a:gd name="T18" fmla="*/ 12 w 1615"/>
                <a:gd name="T19" fmla="*/ 98 h 123"/>
                <a:gd name="T20" fmla="*/ 3 w 1615"/>
                <a:gd name="T21" fmla="*/ 81 h 123"/>
                <a:gd name="T22" fmla="*/ 0 w 1615"/>
                <a:gd name="T23" fmla="*/ 61 h 123"/>
                <a:gd name="T24" fmla="*/ 3 w 1615"/>
                <a:gd name="T25" fmla="*/ 42 h 123"/>
                <a:gd name="T26" fmla="*/ 12 w 1615"/>
                <a:gd name="T27" fmla="*/ 25 h 123"/>
                <a:gd name="T28" fmla="*/ 25 w 1615"/>
                <a:gd name="T29" fmla="*/ 12 h 123"/>
                <a:gd name="T30" fmla="*/ 42 w 1615"/>
                <a:gd name="T31" fmla="*/ 3 h 123"/>
                <a:gd name="T32" fmla="*/ 61 w 1615"/>
                <a:gd name="T33" fmla="*/ 0 h 123"/>
                <a:gd name="T34" fmla="*/ 1554 w 1615"/>
                <a:gd name="T35" fmla="*/ 0 h 123"/>
                <a:gd name="T36" fmla="*/ 1573 w 1615"/>
                <a:gd name="T37" fmla="*/ 3 h 123"/>
                <a:gd name="T38" fmla="*/ 1590 w 1615"/>
                <a:gd name="T39" fmla="*/ 12 h 123"/>
                <a:gd name="T40" fmla="*/ 1603 w 1615"/>
                <a:gd name="T41" fmla="*/ 25 h 123"/>
                <a:gd name="T42" fmla="*/ 1612 w 1615"/>
                <a:gd name="T43" fmla="*/ 42 h 123"/>
                <a:gd name="T44" fmla="*/ 1615 w 1615"/>
                <a:gd name="T45" fmla="*/ 6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3">
                  <a:moveTo>
                    <a:pt x="1615" y="61"/>
                  </a:moveTo>
                  <a:lnTo>
                    <a:pt x="1612" y="81"/>
                  </a:lnTo>
                  <a:lnTo>
                    <a:pt x="1603" y="98"/>
                  </a:lnTo>
                  <a:lnTo>
                    <a:pt x="1590" y="111"/>
                  </a:lnTo>
                  <a:lnTo>
                    <a:pt x="1573" y="120"/>
                  </a:lnTo>
                  <a:lnTo>
                    <a:pt x="1554" y="123"/>
                  </a:lnTo>
                  <a:lnTo>
                    <a:pt x="61" y="123"/>
                  </a:lnTo>
                  <a:lnTo>
                    <a:pt x="42" y="120"/>
                  </a:lnTo>
                  <a:lnTo>
                    <a:pt x="25" y="111"/>
                  </a:lnTo>
                  <a:lnTo>
                    <a:pt x="12" y="98"/>
                  </a:lnTo>
                  <a:lnTo>
                    <a:pt x="3" y="81"/>
                  </a:lnTo>
                  <a:lnTo>
                    <a:pt x="0" y="61"/>
                  </a:lnTo>
                  <a:lnTo>
                    <a:pt x="3" y="42"/>
                  </a:lnTo>
                  <a:lnTo>
                    <a:pt x="12" y="25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3"/>
                  </a:lnTo>
                  <a:lnTo>
                    <a:pt x="1590" y="12"/>
                  </a:lnTo>
                  <a:lnTo>
                    <a:pt x="1603" y="25"/>
                  </a:lnTo>
                  <a:lnTo>
                    <a:pt x="1612" y="42"/>
                  </a:lnTo>
                  <a:lnTo>
                    <a:pt x="161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-312" y="2092"/>
              <a:ext cx="180" cy="14"/>
            </a:xfrm>
            <a:custGeom>
              <a:avLst/>
              <a:gdLst>
                <a:gd name="T0" fmla="*/ 1615 w 1615"/>
                <a:gd name="T1" fmla="*/ 63 h 124"/>
                <a:gd name="T2" fmla="*/ 1612 w 1615"/>
                <a:gd name="T3" fmla="*/ 82 h 124"/>
                <a:gd name="T4" fmla="*/ 1603 w 1615"/>
                <a:gd name="T5" fmla="*/ 99 h 124"/>
                <a:gd name="T6" fmla="*/ 1590 w 1615"/>
                <a:gd name="T7" fmla="*/ 112 h 124"/>
                <a:gd name="T8" fmla="*/ 1573 w 1615"/>
                <a:gd name="T9" fmla="*/ 120 h 124"/>
                <a:gd name="T10" fmla="*/ 1554 w 1615"/>
                <a:gd name="T11" fmla="*/ 124 h 124"/>
                <a:gd name="T12" fmla="*/ 61 w 1615"/>
                <a:gd name="T13" fmla="*/ 124 h 124"/>
                <a:gd name="T14" fmla="*/ 42 w 1615"/>
                <a:gd name="T15" fmla="*/ 120 h 124"/>
                <a:gd name="T16" fmla="*/ 25 w 1615"/>
                <a:gd name="T17" fmla="*/ 112 h 124"/>
                <a:gd name="T18" fmla="*/ 12 w 1615"/>
                <a:gd name="T19" fmla="*/ 99 h 124"/>
                <a:gd name="T20" fmla="*/ 3 w 1615"/>
                <a:gd name="T21" fmla="*/ 82 h 124"/>
                <a:gd name="T22" fmla="*/ 0 w 1615"/>
                <a:gd name="T23" fmla="*/ 63 h 124"/>
                <a:gd name="T24" fmla="*/ 3 w 1615"/>
                <a:gd name="T25" fmla="*/ 43 h 124"/>
                <a:gd name="T26" fmla="*/ 12 w 1615"/>
                <a:gd name="T27" fmla="*/ 26 h 124"/>
                <a:gd name="T28" fmla="*/ 25 w 1615"/>
                <a:gd name="T29" fmla="*/ 12 h 124"/>
                <a:gd name="T30" fmla="*/ 42 w 1615"/>
                <a:gd name="T31" fmla="*/ 4 h 124"/>
                <a:gd name="T32" fmla="*/ 61 w 1615"/>
                <a:gd name="T33" fmla="*/ 0 h 124"/>
                <a:gd name="T34" fmla="*/ 1554 w 1615"/>
                <a:gd name="T35" fmla="*/ 0 h 124"/>
                <a:gd name="T36" fmla="*/ 1573 w 1615"/>
                <a:gd name="T37" fmla="*/ 4 h 124"/>
                <a:gd name="T38" fmla="*/ 1590 w 1615"/>
                <a:gd name="T39" fmla="*/ 12 h 124"/>
                <a:gd name="T40" fmla="*/ 1603 w 1615"/>
                <a:gd name="T41" fmla="*/ 26 h 124"/>
                <a:gd name="T42" fmla="*/ 1612 w 1615"/>
                <a:gd name="T43" fmla="*/ 43 h 124"/>
                <a:gd name="T44" fmla="*/ 1615 w 1615"/>
                <a:gd name="T45" fmla="*/ 6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4">
                  <a:moveTo>
                    <a:pt x="1615" y="63"/>
                  </a:moveTo>
                  <a:lnTo>
                    <a:pt x="1612" y="82"/>
                  </a:lnTo>
                  <a:lnTo>
                    <a:pt x="1603" y="99"/>
                  </a:lnTo>
                  <a:lnTo>
                    <a:pt x="1590" y="112"/>
                  </a:lnTo>
                  <a:lnTo>
                    <a:pt x="1573" y="120"/>
                  </a:lnTo>
                  <a:lnTo>
                    <a:pt x="1554" y="124"/>
                  </a:lnTo>
                  <a:lnTo>
                    <a:pt x="61" y="124"/>
                  </a:lnTo>
                  <a:lnTo>
                    <a:pt x="42" y="120"/>
                  </a:lnTo>
                  <a:lnTo>
                    <a:pt x="25" y="112"/>
                  </a:lnTo>
                  <a:lnTo>
                    <a:pt x="12" y="99"/>
                  </a:lnTo>
                  <a:lnTo>
                    <a:pt x="3" y="82"/>
                  </a:lnTo>
                  <a:lnTo>
                    <a:pt x="0" y="63"/>
                  </a:lnTo>
                  <a:lnTo>
                    <a:pt x="3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4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4"/>
                  </a:lnTo>
                  <a:lnTo>
                    <a:pt x="1590" y="12"/>
                  </a:lnTo>
                  <a:lnTo>
                    <a:pt x="1603" y="26"/>
                  </a:lnTo>
                  <a:lnTo>
                    <a:pt x="1612" y="43"/>
                  </a:lnTo>
                  <a:lnTo>
                    <a:pt x="1615" y="6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-312" y="2153"/>
              <a:ext cx="179" cy="14"/>
            </a:xfrm>
            <a:custGeom>
              <a:avLst/>
              <a:gdLst>
                <a:gd name="T0" fmla="*/ 1614 w 1614"/>
                <a:gd name="T1" fmla="*/ 49 h 124"/>
                <a:gd name="T2" fmla="*/ 1540 w 1614"/>
                <a:gd name="T3" fmla="*/ 124 h 124"/>
                <a:gd name="T4" fmla="*/ 61 w 1614"/>
                <a:gd name="T5" fmla="*/ 124 h 124"/>
                <a:gd name="T6" fmla="*/ 42 w 1614"/>
                <a:gd name="T7" fmla="*/ 121 h 124"/>
                <a:gd name="T8" fmla="*/ 25 w 1614"/>
                <a:gd name="T9" fmla="*/ 112 h 124"/>
                <a:gd name="T10" fmla="*/ 12 w 1614"/>
                <a:gd name="T11" fmla="*/ 98 h 124"/>
                <a:gd name="T12" fmla="*/ 2 w 1614"/>
                <a:gd name="T13" fmla="*/ 81 h 124"/>
                <a:gd name="T14" fmla="*/ 0 w 1614"/>
                <a:gd name="T15" fmla="*/ 62 h 124"/>
                <a:gd name="T16" fmla="*/ 2 w 1614"/>
                <a:gd name="T17" fmla="*/ 43 h 124"/>
                <a:gd name="T18" fmla="*/ 12 w 1614"/>
                <a:gd name="T19" fmla="*/ 26 h 124"/>
                <a:gd name="T20" fmla="*/ 25 w 1614"/>
                <a:gd name="T21" fmla="*/ 12 h 124"/>
                <a:gd name="T22" fmla="*/ 42 w 1614"/>
                <a:gd name="T23" fmla="*/ 3 h 124"/>
                <a:gd name="T24" fmla="*/ 61 w 1614"/>
                <a:gd name="T25" fmla="*/ 0 h 124"/>
                <a:gd name="T26" fmla="*/ 1554 w 1614"/>
                <a:gd name="T27" fmla="*/ 0 h 124"/>
                <a:gd name="T28" fmla="*/ 1571 w 1614"/>
                <a:gd name="T29" fmla="*/ 3 h 124"/>
                <a:gd name="T30" fmla="*/ 1586 w 1614"/>
                <a:gd name="T31" fmla="*/ 10 h 124"/>
                <a:gd name="T32" fmla="*/ 1599 w 1614"/>
                <a:gd name="T33" fmla="*/ 20 h 124"/>
                <a:gd name="T34" fmla="*/ 1609 w 1614"/>
                <a:gd name="T35" fmla="*/ 33 h 124"/>
                <a:gd name="T36" fmla="*/ 1614 w 1614"/>
                <a:gd name="T37" fmla="*/ 49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14" h="124">
                  <a:moveTo>
                    <a:pt x="1614" y="49"/>
                  </a:moveTo>
                  <a:lnTo>
                    <a:pt x="1540" y="124"/>
                  </a:lnTo>
                  <a:lnTo>
                    <a:pt x="61" y="124"/>
                  </a:lnTo>
                  <a:lnTo>
                    <a:pt x="42" y="121"/>
                  </a:lnTo>
                  <a:lnTo>
                    <a:pt x="25" y="112"/>
                  </a:lnTo>
                  <a:lnTo>
                    <a:pt x="12" y="98"/>
                  </a:lnTo>
                  <a:lnTo>
                    <a:pt x="2" y="81"/>
                  </a:lnTo>
                  <a:lnTo>
                    <a:pt x="0" y="62"/>
                  </a:lnTo>
                  <a:lnTo>
                    <a:pt x="2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1" y="3"/>
                  </a:lnTo>
                  <a:lnTo>
                    <a:pt x="1586" y="10"/>
                  </a:lnTo>
                  <a:lnTo>
                    <a:pt x="1599" y="20"/>
                  </a:lnTo>
                  <a:lnTo>
                    <a:pt x="1609" y="33"/>
                  </a:lnTo>
                  <a:lnTo>
                    <a:pt x="1614" y="4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-224" y="2177"/>
              <a:ext cx="129" cy="132"/>
            </a:xfrm>
            <a:custGeom>
              <a:avLst/>
              <a:gdLst>
                <a:gd name="T0" fmla="*/ 1155 w 1157"/>
                <a:gd name="T1" fmla="*/ 280 h 1183"/>
                <a:gd name="T2" fmla="*/ 1140 w 1157"/>
                <a:gd name="T3" fmla="*/ 296 h 1183"/>
                <a:gd name="T4" fmla="*/ 1111 w 1157"/>
                <a:gd name="T5" fmla="*/ 325 h 1183"/>
                <a:gd name="T6" fmla="*/ 1070 w 1157"/>
                <a:gd name="T7" fmla="*/ 367 h 1183"/>
                <a:gd name="T8" fmla="*/ 1020 w 1157"/>
                <a:gd name="T9" fmla="*/ 417 h 1183"/>
                <a:gd name="T10" fmla="*/ 963 w 1157"/>
                <a:gd name="T11" fmla="*/ 475 h 1183"/>
                <a:gd name="T12" fmla="*/ 899 w 1157"/>
                <a:gd name="T13" fmla="*/ 537 h 1183"/>
                <a:gd name="T14" fmla="*/ 833 w 1157"/>
                <a:gd name="T15" fmla="*/ 603 h 1183"/>
                <a:gd name="T16" fmla="*/ 765 w 1157"/>
                <a:gd name="T17" fmla="*/ 670 h 1183"/>
                <a:gd name="T18" fmla="*/ 697 w 1157"/>
                <a:gd name="T19" fmla="*/ 736 h 1183"/>
                <a:gd name="T20" fmla="*/ 633 w 1157"/>
                <a:gd name="T21" fmla="*/ 798 h 1183"/>
                <a:gd name="T22" fmla="*/ 573 w 1157"/>
                <a:gd name="T23" fmla="*/ 855 h 1183"/>
                <a:gd name="T24" fmla="*/ 520 w 1157"/>
                <a:gd name="T25" fmla="*/ 904 h 1183"/>
                <a:gd name="T26" fmla="*/ 475 w 1157"/>
                <a:gd name="T27" fmla="*/ 945 h 1183"/>
                <a:gd name="T28" fmla="*/ 442 w 1157"/>
                <a:gd name="T29" fmla="*/ 973 h 1183"/>
                <a:gd name="T30" fmla="*/ 427 w 1157"/>
                <a:gd name="T31" fmla="*/ 983 h 1183"/>
                <a:gd name="T32" fmla="*/ 409 w 1157"/>
                <a:gd name="T33" fmla="*/ 995 h 1183"/>
                <a:gd name="T34" fmla="*/ 378 w 1157"/>
                <a:gd name="T35" fmla="*/ 1017 h 1183"/>
                <a:gd name="T36" fmla="*/ 336 w 1157"/>
                <a:gd name="T37" fmla="*/ 1042 h 1183"/>
                <a:gd name="T38" fmla="*/ 287 w 1157"/>
                <a:gd name="T39" fmla="*/ 1071 h 1183"/>
                <a:gd name="T40" fmla="*/ 234 w 1157"/>
                <a:gd name="T41" fmla="*/ 1099 h 1183"/>
                <a:gd name="T42" fmla="*/ 181 w 1157"/>
                <a:gd name="T43" fmla="*/ 1123 h 1183"/>
                <a:gd name="T44" fmla="*/ 129 w 1157"/>
                <a:gd name="T45" fmla="*/ 1139 h 1183"/>
                <a:gd name="T46" fmla="*/ 84 w 1157"/>
                <a:gd name="T47" fmla="*/ 1143 h 1183"/>
                <a:gd name="T48" fmla="*/ 78 w 1157"/>
                <a:gd name="T49" fmla="*/ 1144 h 1183"/>
                <a:gd name="T50" fmla="*/ 47 w 1157"/>
                <a:gd name="T51" fmla="*/ 1174 h 1183"/>
                <a:gd name="T52" fmla="*/ 27 w 1157"/>
                <a:gd name="T53" fmla="*/ 1183 h 1183"/>
                <a:gd name="T54" fmla="*/ 9 w 1157"/>
                <a:gd name="T55" fmla="*/ 1176 h 1183"/>
                <a:gd name="T56" fmla="*/ 0 w 1157"/>
                <a:gd name="T57" fmla="*/ 1157 h 1183"/>
                <a:gd name="T58" fmla="*/ 6 w 1157"/>
                <a:gd name="T59" fmla="*/ 1137 h 1183"/>
                <a:gd name="T60" fmla="*/ 29 w 1157"/>
                <a:gd name="T61" fmla="*/ 1091 h 1183"/>
                <a:gd name="T62" fmla="*/ 32 w 1157"/>
                <a:gd name="T63" fmla="*/ 1046 h 1183"/>
                <a:gd name="T64" fmla="*/ 46 w 1157"/>
                <a:gd name="T65" fmla="*/ 994 h 1183"/>
                <a:gd name="T66" fmla="*/ 68 w 1157"/>
                <a:gd name="T67" fmla="*/ 941 h 1183"/>
                <a:gd name="T68" fmla="*/ 93 w 1157"/>
                <a:gd name="T69" fmla="*/ 886 h 1183"/>
                <a:gd name="T70" fmla="*/ 120 w 1157"/>
                <a:gd name="T71" fmla="*/ 837 h 1183"/>
                <a:gd name="T72" fmla="*/ 146 w 1157"/>
                <a:gd name="T73" fmla="*/ 794 h 1183"/>
                <a:gd name="T74" fmla="*/ 167 w 1157"/>
                <a:gd name="T75" fmla="*/ 762 h 1183"/>
                <a:gd name="T76" fmla="*/ 177 w 1157"/>
                <a:gd name="T77" fmla="*/ 745 h 1183"/>
                <a:gd name="T78" fmla="*/ 188 w 1157"/>
                <a:gd name="T79" fmla="*/ 730 h 1183"/>
                <a:gd name="T80" fmla="*/ 215 w 1157"/>
                <a:gd name="T81" fmla="*/ 695 h 1183"/>
                <a:gd name="T82" fmla="*/ 254 w 1157"/>
                <a:gd name="T83" fmla="*/ 650 h 1183"/>
                <a:gd name="T84" fmla="*/ 302 w 1157"/>
                <a:gd name="T85" fmla="*/ 596 h 1183"/>
                <a:gd name="T86" fmla="*/ 358 w 1157"/>
                <a:gd name="T87" fmla="*/ 535 h 1183"/>
                <a:gd name="T88" fmla="*/ 419 w 1157"/>
                <a:gd name="T89" fmla="*/ 469 h 1183"/>
                <a:gd name="T90" fmla="*/ 484 w 1157"/>
                <a:gd name="T91" fmla="*/ 400 h 1183"/>
                <a:gd name="T92" fmla="*/ 549 w 1157"/>
                <a:gd name="T93" fmla="*/ 331 h 1183"/>
                <a:gd name="T94" fmla="*/ 614 w 1157"/>
                <a:gd name="T95" fmla="*/ 264 h 1183"/>
                <a:gd name="T96" fmla="*/ 675 w 1157"/>
                <a:gd name="T97" fmla="*/ 199 h 1183"/>
                <a:gd name="T98" fmla="*/ 732 w 1157"/>
                <a:gd name="T99" fmla="*/ 141 h 1183"/>
                <a:gd name="T100" fmla="*/ 781 w 1157"/>
                <a:gd name="T101" fmla="*/ 89 h 1183"/>
                <a:gd name="T102" fmla="*/ 821 w 1157"/>
                <a:gd name="T103" fmla="*/ 47 h 1183"/>
                <a:gd name="T104" fmla="*/ 850 w 1157"/>
                <a:gd name="T105" fmla="*/ 18 h 1183"/>
                <a:gd name="T106" fmla="*/ 865 w 1157"/>
                <a:gd name="T107" fmla="*/ 2 h 1183"/>
                <a:gd name="T108" fmla="*/ 1012 w 1157"/>
                <a:gd name="T109" fmla="*/ 137 h 1183"/>
                <a:gd name="T110" fmla="*/ 1020 w 1157"/>
                <a:gd name="T111" fmla="*/ 145 h 1183"/>
                <a:gd name="T112" fmla="*/ 1039 w 1157"/>
                <a:gd name="T113" fmla="*/ 162 h 1183"/>
                <a:gd name="T114" fmla="*/ 1064 w 1157"/>
                <a:gd name="T115" fmla="*/ 187 h 1183"/>
                <a:gd name="T116" fmla="*/ 1093 w 1157"/>
                <a:gd name="T117" fmla="*/ 214 h 1183"/>
                <a:gd name="T118" fmla="*/ 1121 w 1157"/>
                <a:gd name="T119" fmla="*/ 241 h 1183"/>
                <a:gd name="T120" fmla="*/ 1142 w 1157"/>
                <a:gd name="T121" fmla="*/ 264 h 1183"/>
                <a:gd name="T122" fmla="*/ 1155 w 1157"/>
                <a:gd name="T123" fmla="*/ 277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57" h="1183">
                  <a:moveTo>
                    <a:pt x="1157" y="278"/>
                  </a:moveTo>
                  <a:lnTo>
                    <a:pt x="1155" y="280"/>
                  </a:lnTo>
                  <a:lnTo>
                    <a:pt x="1150" y="286"/>
                  </a:lnTo>
                  <a:lnTo>
                    <a:pt x="1140" y="296"/>
                  </a:lnTo>
                  <a:lnTo>
                    <a:pt x="1127" y="309"/>
                  </a:lnTo>
                  <a:lnTo>
                    <a:pt x="1111" y="325"/>
                  </a:lnTo>
                  <a:lnTo>
                    <a:pt x="1092" y="344"/>
                  </a:lnTo>
                  <a:lnTo>
                    <a:pt x="1070" y="367"/>
                  </a:lnTo>
                  <a:lnTo>
                    <a:pt x="1047" y="390"/>
                  </a:lnTo>
                  <a:lnTo>
                    <a:pt x="1020" y="417"/>
                  </a:lnTo>
                  <a:lnTo>
                    <a:pt x="992" y="445"/>
                  </a:lnTo>
                  <a:lnTo>
                    <a:pt x="963" y="475"/>
                  </a:lnTo>
                  <a:lnTo>
                    <a:pt x="932" y="505"/>
                  </a:lnTo>
                  <a:lnTo>
                    <a:pt x="899" y="537"/>
                  </a:lnTo>
                  <a:lnTo>
                    <a:pt x="866" y="570"/>
                  </a:lnTo>
                  <a:lnTo>
                    <a:pt x="833" y="603"/>
                  </a:lnTo>
                  <a:lnTo>
                    <a:pt x="799" y="636"/>
                  </a:lnTo>
                  <a:lnTo>
                    <a:pt x="765" y="670"/>
                  </a:lnTo>
                  <a:lnTo>
                    <a:pt x="731" y="703"/>
                  </a:lnTo>
                  <a:lnTo>
                    <a:pt x="697" y="736"/>
                  </a:lnTo>
                  <a:lnTo>
                    <a:pt x="665" y="767"/>
                  </a:lnTo>
                  <a:lnTo>
                    <a:pt x="633" y="798"/>
                  </a:lnTo>
                  <a:lnTo>
                    <a:pt x="603" y="827"/>
                  </a:lnTo>
                  <a:lnTo>
                    <a:pt x="573" y="855"/>
                  </a:lnTo>
                  <a:lnTo>
                    <a:pt x="546" y="881"/>
                  </a:lnTo>
                  <a:lnTo>
                    <a:pt x="520" y="904"/>
                  </a:lnTo>
                  <a:lnTo>
                    <a:pt x="496" y="926"/>
                  </a:lnTo>
                  <a:lnTo>
                    <a:pt x="475" y="945"/>
                  </a:lnTo>
                  <a:lnTo>
                    <a:pt x="457" y="960"/>
                  </a:lnTo>
                  <a:lnTo>
                    <a:pt x="442" y="973"/>
                  </a:lnTo>
                  <a:lnTo>
                    <a:pt x="429" y="981"/>
                  </a:lnTo>
                  <a:lnTo>
                    <a:pt x="427" y="983"/>
                  </a:lnTo>
                  <a:lnTo>
                    <a:pt x="420" y="988"/>
                  </a:lnTo>
                  <a:lnTo>
                    <a:pt x="409" y="995"/>
                  </a:lnTo>
                  <a:lnTo>
                    <a:pt x="395" y="1005"/>
                  </a:lnTo>
                  <a:lnTo>
                    <a:pt x="378" y="1017"/>
                  </a:lnTo>
                  <a:lnTo>
                    <a:pt x="359" y="1029"/>
                  </a:lnTo>
                  <a:lnTo>
                    <a:pt x="336" y="1042"/>
                  </a:lnTo>
                  <a:lnTo>
                    <a:pt x="313" y="1057"/>
                  </a:lnTo>
                  <a:lnTo>
                    <a:pt x="287" y="1071"/>
                  </a:lnTo>
                  <a:lnTo>
                    <a:pt x="261" y="1086"/>
                  </a:lnTo>
                  <a:lnTo>
                    <a:pt x="234" y="1099"/>
                  </a:lnTo>
                  <a:lnTo>
                    <a:pt x="207" y="1112"/>
                  </a:lnTo>
                  <a:lnTo>
                    <a:pt x="181" y="1123"/>
                  </a:lnTo>
                  <a:lnTo>
                    <a:pt x="155" y="1131"/>
                  </a:lnTo>
                  <a:lnTo>
                    <a:pt x="129" y="1139"/>
                  </a:lnTo>
                  <a:lnTo>
                    <a:pt x="105" y="1142"/>
                  </a:lnTo>
                  <a:lnTo>
                    <a:pt x="84" y="1143"/>
                  </a:lnTo>
                  <a:lnTo>
                    <a:pt x="82" y="1144"/>
                  </a:lnTo>
                  <a:lnTo>
                    <a:pt x="78" y="1144"/>
                  </a:lnTo>
                  <a:lnTo>
                    <a:pt x="76" y="1144"/>
                  </a:lnTo>
                  <a:lnTo>
                    <a:pt x="47" y="1174"/>
                  </a:lnTo>
                  <a:lnTo>
                    <a:pt x="38" y="1180"/>
                  </a:lnTo>
                  <a:lnTo>
                    <a:pt x="27" y="1183"/>
                  </a:lnTo>
                  <a:lnTo>
                    <a:pt x="17" y="1182"/>
                  </a:lnTo>
                  <a:lnTo>
                    <a:pt x="9" y="1176"/>
                  </a:lnTo>
                  <a:lnTo>
                    <a:pt x="2" y="1167"/>
                  </a:lnTo>
                  <a:lnTo>
                    <a:pt x="0" y="1157"/>
                  </a:lnTo>
                  <a:lnTo>
                    <a:pt x="1" y="1146"/>
                  </a:lnTo>
                  <a:lnTo>
                    <a:pt x="6" y="1137"/>
                  </a:lnTo>
                  <a:lnTo>
                    <a:pt x="33" y="1109"/>
                  </a:lnTo>
                  <a:lnTo>
                    <a:pt x="29" y="1091"/>
                  </a:lnTo>
                  <a:lnTo>
                    <a:pt x="29" y="1069"/>
                  </a:lnTo>
                  <a:lnTo>
                    <a:pt x="32" y="1046"/>
                  </a:lnTo>
                  <a:lnTo>
                    <a:pt x="38" y="1021"/>
                  </a:lnTo>
                  <a:lnTo>
                    <a:pt x="46" y="994"/>
                  </a:lnTo>
                  <a:lnTo>
                    <a:pt x="56" y="967"/>
                  </a:lnTo>
                  <a:lnTo>
                    <a:pt x="68" y="941"/>
                  </a:lnTo>
                  <a:lnTo>
                    <a:pt x="81" y="913"/>
                  </a:lnTo>
                  <a:lnTo>
                    <a:pt x="93" y="886"/>
                  </a:lnTo>
                  <a:lnTo>
                    <a:pt x="107" y="860"/>
                  </a:lnTo>
                  <a:lnTo>
                    <a:pt x="120" y="837"/>
                  </a:lnTo>
                  <a:lnTo>
                    <a:pt x="134" y="814"/>
                  </a:lnTo>
                  <a:lnTo>
                    <a:pt x="146" y="794"/>
                  </a:lnTo>
                  <a:lnTo>
                    <a:pt x="157" y="777"/>
                  </a:lnTo>
                  <a:lnTo>
                    <a:pt x="167" y="762"/>
                  </a:lnTo>
                  <a:lnTo>
                    <a:pt x="173" y="751"/>
                  </a:lnTo>
                  <a:lnTo>
                    <a:pt x="177" y="745"/>
                  </a:lnTo>
                  <a:lnTo>
                    <a:pt x="179" y="742"/>
                  </a:lnTo>
                  <a:lnTo>
                    <a:pt x="188" y="730"/>
                  </a:lnTo>
                  <a:lnTo>
                    <a:pt x="200" y="715"/>
                  </a:lnTo>
                  <a:lnTo>
                    <a:pt x="215" y="695"/>
                  </a:lnTo>
                  <a:lnTo>
                    <a:pt x="233" y="674"/>
                  </a:lnTo>
                  <a:lnTo>
                    <a:pt x="254" y="650"/>
                  </a:lnTo>
                  <a:lnTo>
                    <a:pt x="277" y="624"/>
                  </a:lnTo>
                  <a:lnTo>
                    <a:pt x="302" y="596"/>
                  </a:lnTo>
                  <a:lnTo>
                    <a:pt x="329" y="566"/>
                  </a:lnTo>
                  <a:lnTo>
                    <a:pt x="358" y="535"/>
                  </a:lnTo>
                  <a:lnTo>
                    <a:pt x="388" y="503"/>
                  </a:lnTo>
                  <a:lnTo>
                    <a:pt x="419" y="469"/>
                  </a:lnTo>
                  <a:lnTo>
                    <a:pt x="451" y="435"/>
                  </a:lnTo>
                  <a:lnTo>
                    <a:pt x="484" y="400"/>
                  </a:lnTo>
                  <a:lnTo>
                    <a:pt x="516" y="365"/>
                  </a:lnTo>
                  <a:lnTo>
                    <a:pt x="549" y="331"/>
                  </a:lnTo>
                  <a:lnTo>
                    <a:pt x="581" y="297"/>
                  </a:lnTo>
                  <a:lnTo>
                    <a:pt x="614" y="264"/>
                  </a:lnTo>
                  <a:lnTo>
                    <a:pt x="645" y="230"/>
                  </a:lnTo>
                  <a:lnTo>
                    <a:pt x="675" y="199"/>
                  </a:lnTo>
                  <a:lnTo>
                    <a:pt x="704" y="168"/>
                  </a:lnTo>
                  <a:lnTo>
                    <a:pt x="732" y="141"/>
                  </a:lnTo>
                  <a:lnTo>
                    <a:pt x="758" y="114"/>
                  </a:lnTo>
                  <a:lnTo>
                    <a:pt x="781" y="89"/>
                  </a:lnTo>
                  <a:lnTo>
                    <a:pt x="803" y="68"/>
                  </a:lnTo>
                  <a:lnTo>
                    <a:pt x="821" y="47"/>
                  </a:lnTo>
                  <a:lnTo>
                    <a:pt x="837" y="31"/>
                  </a:lnTo>
                  <a:lnTo>
                    <a:pt x="850" y="18"/>
                  </a:lnTo>
                  <a:lnTo>
                    <a:pt x="860" y="9"/>
                  </a:lnTo>
                  <a:lnTo>
                    <a:pt x="865" y="2"/>
                  </a:lnTo>
                  <a:lnTo>
                    <a:pt x="867" y="0"/>
                  </a:lnTo>
                  <a:lnTo>
                    <a:pt x="1012" y="137"/>
                  </a:lnTo>
                  <a:lnTo>
                    <a:pt x="1014" y="139"/>
                  </a:lnTo>
                  <a:lnTo>
                    <a:pt x="1020" y="145"/>
                  </a:lnTo>
                  <a:lnTo>
                    <a:pt x="1028" y="152"/>
                  </a:lnTo>
                  <a:lnTo>
                    <a:pt x="1039" y="162"/>
                  </a:lnTo>
                  <a:lnTo>
                    <a:pt x="1051" y="174"/>
                  </a:lnTo>
                  <a:lnTo>
                    <a:pt x="1064" y="187"/>
                  </a:lnTo>
                  <a:lnTo>
                    <a:pt x="1079" y="201"/>
                  </a:lnTo>
                  <a:lnTo>
                    <a:pt x="1093" y="214"/>
                  </a:lnTo>
                  <a:lnTo>
                    <a:pt x="1107" y="228"/>
                  </a:lnTo>
                  <a:lnTo>
                    <a:pt x="1121" y="241"/>
                  </a:lnTo>
                  <a:lnTo>
                    <a:pt x="1133" y="253"/>
                  </a:lnTo>
                  <a:lnTo>
                    <a:pt x="1142" y="264"/>
                  </a:lnTo>
                  <a:lnTo>
                    <a:pt x="1151" y="271"/>
                  </a:lnTo>
                  <a:lnTo>
                    <a:pt x="1155" y="277"/>
                  </a:lnTo>
                  <a:lnTo>
                    <a:pt x="1157" y="2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" name="Group 21"/>
          <p:cNvGrpSpPr>
            <a:grpSpLocks noChangeAspect="1"/>
          </p:cNvGrpSpPr>
          <p:nvPr/>
        </p:nvGrpSpPr>
        <p:grpSpPr bwMode="auto">
          <a:xfrm>
            <a:off x="843703" y="2923581"/>
            <a:ext cx="510202" cy="508511"/>
            <a:chOff x="-425" y="2418"/>
            <a:chExt cx="302" cy="301"/>
          </a:xfrm>
          <a:solidFill>
            <a:srgbClr val="00569B"/>
          </a:solidFill>
        </p:grpSpPr>
        <p:sp>
          <p:nvSpPr>
            <p:cNvPr id="28" name="Freeform 23"/>
            <p:cNvSpPr>
              <a:spLocks/>
            </p:cNvSpPr>
            <p:nvPr/>
          </p:nvSpPr>
          <p:spPr bwMode="auto">
            <a:xfrm>
              <a:off x="-373" y="2472"/>
              <a:ext cx="130" cy="27"/>
            </a:xfrm>
            <a:custGeom>
              <a:avLst/>
              <a:gdLst>
                <a:gd name="T0" fmla="*/ 151 w 1438"/>
                <a:gd name="T1" fmla="*/ 0 h 302"/>
                <a:gd name="T2" fmla="*/ 1287 w 1438"/>
                <a:gd name="T3" fmla="*/ 0 h 302"/>
                <a:gd name="T4" fmla="*/ 1318 w 1438"/>
                <a:gd name="T5" fmla="*/ 3 h 302"/>
                <a:gd name="T6" fmla="*/ 1346 w 1438"/>
                <a:gd name="T7" fmla="*/ 12 h 302"/>
                <a:gd name="T8" fmla="*/ 1372 w 1438"/>
                <a:gd name="T9" fmla="*/ 26 h 302"/>
                <a:gd name="T10" fmla="*/ 1394 w 1438"/>
                <a:gd name="T11" fmla="*/ 45 h 302"/>
                <a:gd name="T12" fmla="*/ 1413 w 1438"/>
                <a:gd name="T13" fmla="*/ 67 h 302"/>
                <a:gd name="T14" fmla="*/ 1426 w 1438"/>
                <a:gd name="T15" fmla="*/ 93 h 302"/>
                <a:gd name="T16" fmla="*/ 1435 w 1438"/>
                <a:gd name="T17" fmla="*/ 121 h 302"/>
                <a:gd name="T18" fmla="*/ 1438 w 1438"/>
                <a:gd name="T19" fmla="*/ 151 h 302"/>
                <a:gd name="T20" fmla="*/ 1435 w 1438"/>
                <a:gd name="T21" fmla="*/ 181 h 302"/>
                <a:gd name="T22" fmla="*/ 1426 w 1438"/>
                <a:gd name="T23" fmla="*/ 209 h 302"/>
                <a:gd name="T24" fmla="*/ 1413 w 1438"/>
                <a:gd name="T25" fmla="*/ 235 h 302"/>
                <a:gd name="T26" fmla="*/ 1394 w 1438"/>
                <a:gd name="T27" fmla="*/ 257 h 302"/>
                <a:gd name="T28" fmla="*/ 1372 w 1438"/>
                <a:gd name="T29" fmla="*/ 276 h 302"/>
                <a:gd name="T30" fmla="*/ 1346 w 1438"/>
                <a:gd name="T31" fmla="*/ 289 h 302"/>
                <a:gd name="T32" fmla="*/ 1318 w 1438"/>
                <a:gd name="T33" fmla="*/ 298 h 302"/>
                <a:gd name="T34" fmla="*/ 1287 w 1438"/>
                <a:gd name="T35" fmla="*/ 302 h 302"/>
                <a:gd name="T36" fmla="*/ 151 w 1438"/>
                <a:gd name="T37" fmla="*/ 302 h 302"/>
                <a:gd name="T38" fmla="*/ 121 w 1438"/>
                <a:gd name="T39" fmla="*/ 298 h 302"/>
                <a:gd name="T40" fmla="*/ 93 w 1438"/>
                <a:gd name="T41" fmla="*/ 289 h 302"/>
                <a:gd name="T42" fmla="*/ 66 w 1438"/>
                <a:gd name="T43" fmla="*/ 276 h 302"/>
                <a:gd name="T44" fmla="*/ 44 w 1438"/>
                <a:gd name="T45" fmla="*/ 257 h 302"/>
                <a:gd name="T46" fmla="*/ 26 w 1438"/>
                <a:gd name="T47" fmla="*/ 235 h 302"/>
                <a:gd name="T48" fmla="*/ 12 w 1438"/>
                <a:gd name="T49" fmla="*/ 209 h 302"/>
                <a:gd name="T50" fmla="*/ 4 w 1438"/>
                <a:gd name="T51" fmla="*/ 181 h 302"/>
                <a:gd name="T52" fmla="*/ 0 w 1438"/>
                <a:gd name="T53" fmla="*/ 151 h 302"/>
                <a:gd name="T54" fmla="*/ 4 w 1438"/>
                <a:gd name="T55" fmla="*/ 121 h 302"/>
                <a:gd name="T56" fmla="*/ 12 w 1438"/>
                <a:gd name="T57" fmla="*/ 93 h 302"/>
                <a:gd name="T58" fmla="*/ 26 w 1438"/>
                <a:gd name="T59" fmla="*/ 67 h 302"/>
                <a:gd name="T60" fmla="*/ 44 w 1438"/>
                <a:gd name="T61" fmla="*/ 45 h 302"/>
                <a:gd name="T62" fmla="*/ 66 w 1438"/>
                <a:gd name="T63" fmla="*/ 26 h 302"/>
                <a:gd name="T64" fmla="*/ 93 w 1438"/>
                <a:gd name="T65" fmla="*/ 12 h 302"/>
                <a:gd name="T66" fmla="*/ 121 w 1438"/>
                <a:gd name="T67" fmla="*/ 3 h 302"/>
                <a:gd name="T68" fmla="*/ 151 w 1438"/>
                <a:gd name="T6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8" h="302">
                  <a:moveTo>
                    <a:pt x="151" y="0"/>
                  </a:moveTo>
                  <a:lnTo>
                    <a:pt x="1287" y="0"/>
                  </a:lnTo>
                  <a:lnTo>
                    <a:pt x="1318" y="3"/>
                  </a:lnTo>
                  <a:lnTo>
                    <a:pt x="1346" y="12"/>
                  </a:lnTo>
                  <a:lnTo>
                    <a:pt x="1372" y="26"/>
                  </a:lnTo>
                  <a:lnTo>
                    <a:pt x="1394" y="45"/>
                  </a:lnTo>
                  <a:lnTo>
                    <a:pt x="1413" y="67"/>
                  </a:lnTo>
                  <a:lnTo>
                    <a:pt x="1426" y="93"/>
                  </a:lnTo>
                  <a:lnTo>
                    <a:pt x="1435" y="121"/>
                  </a:lnTo>
                  <a:lnTo>
                    <a:pt x="1438" y="151"/>
                  </a:lnTo>
                  <a:lnTo>
                    <a:pt x="1435" y="181"/>
                  </a:lnTo>
                  <a:lnTo>
                    <a:pt x="1426" y="209"/>
                  </a:lnTo>
                  <a:lnTo>
                    <a:pt x="1413" y="235"/>
                  </a:lnTo>
                  <a:lnTo>
                    <a:pt x="1394" y="257"/>
                  </a:lnTo>
                  <a:lnTo>
                    <a:pt x="1372" y="276"/>
                  </a:lnTo>
                  <a:lnTo>
                    <a:pt x="1346" y="289"/>
                  </a:lnTo>
                  <a:lnTo>
                    <a:pt x="1318" y="298"/>
                  </a:lnTo>
                  <a:lnTo>
                    <a:pt x="1287" y="302"/>
                  </a:lnTo>
                  <a:lnTo>
                    <a:pt x="151" y="302"/>
                  </a:lnTo>
                  <a:lnTo>
                    <a:pt x="121" y="298"/>
                  </a:lnTo>
                  <a:lnTo>
                    <a:pt x="93" y="289"/>
                  </a:lnTo>
                  <a:lnTo>
                    <a:pt x="66" y="276"/>
                  </a:lnTo>
                  <a:lnTo>
                    <a:pt x="44" y="257"/>
                  </a:lnTo>
                  <a:lnTo>
                    <a:pt x="26" y="235"/>
                  </a:lnTo>
                  <a:lnTo>
                    <a:pt x="12" y="209"/>
                  </a:lnTo>
                  <a:lnTo>
                    <a:pt x="4" y="181"/>
                  </a:lnTo>
                  <a:lnTo>
                    <a:pt x="0" y="151"/>
                  </a:lnTo>
                  <a:lnTo>
                    <a:pt x="4" y="121"/>
                  </a:lnTo>
                  <a:lnTo>
                    <a:pt x="12" y="93"/>
                  </a:lnTo>
                  <a:lnTo>
                    <a:pt x="26" y="67"/>
                  </a:lnTo>
                  <a:lnTo>
                    <a:pt x="44" y="45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auto">
            <a:xfrm>
              <a:off x="-373" y="2523"/>
              <a:ext cx="130" cy="27"/>
            </a:xfrm>
            <a:custGeom>
              <a:avLst/>
              <a:gdLst>
                <a:gd name="T0" fmla="*/ 151 w 1438"/>
                <a:gd name="T1" fmla="*/ 0 h 301"/>
                <a:gd name="T2" fmla="*/ 1287 w 1438"/>
                <a:gd name="T3" fmla="*/ 0 h 301"/>
                <a:gd name="T4" fmla="*/ 1318 w 1438"/>
                <a:gd name="T5" fmla="*/ 3 h 301"/>
                <a:gd name="T6" fmla="*/ 1346 w 1438"/>
                <a:gd name="T7" fmla="*/ 12 h 301"/>
                <a:gd name="T8" fmla="*/ 1372 w 1438"/>
                <a:gd name="T9" fmla="*/ 26 h 301"/>
                <a:gd name="T10" fmla="*/ 1394 w 1438"/>
                <a:gd name="T11" fmla="*/ 44 h 301"/>
                <a:gd name="T12" fmla="*/ 1413 w 1438"/>
                <a:gd name="T13" fmla="*/ 66 h 301"/>
                <a:gd name="T14" fmla="*/ 1426 w 1438"/>
                <a:gd name="T15" fmla="*/ 92 h 301"/>
                <a:gd name="T16" fmla="*/ 1435 w 1438"/>
                <a:gd name="T17" fmla="*/ 120 h 301"/>
                <a:gd name="T18" fmla="*/ 1438 w 1438"/>
                <a:gd name="T19" fmla="*/ 150 h 301"/>
                <a:gd name="T20" fmla="*/ 1435 w 1438"/>
                <a:gd name="T21" fmla="*/ 181 h 301"/>
                <a:gd name="T22" fmla="*/ 1426 w 1438"/>
                <a:gd name="T23" fmla="*/ 210 h 301"/>
                <a:gd name="T24" fmla="*/ 1413 w 1438"/>
                <a:gd name="T25" fmla="*/ 235 h 301"/>
                <a:gd name="T26" fmla="*/ 1394 w 1438"/>
                <a:gd name="T27" fmla="*/ 258 h 301"/>
                <a:gd name="T28" fmla="*/ 1372 w 1438"/>
                <a:gd name="T29" fmla="*/ 275 h 301"/>
                <a:gd name="T30" fmla="*/ 1346 w 1438"/>
                <a:gd name="T31" fmla="*/ 290 h 301"/>
                <a:gd name="T32" fmla="*/ 1318 w 1438"/>
                <a:gd name="T33" fmla="*/ 298 h 301"/>
                <a:gd name="T34" fmla="*/ 1287 w 1438"/>
                <a:gd name="T35" fmla="*/ 301 h 301"/>
                <a:gd name="T36" fmla="*/ 151 w 1438"/>
                <a:gd name="T37" fmla="*/ 301 h 301"/>
                <a:gd name="T38" fmla="*/ 121 w 1438"/>
                <a:gd name="T39" fmla="*/ 298 h 301"/>
                <a:gd name="T40" fmla="*/ 93 w 1438"/>
                <a:gd name="T41" fmla="*/ 290 h 301"/>
                <a:gd name="T42" fmla="*/ 66 w 1438"/>
                <a:gd name="T43" fmla="*/ 275 h 301"/>
                <a:gd name="T44" fmla="*/ 44 w 1438"/>
                <a:gd name="T45" fmla="*/ 258 h 301"/>
                <a:gd name="T46" fmla="*/ 26 w 1438"/>
                <a:gd name="T47" fmla="*/ 235 h 301"/>
                <a:gd name="T48" fmla="*/ 12 w 1438"/>
                <a:gd name="T49" fmla="*/ 210 h 301"/>
                <a:gd name="T50" fmla="*/ 4 w 1438"/>
                <a:gd name="T51" fmla="*/ 181 h 301"/>
                <a:gd name="T52" fmla="*/ 0 w 1438"/>
                <a:gd name="T53" fmla="*/ 150 h 301"/>
                <a:gd name="T54" fmla="*/ 4 w 1438"/>
                <a:gd name="T55" fmla="*/ 120 h 301"/>
                <a:gd name="T56" fmla="*/ 12 w 1438"/>
                <a:gd name="T57" fmla="*/ 92 h 301"/>
                <a:gd name="T58" fmla="*/ 26 w 1438"/>
                <a:gd name="T59" fmla="*/ 66 h 301"/>
                <a:gd name="T60" fmla="*/ 44 w 1438"/>
                <a:gd name="T61" fmla="*/ 44 h 301"/>
                <a:gd name="T62" fmla="*/ 66 w 1438"/>
                <a:gd name="T63" fmla="*/ 26 h 301"/>
                <a:gd name="T64" fmla="*/ 93 w 1438"/>
                <a:gd name="T65" fmla="*/ 12 h 301"/>
                <a:gd name="T66" fmla="*/ 121 w 1438"/>
                <a:gd name="T67" fmla="*/ 3 h 301"/>
                <a:gd name="T68" fmla="*/ 151 w 1438"/>
                <a:gd name="T6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8" h="301">
                  <a:moveTo>
                    <a:pt x="151" y="0"/>
                  </a:moveTo>
                  <a:lnTo>
                    <a:pt x="1287" y="0"/>
                  </a:lnTo>
                  <a:lnTo>
                    <a:pt x="1318" y="3"/>
                  </a:lnTo>
                  <a:lnTo>
                    <a:pt x="1346" y="12"/>
                  </a:lnTo>
                  <a:lnTo>
                    <a:pt x="1372" y="26"/>
                  </a:lnTo>
                  <a:lnTo>
                    <a:pt x="1394" y="44"/>
                  </a:lnTo>
                  <a:lnTo>
                    <a:pt x="1413" y="66"/>
                  </a:lnTo>
                  <a:lnTo>
                    <a:pt x="1426" y="92"/>
                  </a:lnTo>
                  <a:lnTo>
                    <a:pt x="1435" y="120"/>
                  </a:lnTo>
                  <a:lnTo>
                    <a:pt x="1438" y="150"/>
                  </a:lnTo>
                  <a:lnTo>
                    <a:pt x="1435" y="181"/>
                  </a:lnTo>
                  <a:lnTo>
                    <a:pt x="1426" y="210"/>
                  </a:lnTo>
                  <a:lnTo>
                    <a:pt x="1413" y="235"/>
                  </a:lnTo>
                  <a:lnTo>
                    <a:pt x="1394" y="258"/>
                  </a:lnTo>
                  <a:lnTo>
                    <a:pt x="1372" y="275"/>
                  </a:lnTo>
                  <a:lnTo>
                    <a:pt x="1346" y="290"/>
                  </a:lnTo>
                  <a:lnTo>
                    <a:pt x="1318" y="298"/>
                  </a:lnTo>
                  <a:lnTo>
                    <a:pt x="1287" y="301"/>
                  </a:lnTo>
                  <a:lnTo>
                    <a:pt x="151" y="301"/>
                  </a:lnTo>
                  <a:lnTo>
                    <a:pt x="121" y="298"/>
                  </a:lnTo>
                  <a:lnTo>
                    <a:pt x="93" y="290"/>
                  </a:lnTo>
                  <a:lnTo>
                    <a:pt x="66" y="275"/>
                  </a:lnTo>
                  <a:lnTo>
                    <a:pt x="44" y="258"/>
                  </a:lnTo>
                  <a:lnTo>
                    <a:pt x="26" y="235"/>
                  </a:lnTo>
                  <a:lnTo>
                    <a:pt x="12" y="210"/>
                  </a:lnTo>
                  <a:lnTo>
                    <a:pt x="4" y="181"/>
                  </a:lnTo>
                  <a:lnTo>
                    <a:pt x="0" y="150"/>
                  </a:lnTo>
                  <a:lnTo>
                    <a:pt x="4" y="120"/>
                  </a:lnTo>
                  <a:lnTo>
                    <a:pt x="12" y="92"/>
                  </a:lnTo>
                  <a:lnTo>
                    <a:pt x="26" y="66"/>
                  </a:lnTo>
                  <a:lnTo>
                    <a:pt x="44" y="44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5"/>
            <p:cNvSpPr>
              <a:spLocks/>
            </p:cNvSpPr>
            <p:nvPr/>
          </p:nvSpPr>
          <p:spPr bwMode="auto">
            <a:xfrm>
              <a:off x="-373" y="2574"/>
              <a:ext cx="79" cy="28"/>
            </a:xfrm>
            <a:custGeom>
              <a:avLst/>
              <a:gdLst>
                <a:gd name="T0" fmla="*/ 151 w 870"/>
                <a:gd name="T1" fmla="*/ 0 h 301"/>
                <a:gd name="T2" fmla="*/ 720 w 870"/>
                <a:gd name="T3" fmla="*/ 0 h 301"/>
                <a:gd name="T4" fmla="*/ 750 w 870"/>
                <a:gd name="T5" fmla="*/ 4 h 301"/>
                <a:gd name="T6" fmla="*/ 778 w 870"/>
                <a:gd name="T7" fmla="*/ 12 h 301"/>
                <a:gd name="T8" fmla="*/ 805 w 870"/>
                <a:gd name="T9" fmla="*/ 26 h 301"/>
                <a:gd name="T10" fmla="*/ 827 w 870"/>
                <a:gd name="T11" fmla="*/ 44 h 301"/>
                <a:gd name="T12" fmla="*/ 845 w 870"/>
                <a:gd name="T13" fmla="*/ 67 h 301"/>
                <a:gd name="T14" fmla="*/ 859 w 870"/>
                <a:gd name="T15" fmla="*/ 92 h 301"/>
                <a:gd name="T16" fmla="*/ 867 w 870"/>
                <a:gd name="T17" fmla="*/ 120 h 301"/>
                <a:gd name="T18" fmla="*/ 870 w 870"/>
                <a:gd name="T19" fmla="*/ 151 h 301"/>
                <a:gd name="T20" fmla="*/ 867 w 870"/>
                <a:gd name="T21" fmla="*/ 181 h 301"/>
                <a:gd name="T22" fmla="*/ 859 w 870"/>
                <a:gd name="T23" fmla="*/ 209 h 301"/>
                <a:gd name="T24" fmla="*/ 845 w 870"/>
                <a:gd name="T25" fmla="*/ 234 h 301"/>
                <a:gd name="T26" fmla="*/ 827 w 870"/>
                <a:gd name="T27" fmla="*/ 257 h 301"/>
                <a:gd name="T28" fmla="*/ 805 w 870"/>
                <a:gd name="T29" fmla="*/ 275 h 301"/>
                <a:gd name="T30" fmla="*/ 778 w 870"/>
                <a:gd name="T31" fmla="*/ 290 h 301"/>
                <a:gd name="T32" fmla="*/ 750 w 870"/>
                <a:gd name="T33" fmla="*/ 298 h 301"/>
                <a:gd name="T34" fmla="*/ 720 w 870"/>
                <a:gd name="T35" fmla="*/ 301 h 301"/>
                <a:gd name="T36" fmla="*/ 151 w 870"/>
                <a:gd name="T37" fmla="*/ 301 h 301"/>
                <a:gd name="T38" fmla="*/ 121 w 870"/>
                <a:gd name="T39" fmla="*/ 298 h 301"/>
                <a:gd name="T40" fmla="*/ 93 w 870"/>
                <a:gd name="T41" fmla="*/ 290 h 301"/>
                <a:gd name="T42" fmla="*/ 66 w 870"/>
                <a:gd name="T43" fmla="*/ 275 h 301"/>
                <a:gd name="T44" fmla="*/ 44 w 870"/>
                <a:gd name="T45" fmla="*/ 257 h 301"/>
                <a:gd name="T46" fmla="*/ 26 w 870"/>
                <a:gd name="T47" fmla="*/ 234 h 301"/>
                <a:gd name="T48" fmla="*/ 12 w 870"/>
                <a:gd name="T49" fmla="*/ 209 h 301"/>
                <a:gd name="T50" fmla="*/ 4 w 870"/>
                <a:gd name="T51" fmla="*/ 181 h 301"/>
                <a:gd name="T52" fmla="*/ 0 w 870"/>
                <a:gd name="T53" fmla="*/ 151 h 301"/>
                <a:gd name="T54" fmla="*/ 4 w 870"/>
                <a:gd name="T55" fmla="*/ 120 h 301"/>
                <a:gd name="T56" fmla="*/ 12 w 870"/>
                <a:gd name="T57" fmla="*/ 92 h 301"/>
                <a:gd name="T58" fmla="*/ 26 w 870"/>
                <a:gd name="T59" fmla="*/ 67 h 301"/>
                <a:gd name="T60" fmla="*/ 44 w 870"/>
                <a:gd name="T61" fmla="*/ 44 h 301"/>
                <a:gd name="T62" fmla="*/ 66 w 870"/>
                <a:gd name="T63" fmla="*/ 26 h 301"/>
                <a:gd name="T64" fmla="*/ 93 w 870"/>
                <a:gd name="T65" fmla="*/ 12 h 301"/>
                <a:gd name="T66" fmla="*/ 121 w 870"/>
                <a:gd name="T67" fmla="*/ 4 h 301"/>
                <a:gd name="T68" fmla="*/ 151 w 870"/>
                <a:gd name="T6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0" h="301">
                  <a:moveTo>
                    <a:pt x="151" y="0"/>
                  </a:moveTo>
                  <a:lnTo>
                    <a:pt x="720" y="0"/>
                  </a:lnTo>
                  <a:lnTo>
                    <a:pt x="750" y="4"/>
                  </a:lnTo>
                  <a:lnTo>
                    <a:pt x="778" y="12"/>
                  </a:lnTo>
                  <a:lnTo>
                    <a:pt x="805" y="26"/>
                  </a:lnTo>
                  <a:lnTo>
                    <a:pt x="827" y="44"/>
                  </a:lnTo>
                  <a:lnTo>
                    <a:pt x="845" y="67"/>
                  </a:lnTo>
                  <a:lnTo>
                    <a:pt x="859" y="92"/>
                  </a:lnTo>
                  <a:lnTo>
                    <a:pt x="867" y="120"/>
                  </a:lnTo>
                  <a:lnTo>
                    <a:pt x="870" y="151"/>
                  </a:lnTo>
                  <a:lnTo>
                    <a:pt x="867" y="181"/>
                  </a:lnTo>
                  <a:lnTo>
                    <a:pt x="859" y="209"/>
                  </a:lnTo>
                  <a:lnTo>
                    <a:pt x="845" y="234"/>
                  </a:lnTo>
                  <a:lnTo>
                    <a:pt x="827" y="257"/>
                  </a:lnTo>
                  <a:lnTo>
                    <a:pt x="805" y="275"/>
                  </a:lnTo>
                  <a:lnTo>
                    <a:pt x="778" y="290"/>
                  </a:lnTo>
                  <a:lnTo>
                    <a:pt x="750" y="298"/>
                  </a:lnTo>
                  <a:lnTo>
                    <a:pt x="720" y="301"/>
                  </a:lnTo>
                  <a:lnTo>
                    <a:pt x="151" y="301"/>
                  </a:lnTo>
                  <a:lnTo>
                    <a:pt x="121" y="298"/>
                  </a:lnTo>
                  <a:lnTo>
                    <a:pt x="93" y="290"/>
                  </a:lnTo>
                  <a:lnTo>
                    <a:pt x="66" y="275"/>
                  </a:lnTo>
                  <a:lnTo>
                    <a:pt x="44" y="257"/>
                  </a:lnTo>
                  <a:lnTo>
                    <a:pt x="26" y="234"/>
                  </a:lnTo>
                  <a:lnTo>
                    <a:pt x="12" y="209"/>
                  </a:lnTo>
                  <a:lnTo>
                    <a:pt x="4" y="181"/>
                  </a:lnTo>
                  <a:lnTo>
                    <a:pt x="0" y="151"/>
                  </a:lnTo>
                  <a:lnTo>
                    <a:pt x="4" y="120"/>
                  </a:lnTo>
                  <a:lnTo>
                    <a:pt x="12" y="92"/>
                  </a:lnTo>
                  <a:lnTo>
                    <a:pt x="26" y="67"/>
                  </a:lnTo>
                  <a:lnTo>
                    <a:pt x="44" y="44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4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6"/>
            <p:cNvSpPr>
              <a:spLocks/>
            </p:cNvSpPr>
            <p:nvPr/>
          </p:nvSpPr>
          <p:spPr bwMode="auto">
            <a:xfrm>
              <a:off x="-425" y="2418"/>
              <a:ext cx="234" cy="301"/>
            </a:xfrm>
            <a:custGeom>
              <a:avLst/>
              <a:gdLst>
                <a:gd name="T0" fmla="*/ 152 w 2574"/>
                <a:gd name="T1" fmla="*/ 0 h 3310"/>
                <a:gd name="T2" fmla="*/ 2423 w 2574"/>
                <a:gd name="T3" fmla="*/ 0 h 3310"/>
                <a:gd name="T4" fmla="*/ 2453 w 2574"/>
                <a:gd name="T5" fmla="*/ 3 h 3310"/>
                <a:gd name="T6" fmla="*/ 2481 w 2574"/>
                <a:gd name="T7" fmla="*/ 12 h 3310"/>
                <a:gd name="T8" fmla="*/ 2507 w 2574"/>
                <a:gd name="T9" fmla="*/ 26 h 3310"/>
                <a:gd name="T10" fmla="*/ 2529 w 2574"/>
                <a:gd name="T11" fmla="*/ 44 h 3310"/>
                <a:gd name="T12" fmla="*/ 2548 w 2574"/>
                <a:gd name="T13" fmla="*/ 67 h 3310"/>
                <a:gd name="T14" fmla="*/ 2562 w 2574"/>
                <a:gd name="T15" fmla="*/ 92 h 3310"/>
                <a:gd name="T16" fmla="*/ 2571 w 2574"/>
                <a:gd name="T17" fmla="*/ 120 h 3310"/>
                <a:gd name="T18" fmla="*/ 2574 w 2574"/>
                <a:gd name="T19" fmla="*/ 150 h 3310"/>
                <a:gd name="T20" fmla="*/ 2574 w 2574"/>
                <a:gd name="T21" fmla="*/ 374 h 3310"/>
                <a:gd name="T22" fmla="*/ 2272 w 2574"/>
                <a:gd name="T23" fmla="*/ 896 h 3310"/>
                <a:gd name="T24" fmla="*/ 2272 w 2574"/>
                <a:gd name="T25" fmla="*/ 301 h 3310"/>
                <a:gd name="T26" fmla="*/ 304 w 2574"/>
                <a:gd name="T27" fmla="*/ 301 h 3310"/>
                <a:gd name="T28" fmla="*/ 304 w 2574"/>
                <a:gd name="T29" fmla="*/ 3008 h 3310"/>
                <a:gd name="T30" fmla="*/ 2272 w 2574"/>
                <a:gd name="T31" fmla="*/ 3008 h 3310"/>
                <a:gd name="T32" fmla="*/ 2272 w 2574"/>
                <a:gd name="T33" fmla="*/ 2634 h 3310"/>
                <a:gd name="T34" fmla="*/ 2430 w 2574"/>
                <a:gd name="T35" fmla="*/ 2530 h 3310"/>
                <a:gd name="T36" fmla="*/ 2458 w 2574"/>
                <a:gd name="T37" fmla="*/ 2508 h 3310"/>
                <a:gd name="T38" fmla="*/ 2482 w 2574"/>
                <a:gd name="T39" fmla="*/ 2483 h 3310"/>
                <a:gd name="T40" fmla="*/ 2502 w 2574"/>
                <a:gd name="T41" fmla="*/ 2454 h 3310"/>
                <a:gd name="T42" fmla="*/ 2574 w 2574"/>
                <a:gd name="T43" fmla="*/ 2330 h 3310"/>
                <a:gd name="T44" fmla="*/ 2574 w 2574"/>
                <a:gd name="T45" fmla="*/ 3159 h 3310"/>
                <a:gd name="T46" fmla="*/ 2571 w 2574"/>
                <a:gd name="T47" fmla="*/ 3189 h 3310"/>
                <a:gd name="T48" fmla="*/ 2562 w 2574"/>
                <a:gd name="T49" fmla="*/ 3217 h 3310"/>
                <a:gd name="T50" fmla="*/ 2548 w 2574"/>
                <a:gd name="T51" fmla="*/ 3243 h 3310"/>
                <a:gd name="T52" fmla="*/ 2529 w 2574"/>
                <a:gd name="T53" fmla="*/ 3265 h 3310"/>
                <a:gd name="T54" fmla="*/ 2507 w 2574"/>
                <a:gd name="T55" fmla="*/ 3284 h 3310"/>
                <a:gd name="T56" fmla="*/ 2481 w 2574"/>
                <a:gd name="T57" fmla="*/ 3297 h 3310"/>
                <a:gd name="T58" fmla="*/ 2453 w 2574"/>
                <a:gd name="T59" fmla="*/ 3307 h 3310"/>
                <a:gd name="T60" fmla="*/ 2423 w 2574"/>
                <a:gd name="T61" fmla="*/ 3310 h 3310"/>
                <a:gd name="T62" fmla="*/ 152 w 2574"/>
                <a:gd name="T63" fmla="*/ 3310 h 3310"/>
                <a:gd name="T64" fmla="*/ 121 w 2574"/>
                <a:gd name="T65" fmla="*/ 3307 h 3310"/>
                <a:gd name="T66" fmla="*/ 93 w 2574"/>
                <a:gd name="T67" fmla="*/ 3297 h 3310"/>
                <a:gd name="T68" fmla="*/ 67 w 2574"/>
                <a:gd name="T69" fmla="*/ 3284 h 3310"/>
                <a:gd name="T70" fmla="*/ 45 w 2574"/>
                <a:gd name="T71" fmla="*/ 3265 h 3310"/>
                <a:gd name="T72" fmla="*/ 26 w 2574"/>
                <a:gd name="T73" fmla="*/ 3243 h 3310"/>
                <a:gd name="T74" fmla="*/ 13 w 2574"/>
                <a:gd name="T75" fmla="*/ 3217 h 3310"/>
                <a:gd name="T76" fmla="*/ 3 w 2574"/>
                <a:gd name="T77" fmla="*/ 3189 h 3310"/>
                <a:gd name="T78" fmla="*/ 0 w 2574"/>
                <a:gd name="T79" fmla="*/ 3159 h 3310"/>
                <a:gd name="T80" fmla="*/ 0 w 2574"/>
                <a:gd name="T81" fmla="*/ 150 h 3310"/>
                <a:gd name="T82" fmla="*/ 3 w 2574"/>
                <a:gd name="T83" fmla="*/ 120 h 3310"/>
                <a:gd name="T84" fmla="*/ 13 w 2574"/>
                <a:gd name="T85" fmla="*/ 92 h 3310"/>
                <a:gd name="T86" fmla="*/ 26 w 2574"/>
                <a:gd name="T87" fmla="*/ 67 h 3310"/>
                <a:gd name="T88" fmla="*/ 45 w 2574"/>
                <a:gd name="T89" fmla="*/ 44 h 3310"/>
                <a:gd name="T90" fmla="*/ 67 w 2574"/>
                <a:gd name="T91" fmla="*/ 26 h 3310"/>
                <a:gd name="T92" fmla="*/ 93 w 2574"/>
                <a:gd name="T93" fmla="*/ 12 h 3310"/>
                <a:gd name="T94" fmla="*/ 121 w 2574"/>
                <a:gd name="T95" fmla="*/ 3 h 3310"/>
                <a:gd name="T96" fmla="*/ 152 w 2574"/>
                <a:gd name="T97" fmla="*/ 0 h 3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74" h="3310">
                  <a:moveTo>
                    <a:pt x="152" y="0"/>
                  </a:moveTo>
                  <a:lnTo>
                    <a:pt x="2423" y="0"/>
                  </a:lnTo>
                  <a:lnTo>
                    <a:pt x="2453" y="3"/>
                  </a:lnTo>
                  <a:lnTo>
                    <a:pt x="2481" y="12"/>
                  </a:lnTo>
                  <a:lnTo>
                    <a:pt x="2507" y="26"/>
                  </a:lnTo>
                  <a:lnTo>
                    <a:pt x="2529" y="44"/>
                  </a:lnTo>
                  <a:lnTo>
                    <a:pt x="2548" y="67"/>
                  </a:lnTo>
                  <a:lnTo>
                    <a:pt x="2562" y="92"/>
                  </a:lnTo>
                  <a:lnTo>
                    <a:pt x="2571" y="120"/>
                  </a:lnTo>
                  <a:lnTo>
                    <a:pt x="2574" y="150"/>
                  </a:lnTo>
                  <a:lnTo>
                    <a:pt x="2574" y="374"/>
                  </a:lnTo>
                  <a:lnTo>
                    <a:pt x="2272" y="896"/>
                  </a:lnTo>
                  <a:lnTo>
                    <a:pt x="2272" y="301"/>
                  </a:lnTo>
                  <a:lnTo>
                    <a:pt x="304" y="301"/>
                  </a:lnTo>
                  <a:lnTo>
                    <a:pt x="304" y="3008"/>
                  </a:lnTo>
                  <a:lnTo>
                    <a:pt x="2272" y="3008"/>
                  </a:lnTo>
                  <a:lnTo>
                    <a:pt x="2272" y="2634"/>
                  </a:lnTo>
                  <a:lnTo>
                    <a:pt x="2430" y="2530"/>
                  </a:lnTo>
                  <a:lnTo>
                    <a:pt x="2458" y="2508"/>
                  </a:lnTo>
                  <a:lnTo>
                    <a:pt x="2482" y="2483"/>
                  </a:lnTo>
                  <a:lnTo>
                    <a:pt x="2502" y="2454"/>
                  </a:lnTo>
                  <a:lnTo>
                    <a:pt x="2574" y="2330"/>
                  </a:lnTo>
                  <a:lnTo>
                    <a:pt x="2574" y="3159"/>
                  </a:lnTo>
                  <a:lnTo>
                    <a:pt x="2571" y="3189"/>
                  </a:lnTo>
                  <a:lnTo>
                    <a:pt x="2562" y="3217"/>
                  </a:lnTo>
                  <a:lnTo>
                    <a:pt x="2548" y="3243"/>
                  </a:lnTo>
                  <a:lnTo>
                    <a:pt x="2529" y="3265"/>
                  </a:lnTo>
                  <a:lnTo>
                    <a:pt x="2507" y="3284"/>
                  </a:lnTo>
                  <a:lnTo>
                    <a:pt x="2481" y="3297"/>
                  </a:lnTo>
                  <a:lnTo>
                    <a:pt x="2453" y="3307"/>
                  </a:lnTo>
                  <a:lnTo>
                    <a:pt x="2423" y="3310"/>
                  </a:lnTo>
                  <a:lnTo>
                    <a:pt x="152" y="3310"/>
                  </a:lnTo>
                  <a:lnTo>
                    <a:pt x="121" y="3307"/>
                  </a:lnTo>
                  <a:lnTo>
                    <a:pt x="93" y="3297"/>
                  </a:lnTo>
                  <a:lnTo>
                    <a:pt x="67" y="3284"/>
                  </a:lnTo>
                  <a:lnTo>
                    <a:pt x="45" y="3265"/>
                  </a:lnTo>
                  <a:lnTo>
                    <a:pt x="26" y="3243"/>
                  </a:lnTo>
                  <a:lnTo>
                    <a:pt x="13" y="3217"/>
                  </a:lnTo>
                  <a:lnTo>
                    <a:pt x="3" y="3189"/>
                  </a:lnTo>
                  <a:lnTo>
                    <a:pt x="0" y="3159"/>
                  </a:lnTo>
                  <a:lnTo>
                    <a:pt x="0" y="150"/>
                  </a:lnTo>
                  <a:lnTo>
                    <a:pt x="3" y="120"/>
                  </a:lnTo>
                  <a:lnTo>
                    <a:pt x="13" y="92"/>
                  </a:lnTo>
                  <a:lnTo>
                    <a:pt x="26" y="67"/>
                  </a:lnTo>
                  <a:lnTo>
                    <a:pt x="45" y="44"/>
                  </a:lnTo>
                  <a:lnTo>
                    <a:pt x="67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7"/>
            <p:cNvSpPr>
              <a:spLocks noEditPoints="1"/>
            </p:cNvSpPr>
            <p:nvPr/>
          </p:nvSpPr>
          <p:spPr bwMode="auto">
            <a:xfrm>
              <a:off x="-267" y="2452"/>
              <a:ext cx="144" cy="215"/>
            </a:xfrm>
            <a:custGeom>
              <a:avLst/>
              <a:gdLst>
                <a:gd name="T0" fmla="*/ 131 w 1591"/>
                <a:gd name="T1" fmla="*/ 1996 h 2370"/>
                <a:gd name="T2" fmla="*/ 223 w 1591"/>
                <a:gd name="T3" fmla="*/ 2040 h 2370"/>
                <a:gd name="T4" fmla="*/ 308 w 1591"/>
                <a:gd name="T5" fmla="*/ 2097 h 2370"/>
                <a:gd name="T6" fmla="*/ 439 w 1591"/>
                <a:gd name="T7" fmla="*/ 1980 h 2370"/>
                <a:gd name="T8" fmla="*/ 389 w 1591"/>
                <a:gd name="T9" fmla="*/ 1934 h 2370"/>
                <a:gd name="T10" fmla="*/ 314 w 1591"/>
                <a:gd name="T11" fmla="*/ 1883 h 2370"/>
                <a:gd name="T12" fmla="*/ 245 w 1591"/>
                <a:gd name="T13" fmla="*/ 1849 h 2370"/>
                <a:gd name="T14" fmla="*/ 187 w 1591"/>
                <a:gd name="T15" fmla="*/ 1829 h 2370"/>
                <a:gd name="T16" fmla="*/ 141 w 1591"/>
                <a:gd name="T17" fmla="*/ 1820 h 2370"/>
                <a:gd name="T18" fmla="*/ 1118 w 1591"/>
                <a:gd name="T19" fmla="*/ 0 h 2370"/>
                <a:gd name="T20" fmla="*/ 1173 w 1591"/>
                <a:gd name="T21" fmla="*/ 7 h 2370"/>
                <a:gd name="T22" fmla="*/ 1240 w 1591"/>
                <a:gd name="T23" fmla="*/ 25 h 2370"/>
                <a:gd name="T24" fmla="*/ 1319 w 1591"/>
                <a:gd name="T25" fmla="*/ 57 h 2370"/>
                <a:gd name="T26" fmla="*/ 1407 w 1591"/>
                <a:gd name="T27" fmla="*/ 108 h 2370"/>
                <a:gd name="T28" fmla="*/ 1478 w 1591"/>
                <a:gd name="T29" fmla="*/ 163 h 2370"/>
                <a:gd name="T30" fmla="*/ 1528 w 1591"/>
                <a:gd name="T31" fmla="*/ 215 h 2370"/>
                <a:gd name="T32" fmla="*/ 1561 w 1591"/>
                <a:gd name="T33" fmla="*/ 261 h 2370"/>
                <a:gd name="T34" fmla="*/ 1580 w 1591"/>
                <a:gd name="T35" fmla="*/ 297 h 2370"/>
                <a:gd name="T36" fmla="*/ 1588 w 1591"/>
                <a:gd name="T37" fmla="*/ 320 h 2370"/>
                <a:gd name="T38" fmla="*/ 1591 w 1591"/>
                <a:gd name="T39" fmla="*/ 344 h 2370"/>
                <a:gd name="T40" fmla="*/ 1581 w 1591"/>
                <a:gd name="T41" fmla="*/ 379 h 2370"/>
                <a:gd name="T42" fmla="*/ 625 w 1591"/>
                <a:gd name="T43" fmla="*/ 2021 h 2370"/>
                <a:gd name="T44" fmla="*/ 116 w 1591"/>
                <a:gd name="T45" fmla="*/ 2357 h 2370"/>
                <a:gd name="T46" fmla="*/ 77 w 1591"/>
                <a:gd name="T47" fmla="*/ 2370 h 2370"/>
                <a:gd name="T48" fmla="*/ 36 w 1591"/>
                <a:gd name="T49" fmla="*/ 2359 h 2370"/>
                <a:gd name="T50" fmla="*/ 12 w 1591"/>
                <a:gd name="T51" fmla="*/ 2338 h 2370"/>
                <a:gd name="T52" fmla="*/ 0 w 1591"/>
                <a:gd name="T53" fmla="*/ 2306 h 2370"/>
                <a:gd name="T54" fmla="*/ 34 w 1591"/>
                <a:gd name="T55" fmla="*/ 1702 h 2370"/>
                <a:gd name="T56" fmla="*/ 45 w 1591"/>
                <a:gd name="T57" fmla="*/ 1670 h 2370"/>
                <a:gd name="T58" fmla="*/ 1002 w 1591"/>
                <a:gd name="T59" fmla="*/ 27 h 2370"/>
                <a:gd name="T60" fmla="*/ 1034 w 1591"/>
                <a:gd name="T61" fmla="*/ 7 h 2370"/>
                <a:gd name="T62" fmla="*/ 1048 w 1591"/>
                <a:gd name="T63" fmla="*/ 4 h 2370"/>
                <a:gd name="T64" fmla="*/ 1076 w 1591"/>
                <a:gd name="T65" fmla="*/ 0 h 2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91" h="2370">
                  <a:moveTo>
                    <a:pt x="141" y="1820"/>
                  </a:moveTo>
                  <a:lnTo>
                    <a:pt x="131" y="1996"/>
                  </a:lnTo>
                  <a:lnTo>
                    <a:pt x="177" y="2016"/>
                  </a:lnTo>
                  <a:lnTo>
                    <a:pt x="223" y="2040"/>
                  </a:lnTo>
                  <a:lnTo>
                    <a:pt x="267" y="2067"/>
                  </a:lnTo>
                  <a:lnTo>
                    <a:pt x="308" y="2097"/>
                  </a:lnTo>
                  <a:lnTo>
                    <a:pt x="455" y="2000"/>
                  </a:lnTo>
                  <a:lnTo>
                    <a:pt x="439" y="1980"/>
                  </a:lnTo>
                  <a:lnTo>
                    <a:pt x="417" y="1958"/>
                  </a:lnTo>
                  <a:lnTo>
                    <a:pt x="389" y="1934"/>
                  </a:lnTo>
                  <a:lnTo>
                    <a:pt x="355" y="1909"/>
                  </a:lnTo>
                  <a:lnTo>
                    <a:pt x="314" y="1883"/>
                  </a:lnTo>
                  <a:lnTo>
                    <a:pt x="278" y="1864"/>
                  </a:lnTo>
                  <a:lnTo>
                    <a:pt x="245" y="1849"/>
                  </a:lnTo>
                  <a:lnTo>
                    <a:pt x="214" y="1837"/>
                  </a:lnTo>
                  <a:lnTo>
                    <a:pt x="187" y="1829"/>
                  </a:lnTo>
                  <a:lnTo>
                    <a:pt x="163" y="1824"/>
                  </a:lnTo>
                  <a:lnTo>
                    <a:pt x="141" y="1820"/>
                  </a:lnTo>
                  <a:close/>
                  <a:moveTo>
                    <a:pt x="1095" y="0"/>
                  </a:moveTo>
                  <a:lnTo>
                    <a:pt x="1118" y="0"/>
                  </a:lnTo>
                  <a:lnTo>
                    <a:pt x="1144" y="2"/>
                  </a:lnTo>
                  <a:lnTo>
                    <a:pt x="1173" y="7"/>
                  </a:lnTo>
                  <a:lnTo>
                    <a:pt x="1205" y="14"/>
                  </a:lnTo>
                  <a:lnTo>
                    <a:pt x="1240" y="25"/>
                  </a:lnTo>
                  <a:lnTo>
                    <a:pt x="1278" y="39"/>
                  </a:lnTo>
                  <a:lnTo>
                    <a:pt x="1319" y="57"/>
                  </a:lnTo>
                  <a:lnTo>
                    <a:pt x="1362" y="81"/>
                  </a:lnTo>
                  <a:lnTo>
                    <a:pt x="1407" y="108"/>
                  </a:lnTo>
                  <a:lnTo>
                    <a:pt x="1446" y="136"/>
                  </a:lnTo>
                  <a:lnTo>
                    <a:pt x="1478" y="163"/>
                  </a:lnTo>
                  <a:lnTo>
                    <a:pt x="1505" y="190"/>
                  </a:lnTo>
                  <a:lnTo>
                    <a:pt x="1528" y="215"/>
                  </a:lnTo>
                  <a:lnTo>
                    <a:pt x="1546" y="239"/>
                  </a:lnTo>
                  <a:lnTo>
                    <a:pt x="1561" y="261"/>
                  </a:lnTo>
                  <a:lnTo>
                    <a:pt x="1571" y="280"/>
                  </a:lnTo>
                  <a:lnTo>
                    <a:pt x="1580" y="297"/>
                  </a:lnTo>
                  <a:lnTo>
                    <a:pt x="1585" y="311"/>
                  </a:lnTo>
                  <a:lnTo>
                    <a:pt x="1588" y="320"/>
                  </a:lnTo>
                  <a:lnTo>
                    <a:pt x="1589" y="325"/>
                  </a:lnTo>
                  <a:lnTo>
                    <a:pt x="1591" y="344"/>
                  </a:lnTo>
                  <a:lnTo>
                    <a:pt x="1588" y="363"/>
                  </a:lnTo>
                  <a:lnTo>
                    <a:pt x="1581" y="379"/>
                  </a:lnTo>
                  <a:lnTo>
                    <a:pt x="634" y="2008"/>
                  </a:lnTo>
                  <a:lnTo>
                    <a:pt x="625" y="2021"/>
                  </a:lnTo>
                  <a:lnTo>
                    <a:pt x="611" y="2033"/>
                  </a:lnTo>
                  <a:lnTo>
                    <a:pt x="116" y="2357"/>
                  </a:lnTo>
                  <a:lnTo>
                    <a:pt x="97" y="2367"/>
                  </a:lnTo>
                  <a:lnTo>
                    <a:pt x="77" y="2370"/>
                  </a:lnTo>
                  <a:lnTo>
                    <a:pt x="56" y="2368"/>
                  </a:lnTo>
                  <a:lnTo>
                    <a:pt x="36" y="2359"/>
                  </a:lnTo>
                  <a:lnTo>
                    <a:pt x="23" y="2350"/>
                  </a:lnTo>
                  <a:lnTo>
                    <a:pt x="12" y="2338"/>
                  </a:lnTo>
                  <a:lnTo>
                    <a:pt x="5" y="2323"/>
                  </a:lnTo>
                  <a:lnTo>
                    <a:pt x="0" y="2306"/>
                  </a:lnTo>
                  <a:lnTo>
                    <a:pt x="0" y="2290"/>
                  </a:lnTo>
                  <a:lnTo>
                    <a:pt x="34" y="1702"/>
                  </a:lnTo>
                  <a:lnTo>
                    <a:pt x="38" y="1685"/>
                  </a:lnTo>
                  <a:lnTo>
                    <a:pt x="45" y="1670"/>
                  </a:lnTo>
                  <a:lnTo>
                    <a:pt x="991" y="41"/>
                  </a:lnTo>
                  <a:lnTo>
                    <a:pt x="1002" y="27"/>
                  </a:lnTo>
                  <a:lnTo>
                    <a:pt x="1016" y="15"/>
                  </a:lnTo>
                  <a:lnTo>
                    <a:pt x="1034" y="7"/>
                  </a:lnTo>
                  <a:lnTo>
                    <a:pt x="1038" y="6"/>
                  </a:lnTo>
                  <a:lnTo>
                    <a:pt x="1048" y="4"/>
                  </a:lnTo>
                  <a:lnTo>
                    <a:pt x="1060" y="2"/>
                  </a:lnTo>
                  <a:lnTo>
                    <a:pt x="1076" y="0"/>
                  </a:lnTo>
                  <a:lnTo>
                    <a:pt x="10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8"/>
            <p:cNvSpPr>
              <a:spLocks/>
            </p:cNvSpPr>
            <p:nvPr/>
          </p:nvSpPr>
          <p:spPr bwMode="auto">
            <a:xfrm>
              <a:off x="-381" y="2625"/>
              <a:ext cx="105" cy="53"/>
            </a:xfrm>
            <a:custGeom>
              <a:avLst/>
              <a:gdLst>
                <a:gd name="T0" fmla="*/ 557 w 1155"/>
                <a:gd name="T1" fmla="*/ 5 h 591"/>
                <a:gd name="T2" fmla="*/ 583 w 1155"/>
                <a:gd name="T3" fmla="*/ 28 h 591"/>
                <a:gd name="T4" fmla="*/ 591 w 1155"/>
                <a:gd name="T5" fmla="*/ 111 h 591"/>
                <a:gd name="T6" fmla="*/ 560 w 1155"/>
                <a:gd name="T7" fmla="*/ 199 h 591"/>
                <a:gd name="T8" fmla="*/ 569 w 1155"/>
                <a:gd name="T9" fmla="*/ 242 h 591"/>
                <a:gd name="T10" fmla="*/ 587 w 1155"/>
                <a:gd name="T11" fmla="*/ 270 h 591"/>
                <a:gd name="T12" fmla="*/ 637 w 1155"/>
                <a:gd name="T13" fmla="*/ 278 h 591"/>
                <a:gd name="T14" fmla="*/ 681 w 1155"/>
                <a:gd name="T15" fmla="*/ 323 h 591"/>
                <a:gd name="T16" fmla="*/ 693 w 1155"/>
                <a:gd name="T17" fmla="*/ 357 h 591"/>
                <a:gd name="T18" fmla="*/ 847 w 1155"/>
                <a:gd name="T19" fmla="*/ 351 h 591"/>
                <a:gd name="T20" fmla="*/ 996 w 1155"/>
                <a:gd name="T21" fmla="*/ 366 h 591"/>
                <a:gd name="T22" fmla="*/ 1118 w 1155"/>
                <a:gd name="T23" fmla="*/ 373 h 591"/>
                <a:gd name="T24" fmla="*/ 1149 w 1155"/>
                <a:gd name="T25" fmla="*/ 400 h 591"/>
                <a:gd name="T26" fmla="*/ 1154 w 1155"/>
                <a:gd name="T27" fmla="*/ 441 h 591"/>
                <a:gd name="T28" fmla="*/ 1131 w 1155"/>
                <a:gd name="T29" fmla="*/ 475 h 591"/>
                <a:gd name="T30" fmla="*/ 1066 w 1155"/>
                <a:gd name="T31" fmla="*/ 482 h 591"/>
                <a:gd name="T32" fmla="*/ 957 w 1155"/>
                <a:gd name="T33" fmla="*/ 467 h 591"/>
                <a:gd name="T34" fmla="*/ 843 w 1155"/>
                <a:gd name="T35" fmla="*/ 452 h 591"/>
                <a:gd name="T36" fmla="*/ 738 w 1155"/>
                <a:gd name="T37" fmla="*/ 461 h 591"/>
                <a:gd name="T38" fmla="*/ 679 w 1155"/>
                <a:gd name="T39" fmla="*/ 486 h 591"/>
                <a:gd name="T40" fmla="*/ 636 w 1155"/>
                <a:gd name="T41" fmla="*/ 492 h 591"/>
                <a:gd name="T42" fmla="*/ 603 w 1155"/>
                <a:gd name="T43" fmla="*/ 477 h 591"/>
                <a:gd name="T44" fmla="*/ 576 w 1155"/>
                <a:gd name="T45" fmla="*/ 454 h 591"/>
                <a:gd name="T46" fmla="*/ 571 w 1155"/>
                <a:gd name="T47" fmla="*/ 407 h 591"/>
                <a:gd name="T48" fmla="*/ 537 w 1155"/>
                <a:gd name="T49" fmla="*/ 457 h 591"/>
                <a:gd name="T50" fmla="*/ 495 w 1155"/>
                <a:gd name="T51" fmla="*/ 471 h 591"/>
                <a:gd name="T52" fmla="*/ 455 w 1155"/>
                <a:gd name="T53" fmla="*/ 456 h 591"/>
                <a:gd name="T54" fmla="*/ 439 w 1155"/>
                <a:gd name="T55" fmla="*/ 419 h 591"/>
                <a:gd name="T56" fmla="*/ 450 w 1155"/>
                <a:gd name="T57" fmla="*/ 390 h 591"/>
                <a:gd name="T58" fmla="*/ 458 w 1155"/>
                <a:gd name="T59" fmla="*/ 369 h 591"/>
                <a:gd name="T60" fmla="*/ 422 w 1155"/>
                <a:gd name="T61" fmla="*/ 404 h 591"/>
                <a:gd name="T62" fmla="*/ 379 w 1155"/>
                <a:gd name="T63" fmla="*/ 428 h 591"/>
                <a:gd name="T64" fmla="*/ 335 w 1155"/>
                <a:gd name="T65" fmla="*/ 417 h 591"/>
                <a:gd name="T66" fmla="*/ 314 w 1155"/>
                <a:gd name="T67" fmla="*/ 379 h 591"/>
                <a:gd name="T68" fmla="*/ 364 w 1155"/>
                <a:gd name="T69" fmla="*/ 288 h 591"/>
                <a:gd name="T70" fmla="*/ 252 w 1155"/>
                <a:gd name="T71" fmla="*/ 393 h 591"/>
                <a:gd name="T72" fmla="*/ 96 w 1155"/>
                <a:gd name="T73" fmla="*/ 581 h 591"/>
                <a:gd name="T74" fmla="*/ 49 w 1155"/>
                <a:gd name="T75" fmla="*/ 590 h 591"/>
                <a:gd name="T76" fmla="*/ 9 w 1155"/>
                <a:gd name="T77" fmla="*/ 569 h 591"/>
                <a:gd name="T78" fmla="*/ 2 w 1155"/>
                <a:gd name="T79" fmla="*/ 527 h 591"/>
                <a:gd name="T80" fmla="*/ 138 w 1155"/>
                <a:gd name="T81" fmla="*/ 351 h 591"/>
                <a:gd name="T82" fmla="*/ 344 w 1155"/>
                <a:gd name="T83" fmla="*/ 123 h 591"/>
                <a:gd name="T84" fmla="*/ 398 w 1155"/>
                <a:gd name="T85" fmla="*/ 70 h 591"/>
                <a:gd name="T86" fmla="*/ 462 w 1155"/>
                <a:gd name="T87" fmla="*/ 20 h 591"/>
                <a:gd name="T88" fmla="*/ 534 w 1155"/>
                <a:gd name="T89" fmla="*/ 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55" h="591">
                  <a:moveTo>
                    <a:pt x="534" y="0"/>
                  </a:moveTo>
                  <a:lnTo>
                    <a:pt x="545" y="2"/>
                  </a:lnTo>
                  <a:lnTo>
                    <a:pt x="557" y="5"/>
                  </a:lnTo>
                  <a:lnTo>
                    <a:pt x="567" y="10"/>
                  </a:lnTo>
                  <a:lnTo>
                    <a:pt x="576" y="18"/>
                  </a:lnTo>
                  <a:lnTo>
                    <a:pt x="583" y="28"/>
                  </a:lnTo>
                  <a:lnTo>
                    <a:pt x="591" y="54"/>
                  </a:lnTo>
                  <a:lnTo>
                    <a:pt x="593" y="82"/>
                  </a:lnTo>
                  <a:lnTo>
                    <a:pt x="591" y="111"/>
                  </a:lnTo>
                  <a:lnTo>
                    <a:pt x="584" y="140"/>
                  </a:lnTo>
                  <a:lnTo>
                    <a:pt x="573" y="170"/>
                  </a:lnTo>
                  <a:lnTo>
                    <a:pt x="560" y="199"/>
                  </a:lnTo>
                  <a:lnTo>
                    <a:pt x="543" y="230"/>
                  </a:lnTo>
                  <a:lnTo>
                    <a:pt x="557" y="235"/>
                  </a:lnTo>
                  <a:lnTo>
                    <a:pt x="569" y="242"/>
                  </a:lnTo>
                  <a:lnTo>
                    <a:pt x="579" y="254"/>
                  </a:lnTo>
                  <a:lnTo>
                    <a:pt x="583" y="263"/>
                  </a:lnTo>
                  <a:lnTo>
                    <a:pt x="587" y="270"/>
                  </a:lnTo>
                  <a:lnTo>
                    <a:pt x="604" y="269"/>
                  </a:lnTo>
                  <a:lnTo>
                    <a:pt x="620" y="272"/>
                  </a:lnTo>
                  <a:lnTo>
                    <a:pt x="637" y="278"/>
                  </a:lnTo>
                  <a:lnTo>
                    <a:pt x="653" y="289"/>
                  </a:lnTo>
                  <a:lnTo>
                    <a:pt x="668" y="303"/>
                  </a:lnTo>
                  <a:lnTo>
                    <a:pt x="681" y="323"/>
                  </a:lnTo>
                  <a:lnTo>
                    <a:pt x="689" y="338"/>
                  </a:lnTo>
                  <a:lnTo>
                    <a:pt x="692" y="349"/>
                  </a:lnTo>
                  <a:lnTo>
                    <a:pt x="693" y="357"/>
                  </a:lnTo>
                  <a:lnTo>
                    <a:pt x="746" y="351"/>
                  </a:lnTo>
                  <a:lnTo>
                    <a:pt x="797" y="350"/>
                  </a:lnTo>
                  <a:lnTo>
                    <a:pt x="847" y="351"/>
                  </a:lnTo>
                  <a:lnTo>
                    <a:pt x="897" y="355"/>
                  </a:lnTo>
                  <a:lnTo>
                    <a:pt x="946" y="361"/>
                  </a:lnTo>
                  <a:lnTo>
                    <a:pt x="996" y="366"/>
                  </a:lnTo>
                  <a:lnTo>
                    <a:pt x="1048" y="369"/>
                  </a:lnTo>
                  <a:lnTo>
                    <a:pt x="1101" y="371"/>
                  </a:lnTo>
                  <a:lnTo>
                    <a:pt x="1118" y="373"/>
                  </a:lnTo>
                  <a:lnTo>
                    <a:pt x="1131" y="379"/>
                  </a:lnTo>
                  <a:lnTo>
                    <a:pt x="1142" y="389"/>
                  </a:lnTo>
                  <a:lnTo>
                    <a:pt x="1149" y="400"/>
                  </a:lnTo>
                  <a:lnTo>
                    <a:pt x="1154" y="413"/>
                  </a:lnTo>
                  <a:lnTo>
                    <a:pt x="1155" y="427"/>
                  </a:lnTo>
                  <a:lnTo>
                    <a:pt x="1154" y="441"/>
                  </a:lnTo>
                  <a:lnTo>
                    <a:pt x="1149" y="454"/>
                  </a:lnTo>
                  <a:lnTo>
                    <a:pt x="1142" y="466"/>
                  </a:lnTo>
                  <a:lnTo>
                    <a:pt x="1131" y="475"/>
                  </a:lnTo>
                  <a:lnTo>
                    <a:pt x="1118" y="481"/>
                  </a:lnTo>
                  <a:lnTo>
                    <a:pt x="1101" y="483"/>
                  </a:lnTo>
                  <a:lnTo>
                    <a:pt x="1066" y="482"/>
                  </a:lnTo>
                  <a:lnTo>
                    <a:pt x="1031" y="478"/>
                  </a:lnTo>
                  <a:lnTo>
                    <a:pt x="993" y="473"/>
                  </a:lnTo>
                  <a:lnTo>
                    <a:pt x="957" y="467"/>
                  </a:lnTo>
                  <a:lnTo>
                    <a:pt x="919" y="460"/>
                  </a:lnTo>
                  <a:lnTo>
                    <a:pt x="881" y="455"/>
                  </a:lnTo>
                  <a:lnTo>
                    <a:pt x="843" y="452"/>
                  </a:lnTo>
                  <a:lnTo>
                    <a:pt x="807" y="451"/>
                  </a:lnTo>
                  <a:lnTo>
                    <a:pt x="771" y="454"/>
                  </a:lnTo>
                  <a:lnTo>
                    <a:pt x="738" y="461"/>
                  </a:lnTo>
                  <a:lnTo>
                    <a:pt x="705" y="474"/>
                  </a:lnTo>
                  <a:lnTo>
                    <a:pt x="693" y="480"/>
                  </a:lnTo>
                  <a:lnTo>
                    <a:pt x="679" y="486"/>
                  </a:lnTo>
                  <a:lnTo>
                    <a:pt x="664" y="492"/>
                  </a:lnTo>
                  <a:lnTo>
                    <a:pt x="651" y="494"/>
                  </a:lnTo>
                  <a:lnTo>
                    <a:pt x="636" y="492"/>
                  </a:lnTo>
                  <a:lnTo>
                    <a:pt x="626" y="487"/>
                  </a:lnTo>
                  <a:lnTo>
                    <a:pt x="614" y="482"/>
                  </a:lnTo>
                  <a:lnTo>
                    <a:pt x="603" y="477"/>
                  </a:lnTo>
                  <a:lnTo>
                    <a:pt x="592" y="471"/>
                  </a:lnTo>
                  <a:lnTo>
                    <a:pt x="584" y="464"/>
                  </a:lnTo>
                  <a:lnTo>
                    <a:pt x="576" y="454"/>
                  </a:lnTo>
                  <a:lnTo>
                    <a:pt x="572" y="442"/>
                  </a:lnTo>
                  <a:lnTo>
                    <a:pt x="571" y="423"/>
                  </a:lnTo>
                  <a:lnTo>
                    <a:pt x="571" y="407"/>
                  </a:lnTo>
                  <a:lnTo>
                    <a:pt x="560" y="427"/>
                  </a:lnTo>
                  <a:lnTo>
                    <a:pt x="547" y="446"/>
                  </a:lnTo>
                  <a:lnTo>
                    <a:pt x="537" y="457"/>
                  </a:lnTo>
                  <a:lnTo>
                    <a:pt x="524" y="466"/>
                  </a:lnTo>
                  <a:lnTo>
                    <a:pt x="509" y="470"/>
                  </a:lnTo>
                  <a:lnTo>
                    <a:pt x="495" y="471"/>
                  </a:lnTo>
                  <a:lnTo>
                    <a:pt x="480" y="469"/>
                  </a:lnTo>
                  <a:lnTo>
                    <a:pt x="467" y="464"/>
                  </a:lnTo>
                  <a:lnTo>
                    <a:pt x="455" y="456"/>
                  </a:lnTo>
                  <a:lnTo>
                    <a:pt x="446" y="446"/>
                  </a:lnTo>
                  <a:lnTo>
                    <a:pt x="440" y="433"/>
                  </a:lnTo>
                  <a:lnTo>
                    <a:pt x="439" y="419"/>
                  </a:lnTo>
                  <a:lnTo>
                    <a:pt x="444" y="402"/>
                  </a:lnTo>
                  <a:lnTo>
                    <a:pt x="447" y="396"/>
                  </a:lnTo>
                  <a:lnTo>
                    <a:pt x="450" y="390"/>
                  </a:lnTo>
                  <a:lnTo>
                    <a:pt x="450" y="390"/>
                  </a:lnTo>
                  <a:lnTo>
                    <a:pt x="449" y="390"/>
                  </a:lnTo>
                  <a:lnTo>
                    <a:pt x="458" y="369"/>
                  </a:lnTo>
                  <a:lnTo>
                    <a:pt x="445" y="378"/>
                  </a:lnTo>
                  <a:lnTo>
                    <a:pt x="432" y="390"/>
                  </a:lnTo>
                  <a:lnTo>
                    <a:pt x="422" y="404"/>
                  </a:lnTo>
                  <a:lnTo>
                    <a:pt x="409" y="417"/>
                  </a:lnTo>
                  <a:lnTo>
                    <a:pt x="394" y="425"/>
                  </a:lnTo>
                  <a:lnTo>
                    <a:pt x="379" y="428"/>
                  </a:lnTo>
                  <a:lnTo>
                    <a:pt x="363" y="428"/>
                  </a:lnTo>
                  <a:lnTo>
                    <a:pt x="348" y="424"/>
                  </a:lnTo>
                  <a:lnTo>
                    <a:pt x="335" y="417"/>
                  </a:lnTo>
                  <a:lnTo>
                    <a:pt x="324" y="406"/>
                  </a:lnTo>
                  <a:lnTo>
                    <a:pt x="317" y="394"/>
                  </a:lnTo>
                  <a:lnTo>
                    <a:pt x="314" y="379"/>
                  </a:lnTo>
                  <a:lnTo>
                    <a:pt x="316" y="364"/>
                  </a:lnTo>
                  <a:lnTo>
                    <a:pt x="323" y="347"/>
                  </a:lnTo>
                  <a:lnTo>
                    <a:pt x="364" y="288"/>
                  </a:lnTo>
                  <a:lnTo>
                    <a:pt x="404" y="226"/>
                  </a:lnTo>
                  <a:lnTo>
                    <a:pt x="326" y="309"/>
                  </a:lnTo>
                  <a:lnTo>
                    <a:pt x="252" y="393"/>
                  </a:lnTo>
                  <a:lnTo>
                    <a:pt x="179" y="480"/>
                  </a:lnTo>
                  <a:lnTo>
                    <a:pt x="108" y="569"/>
                  </a:lnTo>
                  <a:lnTo>
                    <a:pt x="96" y="581"/>
                  </a:lnTo>
                  <a:lnTo>
                    <a:pt x="80" y="588"/>
                  </a:lnTo>
                  <a:lnTo>
                    <a:pt x="65" y="591"/>
                  </a:lnTo>
                  <a:lnTo>
                    <a:pt x="49" y="590"/>
                  </a:lnTo>
                  <a:lnTo>
                    <a:pt x="33" y="586"/>
                  </a:lnTo>
                  <a:lnTo>
                    <a:pt x="21" y="579"/>
                  </a:lnTo>
                  <a:lnTo>
                    <a:pt x="9" y="569"/>
                  </a:lnTo>
                  <a:lnTo>
                    <a:pt x="2" y="556"/>
                  </a:lnTo>
                  <a:lnTo>
                    <a:pt x="0" y="542"/>
                  </a:lnTo>
                  <a:lnTo>
                    <a:pt x="2" y="527"/>
                  </a:lnTo>
                  <a:lnTo>
                    <a:pt x="11" y="511"/>
                  </a:lnTo>
                  <a:lnTo>
                    <a:pt x="74" y="431"/>
                  </a:lnTo>
                  <a:lnTo>
                    <a:pt x="138" y="351"/>
                  </a:lnTo>
                  <a:lnTo>
                    <a:pt x="204" y="273"/>
                  </a:lnTo>
                  <a:lnTo>
                    <a:pt x="273" y="196"/>
                  </a:lnTo>
                  <a:lnTo>
                    <a:pt x="344" y="123"/>
                  </a:lnTo>
                  <a:lnTo>
                    <a:pt x="361" y="107"/>
                  </a:lnTo>
                  <a:lnTo>
                    <a:pt x="380" y="89"/>
                  </a:lnTo>
                  <a:lnTo>
                    <a:pt x="398" y="70"/>
                  </a:lnTo>
                  <a:lnTo>
                    <a:pt x="418" y="52"/>
                  </a:lnTo>
                  <a:lnTo>
                    <a:pt x="439" y="35"/>
                  </a:lnTo>
                  <a:lnTo>
                    <a:pt x="462" y="20"/>
                  </a:lnTo>
                  <a:lnTo>
                    <a:pt x="485" y="9"/>
                  </a:lnTo>
                  <a:lnTo>
                    <a:pt x="509" y="2"/>
                  </a:lnTo>
                  <a:lnTo>
                    <a:pt x="5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7" name="Freeform 6"/>
          <p:cNvSpPr>
            <a:spLocks noEditPoints="1"/>
          </p:cNvSpPr>
          <p:nvPr/>
        </p:nvSpPr>
        <p:spPr bwMode="auto">
          <a:xfrm>
            <a:off x="866235" y="5333934"/>
            <a:ext cx="465138" cy="611188"/>
          </a:xfrm>
          <a:custGeom>
            <a:avLst/>
            <a:gdLst>
              <a:gd name="T0" fmla="*/ 43 w 2633"/>
              <a:gd name="T1" fmla="*/ 25 h 3459"/>
              <a:gd name="T2" fmla="*/ 0 w 2633"/>
              <a:gd name="T3" fmla="*/ 113 h 3459"/>
              <a:gd name="T4" fmla="*/ 18 w 2633"/>
              <a:gd name="T5" fmla="*/ 3405 h 3459"/>
              <a:gd name="T6" fmla="*/ 87 w 2633"/>
              <a:gd name="T7" fmla="*/ 3457 h 3459"/>
              <a:gd name="T8" fmla="*/ 2569 w 2633"/>
              <a:gd name="T9" fmla="*/ 3447 h 3459"/>
              <a:gd name="T10" fmla="*/ 2630 w 2633"/>
              <a:gd name="T11" fmla="*/ 3371 h 3459"/>
              <a:gd name="T12" fmla="*/ 2624 w 2633"/>
              <a:gd name="T13" fmla="*/ 597 h 3459"/>
              <a:gd name="T14" fmla="*/ 2056 w 2633"/>
              <a:gd name="T15" fmla="*/ 20 h 3459"/>
              <a:gd name="T16" fmla="*/ 113 w 2633"/>
              <a:gd name="T17" fmla="*/ 0 h 3459"/>
              <a:gd name="T18" fmla="*/ 1883 w 2633"/>
              <a:gd name="T19" fmla="*/ 660 h 3459"/>
              <a:gd name="T20" fmla="*/ 1930 w 2633"/>
              <a:gd name="T21" fmla="*/ 731 h 3459"/>
              <a:gd name="T22" fmla="*/ 2407 w 2633"/>
              <a:gd name="T23" fmla="*/ 752 h 3459"/>
              <a:gd name="T24" fmla="*/ 2107 w 2633"/>
              <a:gd name="T25" fmla="*/ 386 h 3459"/>
              <a:gd name="T26" fmla="*/ 414 w 2633"/>
              <a:gd name="T27" fmla="*/ 828 h 3459"/>
              <a:gd name="T28" fmla="*/ 414 w 2633"/>
              <a:gd name="T29" fmla="*/ 828 h 3459"/>
              <a:gd name="T30" fmla="*/ 1020 w 2633"/>
              <a:gd name="T31" fmla="*/ 927 h 3459"/>
              <a:gd name="T32" fmla="*/ 978 w 2633"/>
              <a:gd name="T33" fmla="*/ 1016 h 3459"/>
              <a:gd name="T34" fmla="*/ 1020 w 2633"/>
              <a:gd name="T35" fmla="*/ 1103 h 3459"/>
              <a:gd name="T36" fmla="*/ 2107 w 2633"/>
              <a:gd name="T37" fmla="*/ 1128 h 3459"/>
              <a:gd name="T38" fmla="*/ 2195 w 2633"/>
              <a:gd name="T39" fmla="*/ 1086 h 3459"/>
              <a:gd name="T40" fmla="*/ 2217 w 2633"/>
              <a:gd name="T41" fmla="*/ 989 h 3459"/>
              <a:gd name="T42" fmla="*/ 2156 w 2633"/>
              <a:gd name="T43" fmla="*/ 914 h 3459"/>
              <a:gd name="T44" fmla="*/ 414 w 2633"/>
              <a:gd name="T45" fmla="*/ 1429 h 3459"/>
              <a:gd name="T46" fmla="*/ 414 w 2633"/>
              <a:gd name="T47" fmla="*/ 1429 h 3459"/>
              <a:gd name="T48" fmla="*/ 1020 w 2633"/>
              <a:gd name="T49" fmla="*/ 1529 h 3459"/>
              <a:gd name="T50" fmla="*/ 978 w 2633"/>
              <a:gd name="T51" fmla="*/ 1617 h 3459"/>
              <a:gd name="T52" fmla="*/ 1020 w 2633"/>
              <a:gd name="T53" fmla="*/ 1704 h 3459"/>
              <a:gd name="T54" fmla="*/ 2107 w 2633"/>
              <a:gd name="T55" fmla="*/ 1730 h 3459"/>
              <a:gd name="T56" fmla="*/ 2195 w 2633"/>
              <a:gd name="T57" fmla="*/ 1688 h 3459"/>
              <a:gd name="T58" fmla="*/ 2217 w 2633"/>
              <a:gd name="T59" fmla="*/ 1591 h 3459"/>
              <a:gd name="T60" fmla="*/ 2156 w 2633"/>
              <a:gd name="T61" fmla="*/ 1515 h 3459"/>
              <a:gd name="T62" fmla="*/ 414 w 2633"/>
              <a:gd name="T63" fmla="*/ 2030 h 3459"/>
              <a:gd name="T64" fmla="*/ 414 w 2633"/>
              <a:gd name="T65" fmla="*/ 2030 h 3459"/>
              <a:gd name="T66" fmla="*/ 1020 w 2633"/>
              <a:gd name="T67" fmla="*/ 2131 h 3459"/>
              <a:gd name="T68" fmla="*/ 978 w 2633"/>
              <a:gd name="T69" fmla="*/ 2219 h 3459"/>
              <a:gd name="T70" fmla="*/ 1020 w 2633"/>
              <a:gd name="T71" fmla="*/ 2306 h 3459"/>
              <a:gd name="T72" fmla="*/ 2107 w 2633"/>
              <a:gd name="T73" fmla="*/ 2331 h 3459"/>
              <a:gd name="T74" fmla="*/ 2195 w 2633"/>
              <a:gd name="T75" fmla="*/ 2289 h 3459"/>
              <a:gd name="T76" fmla="*/ 2217 w 2633"/>
              <a:gd name="T77" fmla="*/ 2193 h 3459"/>
              <a:gd name="T78" fmla="*/ 2156 w 2633"/>
              <a:gd name="T79" fmla="*/ 2117 h 3459"/>
              <a:gd name="T80" fmla="*/ 414 w 2633"/>
              <a:gd name="T81" fmla="*/ 2631 h 3459"/>
              <a:gd name="T82" fmla="*/ 414 w 2633"/>
              <a:gd name="T83" fmla="*/ 2631 h 3459"/>
              <a:gd name="T84" fmla="*/ 1020 w 2633"/>
              <a:gd name="T85" fmla="*/ 2732 h 3459"/>
              <a:gd name="T86" fmla="*/ 978 w 2633"/>
              <a:gd name="T87" fmla="*/ 2819 h 3459"/>
              <a:gd name="T88" fmla="*/ 1020 w 2633"/>
              <a:gd name="T89" fmla="*/ 2908 h 3459"/>
              <a:gd name="T90" fmla="*/ 2107 w 2633"/>
              <a:gd name="T91" fmla="*/ 2933 h 3459"/>
              <a:gd name="T92" fmla="*/ 2195 w 2633"/>
              <a:gd name="T93" fmla="*/ 2891 h 3459"/>
              <a:gd name="T94" fmla="*/ 2217 w 2633"/>
              <a:gd name="T95" fmla="*/ 2794 h 3459"/>
              <a:gd name="T96" fmla="*/ 2156 w 2633"/>
              <a:gd name="T97" fmla="*/ 2719 h 34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633" h="3459">
                <a:moveTo>
                  <a:pt x="113" y="0"/>
                </a:moveTo>
                <a:lnTo>
                  <a:pt x="87" y="3"/>
                </a:lnTo>
                <a:lnTo>
                  <a:pt x="64" y="12"/>
                </a:lnTo>
                <a:lnTo>
                  <a:pt x="43" y="25"/>
                </a:lnTo>
                <a:lnTo>
                  <a:pt x="25" y="43"/>
                </a:lnTo>
                <a:lnTo>
                  <a:pt x="12" y="64"/>
                </a:lnTo>
                <a:lnTo>
                  <a:pt x="3" y="88"/>
                </a:lnTo>
                <a:lnTo>
                  <a:pt x="0" y="113"/>
                </a:lnTo>
                <a:lnTo>
                  <a:pt x="0" y="3347"/>
                </a:lnTo>
                <a:lnTo>
                  <a:pt x="2" y="3366"/>
                </a:lnTo>
                <a:lnTo>
                  <a:pt x="9" y="3386"/>
                </a:lnTo>
                <a:lnTo>
                  <a:pt x="18" y="3405"/>
                </a:lnTo>
                <a:lnTo>
                  <a:pt x="31" y="3422"/>
                </a:lnTo>
                <a:lnTo>
                  <a:pt x="46" y="3438"/>
                </a:lnTo>
                <a:lnTo>
                  <a:pt x="65" y="3449"/>
                </a:lnTo>
                <a:lnTo>
                  <a:pt x="87" y="3457"/>
                </a:lnTo>
                <a:lnTo>
                  <a:pt x="113" y="3459"/>
                </a:lnTo>
                <a:lnTo>
                  <a:pt x="2520" y="3459"/>
                </a:lnTo>
                <a:lnTo>
                  <a:pt x="2546" y="3456"/>
                </a:lnTo>
                <a:lnTo>
                  <a:pt x="2569" y="3447"/>
                </a:lnTo>
                <a:lnTo>
                  <a:pt x="2590" y="3434"/>
                </a:lnTo>
                <a:lnTo>
                  <a:pt x="2608" y="3416"/>
                </a:lnTo>
                <a:lnTo>
                  <a:pt x="2621" y="3395"/>
                </a:lnTo>
                <a:lnTo>
                  <a:pt x="2630" y="3371"/>
                </a:lnTo>
                <a:lnTo>
                  <a:pt x="2633" y="3347"/>
                </a:lnTo>
                <a:lnTo>
                  <a:pt x="2633" y="640"/>
                </a:lnTo>
                <a:lnTo>
                  <a:pt x="2631" y="618"/>
                </a:lnTo>
                <a:lnTo>
                  <a:pt x="2624" y="597"/>
                </a:lnTo>
                <a:lnTo>
                  <a:pt x="2614" y="578"/>
                </a:lnTo>
                <a:lnTo>
                  <a:pt x="2600" y="561"/>
                </a:lnTo>
                <a:lnTo>
                  <a:pt x="2074" y="34"/>
                </a:lnTo>
                <a:lnTo>
                  <a:pt x="2056" y="20"/>
                </a:lnTo>
                <a:lnTo>
                  <a:pt x="2037" y="10"/>
                </a:lnTo>
                <a:lnTo>
                  <a:pt x="2016" y="2"/>
                </a:lnTo>
                <a:lnTo>
                  <a:pt x="1994" y="0"/>
                </a:lnTo>
                <a:lnTo>
                  <a:pt x="113" y="0"/>
                </a:lnTo>
                <a:close/>
                <a:moveTo>
                  <a:pt x="226" y="226"/>
                </a:moveTo>
                <a:lnTo>
                  <a:pt x="1881" y="226"/>
                </a:lnTo>
                <a:lnTo>
                  <a:pt x="1881" y="640"/>
                </a:lnTo>
                <a:lnTo>
                  <a:pt x="1883" y="660"/>
                </a:lnTo>
                <a:lnTo>
                  <a:pt x="1889" y="681"/>
                </a:lnTo>
                <a:lnTo>
                  <a:pt x="1900" y="699"/>
                </a:lnTo>
                <a:lnTo>
                  <a:pt x="1913" y="716"/>
                </a:lnTo>
                <a:lnTo>
                  <a:pt x="1930" y="731"/>
                </a:lnTo>
                <a:lnTo>
                  <a:pt x="1949" y="743"/>
                </a:lnTo>
                <a:lnTo>
                  <a:pt x="1971" y="750"/>
                </a:lnTo>
                <a:lnTo>
                  <a:pt x="1994" y="752"/>
                </a:lnTo>
                <a:lnTo>
                  <a:pt x="2407" y="752"/>
                </a:lnTo>
                <a:lnTo>
                  <a:pt x="2407" y="3233"/>
                </a:lnTo>
                <a:lnTo>
                  <a:pt x="226" y="3233"/>
                </a:lnTo>
                <a:lnTo>
                  <a:pt x="226" y="226"/>
                </a:lnTo>
                <a:close/>
                <a:moveTo>
                  <a:pt x="2107" y="386"/>
                </a:moveTo>
                <a:lnTo>
                  <a:pt x="2247" y="526"/>
                </a:lnTo>
                <a:lnTo>
                  <a:pt x="2107" y="526"/>
                </a:lnTo>
                <a:lnTo>
                  <a:pt x="2107" y="386"/>
                </a:lnTo>
                <a:close/>
                <a:moveTo>
                  <a:pt x="414" y="828"/>
                </a:moveTo>
                <a:lnTo>
                  <a:pt x="414" y="1203"/>
                </a:lnTo>
                <a:lnTo>
                  <a:pt x="790" y="1203"/>
                </a:lnTo>
                <a:lnTo>
                  <a:pt x="790" y="828"/>
                </a:lnTo>
                <a:lnTo>
                  <a:pt x="414" y="828"/>
                </a:lnTo>
                <a:close/>
                <a:moveTo>
                  <a:pt x="1091" y="902"/>
                </a:moveTo>
                <a:lnTo>
                  <a:pt x="1065" y="905"/>
                </a:lnTo>
                <a:lnTo>
                  <a:pt x="1041" y="914"/>
                </a:lnTo>
                <a:lnTo>
                  <a:pt x="1020" y="927"/>
                </a:lnTo>
                <a:lnTo>
                  <a:pt x="1002" y="944"/>
                </a:lnTo>
                <a:lnTo>
                  <a:pt x="990" y="965"/>
                </a:lnTo>
                <a:lnTo>
                  <a:pt x="981" y="989"/>
                </a:lnTo>
                <a:lnTo>
                  <a:pt x="978" y="1016"/>
                </a:lnTo>
                <a:lnTo>
                  <a:pt x="981" y="1041"/>
                </a:lnTo>
                <a:lnTo>
                  <a:pt x="990" y="1065"/>
                </a:lnTo>
                <a:lnTo>
                  <a:pt x="1002" y="1086"/>
                </a:lnTo>
                <a:lnTo>
                  <a:pt x="1020" y="1103"/>
                </a:lnTo>
                <a:lnTo>
                  <a:pt x="1041" y="1116"/>
                </a:lnTo>
                <a:lnTo>
                  <a:pt x="1065" y="1125"/>
                </a:lnTo>
                <a:lnTo>
                  <a:pt x="1091" y="1128"/>
                </a:lnTo>
                <a:lnTo>
                  <a:pt x="2107" y="1128"/>
                </a:lnTo>
                <a:lnTo>
                  <a:pt x="2133" y="1125"/>
                </a:lnTo>
                <a:lnTo>
                  <a:pt x="2156" y="1116"/>
                </a:lnTo>
                <a:lnTo>
                  <a:pt x="2177" y="1103"/>
                </a:lnTo>
                <a:lnTo>
                  <a:pt x="2195" y="1086"/>
                </a:lnTo>
                <a:lnTo>
                  <a:pt x="2207" y="1065"/>
                </a:lnTo>
                <a:lnTo>
                  <a:pt x="2217" y="1041"/>
                </a:lnTo>
                <a:lnTo>
                  <a:pt x="2219" y="1016"/>
                </a:lnTo>
                <a:lnTo>
                  <a:pt x="2217" y="989"/>
                </a:lnTo>
                <a:lnTo>
                  <a:pt x="2207" y="965"/>
                </a:lnTo>
                <a:lnTo>
                  <a:pt x="2195" y="944"/>
                </a:lnTo>
                <a:lnTo>
                  <a:pt x="2177" y="927"/>
                </a:lnTo>
                <a:lnTo>
                  <a:pt x="2156" y="914"/>
                </a:lnTo>
                <a:lnTo>
                  <a:pt x="2133" y="905"/>
                </a:lnTo>
                <a:lnTo>
                  <a:pt x="2107" y="902"/>
                </a:lnTo>
                <a:lnTo>
                  <a:pt x="1091" y="902"/>
                </a:lnTo>
                <a:close/>
                <a:moveTo>
                  <a:pt x="414" y="1429"/>
                </a:moveTo>
                <a:lnTo>
                  <a:pt x="414" y="1805"/>
                </a:lnTo>
                <a:lnTo>
                  <a:pt x="790" y="1805"/>
                </a:lnTo>
                <a:lnTo>
                  <a:pt x="790" y="1429"/>
                </a:lnTo>
                <a:lnTo>
                  <a:pt x="414" y="1429"/>
                </a:lnTo>
                <a:close/>
                <a:moveTo>
                  <a:pt x="1091" y="1504"/>
                </a:moveTo>
                <a:lnTo>
                  <a:pt x="1065" y="1507"/>
                </a:lnTo>
                <a:lnTo>
                  <a:pt x="1041" y="1515"/>
                </a:lnTo>
                <a:lnTo>
                  <a:pt x="1020" y="1529"/>
                </a:lnTo>
                <a:lnTo>
                  <a:pt x="1002" y="1546"/>
                </a:lnTo>
                <a:lnTo>
                  <a:pt x="990" y="1567"/>
                </a:lnTo>
                <a:lnTo>
                  <a:pt x="981" y="1591"/>
                </a:lnTo>
                <a:lnTo>
                  <a:pt x="978" y="1617"/>
                </a:lnTo>
                <a:lnTo>
                  <a:pt x="981" y="1642"/>
                </a:lnTo>
                <a:lnTo>
                  <a:pt x="990" y="1667"/>
                </a:lnTo>
                <a:lnTo>
                  <a:pt x="1002" y="1688"/>
                </a:lnTo>
                <a:lnTo>
                  <a:pt x="1020" y="1704"/>
                </a:lnTo>
                <a:lnTo>
                  <a:pt x="1041" y="1718"/>
                </a:lnTo>
                <a:lnTo>
                  <a:pt x="1065" y="1726"/>
                </a:lnTo>
                <a:lnTo>
                  <a:pt x="1091" y="1730"/>
                </a:lnTo>
                <a:lnTo>
                  <a:pt x="2107" y="1730"/>
                </a:lnTo>
                <a:lnTo>
                  <a:pt x="2133" y="1726"/>
                </a:lnTo>
                <a:lnTo>
                  <a:pt x="2156" y="1718"/>
                </a:lnTo>
                <a:lnTo>
                  <a:pt x="2177" y="1704"/>
                </a:lnTo>
                <a:lnTo>
                  <a:pt x="2195" y="1688"/>
                </a:lnTo>
                <a:lnTo>
                  <a:pt x="2207" y="1667"/>
                </a:lnTo>
                <a:lnTo>
                  <a:pt x="2217" y="1642"/>
                </a:lnTo>
                <a:lnTo>
                  <a:pt x="2219" y="1617"/>
                </a:lnTo>
                <a:lnTo>
                  <a:pt x="2217" y="1591"/>
                </a:lnTo>
                <a:lnTo>
                  <a:pt x="2207" y="1567"/>
                </a:lnTo>
                <a:lnTo>
                  <a:pt x="2195" y="1546"/>
                </a:lnTo>
                <a:lnTo>
                  <a:pt x="2177" y="1529"/>
                </a:lnTo>
                <a:lnTo>
                  <a:pt x="2156" y="1515"/>
                </a:lnTo>
                <a:lnTo>
                  <a:pt x="2133" y="1507"/>
                </a:lnTo>
                <a:lnTo>
                  <a:pt x="2107" y="1504"/>
                </a:lnTo>
                <a:lnTo>
                  <a:pt x="1091" y="1504"/>
                </a:lnTo>
                <a:close/>
                <a:moveTo>
                  <a:pt x="414" y="2030"/>
                </a:moveTo>
                <a:lnTo>
                  <a:pt x="414" y="2407"/>
                </a:lnTo>
                <a:lnTo>
                  <a:pt x="790" y="2407"/>
                </a:lnTo>
                <a:lnTo>
                  <a:pt x="790" y="2030"/>
                </a:lnTo>
                <a:lnTo>
                  <a:pt x="414" y="2030"/>
                </a:lnTo>
                <a:close/>
                <a:moveTo>
                  <a:pt x="1091" y="2105"/>
                </a:moveTo>
                <a:lnTo>
                  <a:pt x="1065" y="2109"/>
                </a:lnTo>
                <a:lnTo>
                  <a:pt x="1041" y="2117"/>
                </a:lnTo>
                <a:lnTo>
                  <a:pt x="1020" y="2131"/>
                </a:lnTo>
                <a:lnTo>
                  <a:pt x="1002" y="2147"/>
                </a:lnTo>
                <a:lnTo>
                  <a:pt x="990" y="2168"/>
                </a:lnTo>
                <a:lnTo>
                  <a:pt x="981" y="2193"/>
                </a:lnTo>
                <a:lnTo>
                  <a:pt x="978" y="2219"/>
                </a:lnTo>
                <a:lnTo>
                  <a:pt x="981" y="2244"/>
                </a:lnTo>
                <a:lnTo>
                  <a:pt x="990" y="2268"/>
                </a:lnTo>
                <a:lnTo>
                  <a:pt x="1002" y="2289"/>
                </a:lnTo>
                <a:lnTo>
                  <a:pt x="1020" y="2306"/>
                </a:lnTo>
                <a:lnTo>
                  <a:pt x="1041" y="2320"/>
                </a:lnTo>
                <a:lnTo>
                  <a:pt x="1065" y="2328"/>
                </a:lnTo>
                <a:lnTo>
                  <a:pt x="1091" y="2331"/>
                </a:lnTo>
                <a:lnTo>
                  <a:pt x="2107" y="2331"/>
                </a:lnTo>
                <a:lnTo>
                  <a:pt x="2133" y="2328"/>
                </a:lnTo>
                <a:lnTo>
                  <a:pt x="2156" y="2320"/>
                </a:lnTo>
                <a:lnTo>
                  <a:pt x="2177" y="2306"/>
                </a:lnTo>
                <a:lnTo>
                  <a:pt x="2195" y="2289"/>
                </a:lnTo>
                <a:lnTo>
                  <a:pt x="2207" y="2268"/>
                </a:lnTo>
                <a:lnTo>
                  <a:pt x="2217" y="2244"/>
                </a:lnTo>
                <a:lnTo>
                  <a:pt x="2219" y="2219"/>
                </a:lnTo>
                <a:lnTo>
                  <a:pt x="2217" y="2193"/>
                </a:lnTo>
                <a:lnTo>
                  <a:pt x="2207" y="2168"/>
                </a:lnTo>
                <a:lnTo>
                  <a:pt x="2195" y="2147"/>
                </a:lnTo>
                <a:lnTo>
                  <a:pt x="2177" y="2131"/>
                </a:lnTo>
                <a:lnTo>
                  <a:pt x="2156" y="2117"/>
                </a:lnTo>
                <a:lnTo>
                  <a:pt x="2133" y="2109"/>
                </a:lnTo>
                <a:lnTo>
                  <a:pt x="2107" y="2105"/>
                </a:lnTo>
                <a:lnTo>
                  <a:pt x="1091" y="2105"/>
                </a:lnTo>
                <a:close/>
                <a:moveTo>
                  <a:pt x="414" y="2631"/>
                </a:moveTo>
                <a:lnTo>
                  <a:pt x="414" y="3007"/>
                </a:lnTo>
                <a:lnTo>
                  <a:pt x="790" y="3007"/>
                </a:lnTo>
                <a:lnTo>
                  <a:pt x="790" y="2631"/>
                </a:lnTo>
                <a:lnTo>
                  <a:pt x="414" y="2631"/>
                </a:lnTo>
                <a:close/>
                <a:moveTo>
                  <a:pt x="1091" y="2707"/>
                </a:moveTo>
                <a:lnTo>
                  <a:pt x="1065" y="2710"/>
                </a:lnTo>
                <a:lnTo>
                  <a:pt x="1041" y="2719"/>
                </a:lnTo>
                <a:lnTo>
                  <a:pt x="1020" y="2732"/>
                </a:lnTo>
                <a:lnTo>
                  <a:pt x="1002" y="2749"/>
                </a:lnTo>
                <a:lnTo>
                  <a:pt x="990" y="2770"/>
                </a:lnTo>
                <a:lnTo>
                  <a:pt x="981" y="2794"/>
                </a:lnTo>
                <a:lnTo>
                  <a:pt x="978" y="2819"/>
                </a:lnTo>
                <a:lnTo>
                  <a:pt x="981" y="2846"/>
                </a:lnTo>
                <a:lnTo>
                  <a:pt x="990" y="2870"/>
                </a:lnTo>
                <a:lnTo>
                  <a:pt x="1002" y="2891"/>
                </a:lnTo>
                <a:lnTo>
                  <a:pt x="1020" y="2908"/>
                </a:lnTo>
                <a:lnTo>
                  <a:pt x="1041" y="2921"/>
                </a:lnTo>
                <a:lnTo>
                  <a:pt x="1065" y="2930"/>
                </a:lnTo>
                <a:lnTo>
                  <a:pt x="1091" y="2933"/>
                </a:lnTo>
                <a:lnTo>
                  <a:pt x="2107" y="2933"/>
                </a:lnTo>
                <a:lnTo>
                  <a:pt x="2133" y="2930"/>
                </a:lnTo>
                <a:lnTo>
                  <a:pt x="2156" y="2921"/>
                </a:lnTo>
                <a:lnTo>
                  <a:pt x="2177" y="2908"/>
                </a:lnTo>
                <a:lnTo>
                  <a:pt x="2195" y="2891"/>
                </a:lnTo>
                <a:lnTo>
                  <a:pt x="2207" y="2870"/>
                </a:lnTo>
                <a:lnTo>
                  <a:pt x="2217" y="2846"/>
                </a:lnTo>
                <a:lnTo>
                  <a:pt x="2219" y="2819"/>
                </a:lnTo>
                <a:lnTo>
                  <a:pt x="2217" y="2794"/>
                </a:lnTo>
                <a:lnTo>
                  <a:pt x="2207" y="2770"/>
                </a:lnTo>
                <a:lnTo>
                  <a:pt x="2195" y="2749"/>
                </a:lnTo>
                <a:lnTo>
                  <a:pt x="2177" y="2732"/>
                </a:lnTo>
                <a:lnTo>
                  <a:pt x="2156" y="2719"/>
                </a:lnTo>
                <a:lnTo>
                  <a:pt x="2133" y="2710"/>
                </a:lnTo>
                <a:lnTo>
                  <a:pt x="2107" y="2707"/>
                </a:lnTo>
                <a:lnTo>
                  <a:pt x="1091" y="2707"/>
                </a:lnTo>
                <a:close/>
              </a:path>
            </a:pathLst>
          </a:custGeom>
          <a:solidFill>
            <a:srgbClr val="00569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9" name="Group 9"/>
          <p:cNvGrpSpPr>
            <a:grpSpLocks noChangeAspect="1"/>
          </p:cNvGrpSpPr>
          <p:nvPr/>
        </p:nvGrpSpPr>
        <p:grpSpPr bwMode="auto">
          <a:xfrm>
            <a:off x="823913" y="4133850"/>
            <a:ext cx="549275" cy="549275"/>
            <a:chOff x="519" y="2604"/>
            <a:chExt cx="346" cy="346"/>
          </a:xfrm>
          <a:solidFill>
            <a:srgbClr val="00569B"/>
          </a:solidFill>
        </p:grpSpPr>
        <p:sp>
          <p:nvSpPr>
            <p:cNvPr id="42" name="Freeform 11"/>
            <p:cNvSpPr>
              <a:spLocks noEditPoints="1"/>
            </p:cNvSpPr>
            <p:nvPr/>
          </p:nvSpPr>
          <p:spPr bwMode="auto">
            <a:xfrm>
              <a:off x="726" y="2816"/>
              <a:ext cx="139" cy="134"/>
            </a:xfrm>
            <a:custGeom>
              <a:avLst/>
              <a:gdLst>
                <a:gd name="T0" fmla="*/ 629 w 1390"/>
                <a:gd name="T1" fmla="*/ 3 h 1337"/>
                <a:gd name="T2" fmla="*/ 500 w 1390"/>
                <a:gd name="T3" fmla="*/ 26 h 1337"/>
                <a:gd name="T4" fmla="*/ 381 w 1390"/>
                <a:gd name="T5" fmla="*/ 71 h 1337"/>
                <a:gd name="T6" fmla="*/ 274 w 1390"/>
                <a:gd name="T7" fmla="*/ 136 h 1337"/>
                <a:gd name="T8" fmla="*/ 182 w 1390"/>
                <a:gd name="T9" fmla="*/ 217 h 1337"/>
                <a:gd name="T10" fmla="*/ 105 w 1390"/>
                <a:gd name="T11" fmla="*/ 314 h 1337"/>
                <a:gd name="T12" fmla="*/ 49 w 1390"/>
                <a:gd name="T13" fmla="*/ 422 h 1337"/>
                <a:gd name="T14" fmla="*/ 12 w 1390"/>
                <a:gd name="T15" fmla="*/ 542 h 1337"/>
                <a:gd name="T16" fmla="*/ 0 w 1390"/>
                <a:gd name="T17" fmla="*/ 668 h 1337"/>
                <a:gd name="T18" fmla="*/ 12 w 1390"/>
                <a:gd name="T19" fmla="*/ 795 h 1337"/>
                <a:gd name="T20" fmla="*/ 49 w 1390"/>
                <a:gd name="T21" fmla="*/ 915 h 1337"/>
                <a:gd name="T22" fmla="*/ 105 w 1390"/>
                <a:gd name="T23" fmla="*/ 1023 h 1337"/>
                <a:gd name="T24" fmla="*/ 182 w 1390"/>
                <a:gd name="T25" fmla="*/ 1120 h 1337"/>
                <a:gd name="T26" fmla="*/ 274 w 1390"/>
                <a:gd name="T27" fmla="*/ 1200 h 1337"/>
                <a:gd name="T28" fmla="*/ 381 w 1390"/>
                <a:gd name="T29" fmla="*/ 1266 h 1337"/>
                <a:gd name="T30" fmla="*/ 500 w 1390"/>
                <a:gd name="T31" fmla="*/ 1311 h 1337"/>
                <a:gd name="T32" fmla="*/ 629 w 1390"/>
                <a:gd name="T33" fmla="*/ 1334 h 1337"/>
                <a:gd name="T34" fmla="*/ 762 w 1390"/>
                <a:gd name="T35" fmla="*/ 1334 h 1337"/>
                <a:gd name="T36" fmla="*/ 890 w 1390"/>
                <a:gd name="T37" fmla="*/ 1311 h 1337"/>
                <a:gd name="T38" fmla="*/ 1008 w 1390"/>
                <a:gd name="T39" fmla="*/ 1266 h 1337"/>
                <a:gd name="T40" fmla="*/ 1115 w 1390"/>
                <a:gd name="T41" fmla="*/ 1200 h 1337"/>
                <a:gd name="T42" fmla="*/ 1208 w 1390"/>
                <a:gd name="T43" fmla="*/ 1120 h 1337"/>
                <a:gd name="T44" fmla="*/ 1284 w 1390"/>
                <a:gd name="T45" fmla="*/ 1023 h 1337"/>
                <a:gd name="T46" fmla="*/ 1342 w 1390"/>
                <a:gd name="T47" fmla="*/ 915 h 1337"/>
                <a:gd name="T48" fmla="*/ 1377 w 1390"/>
                <a:gd name="T49" fmla="*/ 795 h 1337"/>
                <a:gd name="T50" fmla="*/ 1390 w 1390"/>
                <a:gd name="T51" fmla="*/ 669 h 1337"/>
                <a:gd name="T52" fmla="*/ 1377 w 1390"/>
                <a:gd name="T53" fmla="*/ 542 h 1337"/>
                <a:gd name="T54" fmla="*/ 1342 w 1390"/>
                <a:gd name="T55" fmla="*/ 423 h 1337"/>
                <a:gd name="T56" fmla="*/ 1284 w 1390"/>
                <a:gd name="T57" fmla="*/ 314 h 1337"/>
                <a:gd name="T58" fmla="*/ 1208 w 1390"/>
                <a:gd name="T59" fmla="*/ 217 h 1337"/>
                <a:gd name="T60" fmla="*/ 1115 w 1390"/>
                <a:gd name="T61" fmla="*/ 136 h 1337"/>
                <a:gd name="T62" fmla="*/ 1008 w 1390"/>
                <a:gd name="T63" fmla="*/ 71 h 1337"/>
                <a:gd name="T64" fmla="*/ 890 w 1390"/>
                <a:gd name="T65" fmla="*/ 26 h 1337"/>
                <a:gd name="T66" fmla="*/ 762 w 1390"/>
                <a:gd name="T67" fmla="*/ 3 h 1337"/>
                <a:gd name="T68" fmla="*/ 983 w 1390"/>
                <a:gd name="T69" fmla="*/ 852 h 1337"/>
                <a:gd name="T70" fmla="*/ 1003 w 1390"/>
                <a:gd name="T71" fmla="*/ 885 h 1337"/>
                <a:gd name="T72" fmla="*/ 1003 w 1390"/>
                <a:gd name="T73" fmla="*/ 922 h 1337"/>
                <a:gd name="T74" fmla="*/ 984 w 1390"/>
                <a:gd name="T75" fmla="*/ 956 h 1337"/>
                <a:gd name="T76" fmla="*/ 950 w 1390"/>
                <a:gd name="T77" fmla="*/ 975 h 1337"/>
                <a:gd name="T78" fmla="*/ 913 w 1390"/>
                <a:gd name="T79" fmla="*/ 975 h 1337"/>
                <a:gd name="T80" fmla="*/ 879 w 1390"/>
                <a:gd name="T81" fmla="*/ 956 h 1337"/>
                <a:gd name="T82" fmla="*/ 510 w 1390"/>
                <a:gd name="T83" fmla="*/ 956 h 1337"/>
                <a:gd name="T84" fmla="*/ 478 w 1390"/>
                <a:gd name="T85" fmla="*/ 975 h 1337"/>
                <a:gd name="T86" fmla="*/ 440 w 1390"/>
                <a:gd name="T87" fmla="*/ 975 h 1337"/>
                <a:gd name="T88" fmla="*/ 406 w 1390"/>
                <a:gd name="T89" fmla="*/ 956 h 1337"/>
                <a:gd name="T90" fmla="*/ 387 w 1390"/>
                <a:gd name="T91" fmla="*/ 922 h 1337"/>
                <a:gd name="T92" fmla="*/ 387 w 1390"/>
                <a:gd name="T93" fmla="*/ 885 h 1337"/>
                <a:gd name="T94" fmla="*/ 406 w 1390"/>
                <a:gd name="T95" fmla="*/ 852 h 1337"/>
                <a:gd name="T96" fmla="*/ 406 w 1390"/>
                <a:gd name="T97" fmla="*/ 485 h 1337"/>
                <a:gd name="T98" fmla="*/ 387 w 1390"/>
                <a:gd name="T99" fmla="*/ 453 h 1337"/>
                <a:gd name="T100" fmla="*/ 387 w 1390"/>
                <a:gd name="T101" fmla="*/ 415 h 1337"/>
                <a:gd name="T102" fmla="*/ 406 w 1390"/>
                <a:gd name="T103" fmla="*/ 381 h 1337"/>
                <a:gd name="T104" fmla="*/ 440 w 1390"/>
                <a:gd name="T105" fmla="*/ 362 h 1337"/>
                <a:gd name="T106" fmla="*/ 477 w 1390"/>
                <a:gd name="T107" fmla="*/ 362 h 1337"/>
                <a:gd name="T108" fmla="*/ 510 w 1390"/>
                <a:gd name="T109" fmla="*/ 381 h 1337"/>
                <a:gd name="T110" fmla="*/ 879 w 1390"/>
                <a:gd name="T111" fmla="*/ 381 h 1337"/>
                <a:gd name="T112" fmla="*/ 913 w 1390"/>
                <a:gd name="T113" fmla="*/ 362 h 1337"/>
                <a:gd name="T114" fmla="*/ 950 w 1390"/>
                <a:gd name="T115" fmla="*/ 362 h 1337"/>
                <a:gd name="T116" fmla="*/ 983 w 1390"/>
                <a:gd name="T117" fmla="*/ 381 h 1337"/>
                <a:gd name="T118" fmla="*/ 1003 w 1390"/>
                <a:gd name="T119" fmla="*/ 415 h 1337"/>
                <a:gd name="T120" fmla="*/ 1002 w 1390"/>
                <a:gd name="T121" fmla="*/ 453 h 1337"/>
                <a:gd name="T122" fmla="*/ 983 w 1390"/>
                <a:gd name="T123" fmla="*/ 485 h 1337"/>
                <a:gd name="T124" fmla="*/ 983 w 1390"/>
                <a:gd name="T125" fmla="*/ 852 h 1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90" h="1337">
                  <a:moveTo>
                    <a:pt x="695" y="0"/>
                  </a:moveTo>
                  <a:lnTo>
                    <a:pt x="629" y="3"/>
                  </a:lnTo>
                  <a:lnTo>
                    <a:pt x="564" y="11"/>
                  </a:lnTo>
                  <a:lnTo>
                    <a:pt x="500" y="26"/>
                  </a:lnTo>
                  <a:lnTo>
                    <a:pt x="440" y="47"/>
                  </a:lnTo>
                  <a:lnTo>
                    <a:pt x="381" y="71"/>
                  </a:lnTo>
                  <a:lnTo>
                    <a:pt x="327" y="102"/>
                  </a:lnTo>
                  <a:lnTo>
                    <a:pt x="274" y="136"/>
                  </a:lnTo>
                  <a:lnTo>
                    <a:pt x="226" y="175"/>
                  </a:lnTo>
                  <a:lnTo>
                    <a:pt x="182" y="217"/>
                  </a:lnTo>
                  <a:lnTo>
                    <a:pt x="142" y="265"/>
                  </a:lnTo>
                  <a:lnTo>
                    <a:pt x="105" y="314"/>
                  </a:lnTo>
                  <a:lnTo>
                    <a:pt x="75" y="366"/>
                  </a:lnTo>
                  <a:lnTo>
                    <a:pt x="49" y="422"/>
                  </a:lnTo>
                  <a:lnTo>
                    <a:pt x="28" y="481"/>
                  </a:lnTo>
                  <a:lnTo>
                    <a:pt x="12" y="542"/>
                  </a:lnTo>
                  <a:lnTo>
                    <a:pt x="3" y="604"/>
                  </a:lnTo>
                  <a:lnTo>
                    <a:pt x="0" y="668"/>
                  </a:lnTo>
                  <a:lnTo>
                    <a:pt x="3" y="733"/>
                  </a:lnTo>
                  <a:lnTo>
                    <a:pt x="12" y="795"/>
                  </a:lnTo>
                  <a:lnTo>
                    <a:pt x="28" y="856"/>
                  </a:lnTo>
                  <a:lnTo>
                    <a:pt x="49" y="915"/>
                  </a:lnTo>
                  <a:lnTo>
                    <a:pt x="75" y="970"/>
                  </a:lnTo>
                  <a:lnTo>
                    <a:pt x="105" y="1023"/>
                  </a:lnTo>
                  <a:lnTo>
                    <a:pt x="142" y="1073"/>
                  </a:lnTo>
                  <a:lnTo>
                    <a:pt x="182" y="1120"/>
                  </a:lnTo>
                  <a:lnTo>
                    <a:pt x="226" y="1162"/>
                  </a:lnTo>
                  <a:lnTo>
                    <a:pt x="274" y="1200"/>
                  </a:lnTo>
                  <a:lnTo>
                    <a:pt x="327" y="1235"/>
                  </a:lnTo>
                  <a:lnTo>
                    <a:pt x="381" y="1266"/>
                  </a:lnTo>
                  <a:lnTo>
                    <a:pt x="440" y="1291"/>
                  </a:lnTo>
                  <a:lnTo>
                    <a:pt x="500" y="1311"/>
                  </a:lnTo>
                  <a:lnTo>
                    <a:pt x="564" y="1325"/>
                  </a:lnTo>
                  <a:lnTo>
                    <a:pt x="629" y="1334"/>
                  </a:lnTo>
                  <a:lnTo>
                    <a:pt x="695" y="1337"/>
                  </a:lnTo>
                  <a:lnTo>
                    <a:pt x="762" y="1334"/>
                  </a:lnTo>
                  <a:lnTo>
                    <a:pt x="827" y="1325"/>
                  </a:lnTo>
                  <a:lnTo>
                    <a:pt x="890" y="1311"/>
                  </a:lnTo>
                  <a:lnTo>
                    <a:pt x="950" y="1291"/>
                  </a:lnTo>
                  <a:lnTo>
                    <a:pt x="1008" y="1266"/>
                  </a:lnTo>
                  <a:lnTo>
                    <a:pt x="1064" y="1235"/>
                  </a:lnTo>
                  <a:lnTo>
                    <a:pt x="1115" y="1200"/>
                  </a:lnTo>
                  <a:lnTo>
                    <a:pt x="1163" y="1162"/>
                  </a:lnTo>
                  <a:lnTo>
                    <a:pt x="1208" y="1120"/>
                  </a:lnTo>
                  <a:lnTo>
                    <a:pt x="1248" y="1073"/>
                  </a:lnTo>
                  <a:lnTo>
                    <a:pt x="1284" y="1023"/>
                  </a:lnTo>
                  <a:lnTo>
                    <a:pt x="1315" y="970"/>
                  </a:lnTo>
                  <a:lnTo>
                    <a:pt x="1342" y="915"/>
                  </a:lnTo>
                  <a:lnTo>
                    <a:pt x="1363" y="856"/>
                  </a:lnTo>
                  <a:lnTo>
                    <a:pt x="1377" y="795"/>
                  </a:lnTo>
                  <a:lnTo>
                    <a:pt x="1387" y="733"/>
                  </a:lnTo>
                  <a:lnTo>
                    <a:pt x="1390" y="669"/>
                  </a:lnTo>
                  <a:lnTo>
                    <a:pt x="1387" y="604"/>
                  </a:lnTo>
                  <a:lnTo>
                    <a:pt x="1377" y="542"/>
                  </a:lnTo>
                  <a:lnTo>
                    <a:pt x="1363" y="481"/>
                  </a:lnTo>
                  <a:lnTo>
                    <a:pt x="1342" y="423"/>
                  </a:lnTo>
                  <a:lnTo>
                    <a:pt x="1315" y="366"/>
                  </a:lnTo>
                  <a:lnTo>
                    <a:pt x="1284" y="314"/>
                  </a:lnTo>
                  <a:lnTo>
                    <a:pt x="1248" y="265"/>
                  </a:lnTo>
                  <a:lnTo>
                    <a:pt x="1208" y="217"/>
                  </a:lnTo>
                  <a:lnTo>
                    <a:pt x="1163" y="175"/>
                  </a:lnTo>
                  <a:lnTo>
                    <a:pt x="1115" y="136"/>
                  </a:lnTo>
                  <a:lnTo>
                    <a:pt x="1064" y="102"/>
                  </a:lnTo>
                  <a:lnTo>
                    <a:pt x="1008" y="71"/>
                  </a:lnTo>
                  <a:lnTo>
                    <a:pt x="950" y="47"/>
                  </a:lnTo>
                  <a:lnTo>
                    <a:pt x="890" y="26"/>
                  </a:lnTo>
                  <a:lnTo>
                    <a:pt x="827" y="11"/>
                  </a:lnTo>
                  <a:lnTo>
                    <a:pt x="762" y="3"/>
                  </a:lnTo>
                  <a:lnTo>
                    <a:pt x="695" y="0"/>
                  </a:lnTo>
                  <a:close/>
                  <a:moveTo>
                    <a:pt x="983" y="852"/>
                  </a:moveTo>
                  <a:lnTo>
                    <a:pt x="996" y="867"/>
                  </a:lnTo>
                  <a:lnTo>
                    <a:pt x="1003" y="885"/>
                  </a:lnTo>
                  <a:lnTo>
                    <a:pt x="1005" y="903"/>
                  </a:lnTo>
                  <a:lnTo>
                    <a:pt x="1003" y="922"/>
                  </a:lnTo>
                  <a:lnTo>
                    <a:pt x="996" y="940"/>
                  </a:lnTo>
                  <a:lnTo>
                    <a:pt x="984" y="956"/>
                  </a:lnTo>
                  <a:lnTo>
                    <a:pt x="968" y="967"/>
                  </a:lnTo>
                  <a:lnTo>
                    <a:pt x="950" y="975"/>
                  </a:lnTo>
                  <a:lnTo>
                    <a:pt x="932" y="978"/>
                  </a:lnTo>
                  <a:lnTo>
                    <a:pt x="913" y="975"/>
                  </a:lnTo>
                  <a:lnTo>
                    <a:pt x="895" y="968"/>
                  </a:lnTo>
                  <a:lnTo>
                    <a:pt x="879" y="956"/>
                  </a:lnTo>
                  <a:lnTo>
                    <a:pt x="695" y="772"/>
                  </a:lnTo>
                  <a:lnTo>
                    <a:pt x="510" y="956"/>
                  </a:lnTo>
                  <a:lnTo>
                    <a:pt x="494" y="968"/>
                  </a:lnTo>
                  <a:lnTo>
                    <a:pt x="478" y="975"/>
                  </a:lnTo>
                  <a:lnTo>
                    <a:pt x="459" y="978"/>
                  </a:lnTo>
                  <a:lnTo>
                    <a:pt x="440" y="975"/>
                  </a:lnTo>
                  <a:lnTo>
                    <a:pt x="422" y="967"/>
                  </a:lnTo>
                  <a:lnTo>
                    <a:pt x="406" y="956"/>
                  </a:lnTo>
                  <a:lnTo>
                    <a:pt x="395" y="940"/>
                  </a:lnTo>
                  <a:lnTo>
                    <a:pt x="387" y="922"/>
                  </a:lnTo>
                  <a:lnTo>
                    <a:pt x="385" y="903"/>
                  </a:lnTo>
                  <a:lnTo>
                    <a:pt x="387" y="885"/>
                  </a:lnTo>
                  <a:lnTo>
                    <a:pt x="395" y="867"/>
                  </a:lnTo>
                  <a:lnTo>
                    <a:pt x="406" y="852"/>
                  </a:lnTo>
                  <a:lnTo>
                    <a:pt x="591" y="669"/>
                  </a:lnTo>
                  <a:lnTo>
                    <a:pt x="406" y="485"/>
                  </a:lnTo>
                  <a:lnTo>
                    <a:pt x="395" y="469"/>
                  </a:lnTo>
                  <a:lnTo>
                    <a:pt x="387" y="453"/>
                  </a:lnTo>
                  <a:lnTo>
                    <a:pt x="385" y="434"/>
                  </a:lnTo>
                  <a:lnTo>
                    <a:pt x="387" y="415"/>
                  </a:lnTo>
                  <a:lnTo>
                    <a:pt x="395" y="397"/>
                  </a:lnTo>
                  <a:lnTo>
                    <a:pt x="406" y="381"/>
                  </a:lnTo>
                  <a:lnTo>
                    <a:pt x="422" y="370"/>
                  </a:lnTo>
                  <a:lnTo>
                    <a:pt x="440" y="362"/>
                  </a:lnTo>
                  <a:lnTo>
                    <a:pt x="459" y="360"/>
                  </a:lnTo>
                  <a:lnTo>
                    <a:pt x="477" y="362"/>
                  </a:lnTo>
                  <a:lnTo>
                    <a:pt x="494" y="370"/>
                  </a:lnTo>
                  <a:lnTo>
                    <a:pt x="510" y="381"/>
                  </a:lnTo>
                  <a:lnTo>
                    <a:pt x="695" y="565"/>
                  </a:lnTo>
                  <a:lnTo>
                    <a:pt x="879" y="381"/>
                  </a:lnTo>
                  <a:lnTo>
                    <a:pt x="895" y="370"/>
                  </a:lnTo>
                  <a:lnTo>
                    <a:pt x="913" y="362"/>
                  </a:lnTo>
                  <a:lnTo>
                    <a:pt x="932" y="360"/>
                  </a:lnTo>
                  <a:lnTo>
                    <a:pt x="950" y="362"/>
                  </a:lnTo>
                  <a:lnTo>
                    <a:pt x="967" y="370"/>
                  </a:lnTo>
                  <a:lnTo>
                    <a:pt x="983" y="381"/>
                  </a:lnTo>
                  <a:lnTo>
                    <a:pt x="996" y="397"/>
                  </a:lnTo>
                  <a:lnTo>
                    <a:pt x="1003" y="415"/>
                  </a:lnTo>
                  <a:lnTo>
                    <a:pt x="1005" y="434"/>
                  </a:lnTo>
                  <a:lnTo>
                    <a:pt x="1002" y="453"/>
                  </a:lnTo>
                  <a:lnTo>
                    <a:pt x="996" y="469"/>
                  </a:lnTo>
                  <a:lnTo>
                    <a:pt x="983" y="485"/>
                  </a:lnTo>
                  <a:lnTo>
                    <a:pt x="800" y="669"/>
                  </a:lnTo>
                  <a:lnTo>
                    <a:pt x="983" y="85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2"/>
            <p:cNvSpPr>
              <a:spLocks noEditPoints="1"/>
            </p:cNvSpPr>
            <p:nvPr/>
          </p:nvSpPr>
          <p:spPr bwMode="auto">
            <a:xfrm>
              <a:off x="519" y="2604"/>
              <a:ext cx="240" cy="310"/>
            </a:xfrm>
            <a:custGeom>
              <a:avLst/>
              <a:gdLst>
                <a:gd name="T0" fmla="*/ 1929 w 2401"/>
                <a:gd name="T1" fmla="*/ 2655 h 3104"/>
                <a:gd name="T2" fmla="*/ 1988 w 2401"/>
                <a:gd name="T3" fmla="*/ 2464 h 3104"/>
                <a:gd name="T4" fmla="*/ 2091 w 2401"/>
                <a:gd name="T5" fmla="*/ 2297 h 3104"/>
                <a:gd name="T6" fmla="*/ 2230 w 2401"/>
                <a:gd name="T7" fmla="*/ 2158 h 3104"/>
                <a:gd name="T8" fmla="*/ 2401 w 2401"/>
                <a:gd name="T9" fmla="*/ 2055 h 3104"/>
                <a:gd name="T10" fmla="*/ 2392 w 2401"/>
                <a:gd name="T11" fmla="*/ 2 h 3104"/>
                <a:gd name="T12" fmla="*/ 8 w 2401"/>
                <a:gd name="T13" fmla="*/ 2 h 3104"/>
                <a:gd name="T14" fmla="*/ 0 w 2401"/>
                <a:gd name="T15" fmla="*/ 3086 h 3104"/>
                <a:gd name="T16" fmla="*/ 18 w 2401"/>
                <a:gd name="T17" fmla="*/ 3104 h 3104"/>
                <a:gd name="T18" fmla="*/ 1941 w 2401"/>
                <a:gd name="T19" fmla="*/ 2984 h 3104"/>
                <a:gd name="T20" fmla="*/ 1917 w 2401"/>
                <a:gd name="T21" fmla="*/ 2792 h 3104"/>
                <a:gd name="T22" fmla="*/ 1877 w 2401"/>
                <a:gd name="T23" fmla="*/ 510 h 3104"/>
                <a:gd name="T24" fmla="*/ 1921 w 2401"/>
                <a:gd name="T25" fmla="*/ 545 h 3104"/>
                <a:gd name="T26" fmla="*/ 1928 w 2401"/>
                <a:gd name="T27" fmla="*/ 602 h 3104"/>
                <a:gd name="T28" fmla="*/ 1894 w 2401"/>
                <a:gd name="T29" fmla="*/ 646 h 3104"/>
                <a:gd name="T30" fmla="*/ 543 w 2401"/>
                <a:gd name="T31" fmla="*/ 655 h 3104"/>
                <a:gd name="T32" fmla="*/ 492 w 2401"/>
                <a:gd name="T33" fmla="*/ 634 h 3104"/>
                <a:gd name="T34" fmla="*/ 470 w 2401"/>
                <a:gd name="T35" fmla="*/ 582 h 3104"/>
                <a:gd name="T36" fmla="*/ 492 w 2401"/>
                <a:gd name="T37" fmla="*/ 530 h 3104"/>
                <a:gd name="T38" fmla="*/ 543 w 2401"/>
                <a:gd name="T39" fmla="*/ 508 h 3104"/>
                <a:gd name="T40" fmla="*/ 1877 w 2401"/>
                <a:gd name="T41" fmla="*/ 996 h 3104"/>
                <a:gd name="T42" fmla="*/ 1921 w 2401"/>
                <a:gd name="T43" fmla="*/ 1029 h 3104"/>
                <a:gd name="T44" fmla="*/ 1928 w 2401"/>
                <a:gd name="T45" fmla="*/ 1086 h 3104"/>
                <a:gd name="T46" fmla="*/ 1894 w 2401"/>
                <a:gd name="T47" fmla="*/ 1130 h 3104"/>
                <a:gd name="T48" fmla="*/ 543 w 2401"/>
                <a:gd name="T49" fmla="*/ 1141 h 3104"/>
                <a:gd name="T50" fmla="*/ 492 w 2401"/>
                <a:gd name="T51" fmla="*/ 1119 h 3104"/>
                <a:gd name="T52" fmla="*/ 470 w 2401"/>
                <a:gd name="T53" fmla="*/ 1067 h 3104"/>
                <a:gd name="T54" fmla="*/ 492 w 2401"/>
                <a:gd name="T55" fmla="*/ 1015 h 3104"/>
                <a:gd name="T56" fmla="*/ 543 w 2401"/>
                <a:gd name="T57" fmla="*/ 994 h 3104"/>
                <a:gd name="T58" fmla="*/ 1877 w 2401"/>
                <a:gd name="T59" fmla="*/ 1481 h 3104"/>
                <a:gd name="T60" fmla="*/ 1921 w 2401"/>
                <a:gd name="T61" fmla="*/ 1515 h 3104"/>
                <a:gd name="T62" fmla="*/ 1928 w 2401"/>
                <a:gd name="T63" fmla="*/ 1571 h 3104"/>
                <a:gd name="T64" fmla="*/ 1894 w 2401"/>
                <a:gd name="T65" fmla="*/ 1616 h 3104"/>
                <a:gd name="T66" fmla="*/ 543 w 2401"/>
                <a:gd name="T67" fmla="*/ 1626 h 3104"/>
                <a:gd name="T68" fmla="*/ 492 w 2401"/>
                <a:gd name="T69" fmla="*/ 1604 h 3104"/>
                <a:gd name="T70" fmla="*/ 470 w 2401"/>
                <a:gd name="T71" fmla="*/ 1551 h 3104"/>
                <a:gd name="T72" fmla="*/ 492 w 2401"/>
                <a:gd name="T73" fmla="*/ 1500 h 3104"/>
                <a:gd name="T74" fmla="*/ 543 w 2401"/>
                <a:gd name="T75" fmla="*/ 1478 h 3104"/>
                <a:gd name="T76" fmla="*/ 1877 w 2401"/>
                <a:gd name="T77" fmla="*/ 1966 h 3104"/>
                <a:gd name="T78" fmla="*/ 1921 w 2401"/>
                <a:gd name="T79" fmla="*/ 2000 h 3104"/>
                <a:gd name="T80" fmla="*/ 1928 w 2401"/>
                <a:gd name="T81" fmla="*/ 2057 h 3104"/>
                <a:gd name="T82" fmla="*/ 1894 w 2401"/>
                <a:gd name="T83" fmla="*/ 2101 h 3104"/>
                <a:gd name="T84" fmla="*/ 543 w 2401"/>
                <a:gd name="T85" fmla="*/ 2110 h 3104"/>
                <a:gd name="T86" fmla="*/ 492 w 2401"/>
                <a:gd name="T87" fmla="*/ 2089 h 3104"/>
                <a:gd name="T88" fmla="*/ 470 w 2401"/>
                <a:gd name="T89" fmla="*/ 2037 h 3104"/>
                <a:gd name="T90" fmla="*/ 492 w 2401"/>
                <a:gd name="T91" fmla="*/ 1985 h 3104"/>
                <a:gd name="T92" fmla="*/ 543 w 2401"/>
                <a:gd name="T93" fmla="*/ 1963 h 3104"/>
                <a:gd name="T94" fmla="*/ 524 w 2401"/>
                <a:gd name="T95" fmla="*/ 2592 h 3104"/>
                <a:gd name="T96" fmla="*/ 480 w 2401"/>
                <a:gd name="T97" fmla="*/ 2559 h 3104"/>
                <a:gd name="T98" fmla="*/ 473 w 2401"/>
                <a:gd name="T99" fmla="*/ 2502 h 3104"/>
                <a:gd name="T100" fmla="*/ 507 w 2401"/>
                <a:gd name="T101" fmla="*/ 2458 h 3104"/>
                <a:gd name="T102" fmla="*/ 1857 w 2401"/>
                <a:gd name="T103" fmla="*/ 2448 h 3104"/>
                <a:gd name="T104" fmla="*/ 1909 w 2401"/>
                <a:gd name="T105" fmla="*/ 2469 h 3104"/>
                <a:gd name="T106" fmla="*/ 1930 w 2401"/>
                <a:gd name="T107" fmla="*/ 2522 h 3104"/>
                <a:gd name="T108" fmla="*/ 1909 w 2401"/>
                <a:gd name="T109" fmla="*/ 2573 h 3104"/>
                <a:gd name="T110" fmla="*/ 1857 w 2401"/>
                <a:gd name="T111" fmla="*/ 2596 h 3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01" h="3104">
                  <a:moveTo>
                    <a:pt x="1917" y="2792"/>
                  </a:moveTo>
                  <a:lnTo>
                    <a:pt x="1920" y="2723"/>
                  </a:lnTo>
                  <a:lnTo>
                    <a:pt x="1929" y="2655"/>
                  </a:lnTo>
                  <a:lnTo>
                    <a:pt x="1943" y="2589"/>
                  </a:lnTo>
                  <a:lnTo>
                    <a:pt x="1963" y="2526"/>
                  </a:lnTo>
                  <a:lnTo>
                    <a:pt x="1988" y="2464"/>
                  </a:lnTo>
                  <a:lnTo>
                    <a:pt x="2017" y="2405"/>
                  </a:lnTo>
                  <a:lnTo>
                    <a:pt x="2052" y="2350"/>
                  </a:lnTo>
                  <a:lnTo>
                    <a:pt x="2091" y="2297"/>
                  </a:lnTo>
                  <a:lnTo>
                    <a:pt x="2134" y="2247"/>
                  </a:lnTo>
                  <a:lnTo>
                    <a:pt x="2180" y="2201"/>
                  </a:lnTo>
                  <a:lnTo>
                    <a:pt x="2230" y="2158"/>
                  </a:lnTo>
                  <a:lnTo>
                    <a:pt x="2284" y="2119"/>
                  </a:lnTo>
                  <a:lnTo>
                    <a:pt x="2341" y="2084"/>
                  </a:lnTo>
                  <a:lnTo>
                    <a:pt x="2401" y="2055"/>
                  </a:lnTo>
                  <a:lnTo>
                    <a:pt x="2401" y="18"/>
                  </a:lnTo>
                  <a:lnTo>
                    <a:pt x="2398" y="8"/>
                  </a:lnTo>
                  <a:lnTo>
                    <a:pt x="2392" y="2"/>
                  </a:lnTo>
                  <a:lnTo>
                    <a:pt x="2382" y="0"/>
                  </a:lnTo>
                  <a:lnTo>
                    <a:pt x="18" y="0"/>
                  </a:lnTo>
                  <a:lnTo>
                    <a:pt x="8" y="2"/>
                  </a:lnTo>
                  <a:lnTo>
                    <a:pt x="2" y="8"/>
                  </a:lnTo>
                  <a:lnTo>
                    <a:pt x="0" y="18"/>
                  </a:lnTo>
                  <a:lnTo>
                    <a:pt x="0" y="3086"/>
                  </a:lnTo>
                  <a:lnTo>
                    <a:pt x="2" y="3096"/>
                  </a:lnTo>
                  <a:lnTo>
                    <a:pt x="8" y="3102"/>
                  </a:lnTo>
                  <a:lnTo>
                    <a:pt x="18" y="3104"/>
                  </a:lnTo>
                  <a:lnTo>
                    <a:pt x="1982" y="3104"/>
                  </a:lnTo>
                  <a:lnTo>
                    <a:pt x="1959" y="3045"/>
                  </a:lnTo>
                  <a:lnTo>
                    <a:pt x="1941" y="2984"/>
                  </a:lnTo>
                  <a:lnTo>
                    <a:pt x="1928" y="2922"/>
                  </a:lnTo>
                  <a:lnTo>
                    <a:pt x="1920" y="2857"/>
                  </a:lnTo>
                  <a:lnTo>
                    <a:pt x="1917" y="2792"/>
                  </a:lnTo>
                  <a:close/>
                  <a:moveTo>
                    <a:pt x="543" y="508"/>
                  </a:moveTo>
                  <a:lnTo>
                    <a:pt x="1857" y="508"/>
                  </a:lnTo>
                  <a:lnTo>
                    <a:pt x="1877" y="510"/>
                  </a:lnTo>
                  <a:lnTo>
                    <a:pt x="1894" y="519"/>
                  </a:lnTo>
                  <a:lnTo>
                    <a:pt x="1909" y="529"/>
                  </a:lnTo>
                  <a:lnTo>
                    <a:pt x="1921" y="545"/>
                  </a:lnTo>
                  <a:lnTo>
                    <a:pt x="1928" y="562"/>
                  </a:lnTo>
                  <a:lnTo>
                    <a:pt x="1930" y="582"/>
                  </a:lnTo>
                  <a:lnTo>
                    <a:pt x="1928" y="602"/>
                  </a:lnTo>
                  <a:lnTo>
                    <a:pt x="1921" y="619"/>
                  </a:lnTo>
                  <a:lnTo>
                    <a:pt x="1909" y="634"/>
                  </a:lnTo>
                  <a:lnTo>
                    <a:pt x="1894" y="646"/>
                  </a:lnTo>
                  <a:lnTo>
                    <a:pt x="1877" y="653"/>
                  </a:lnTo>
                  <a:lnTo>
                    <a:pt x="1857" y="655"/>
                  </a:lnTo>
                  <a:lnTo>
                    <a:pt x="543" y="655"/>
                  </a:lnTo>
                  <a:lnTo>
                    <a:pt x="524" y="653"/>
                  </a:lnTo>
                  <a:lnTo>
                    <a:pt x="507" y="646"/>
                  </a:lnTo>
                  <a:lnTo>
                    <a:pt x="492" y="634"/>
                  </a:lnTo>
                  <a:lnTo>
                    <a:pt x="480" y="619"/>
                  </a:lnTo>
                  <a:lnTo>
                    <a:pt x="473" y="602"/>
                  </a:lnTo>
                  <a:lnTo>
                    <a:pt x="470" y="582"/>
                  </a:lnTo>
                  <a:lnTo>
                    <a:pt x="473" y="562"/>
                  </a:lnTo>
                  <a:lnTo>
                    <a:pt x="480" y="545"/>
                  </a:lnTo>
                  <a:lnTo>
                    <a:pt x="492" y="530"/>
                  </a:lnTo>
                  <a:lnTo>
                    <a:pt x="507" y="519"/>
                  </a:lnTo>
                  <a:lnTo>
                    <a:pt x="524" y="512"/>
                  </a:lnTo>
                  <a:lnTo>
                    <a:pt x="543" y="508"/>
                  </a:lnTo>
                  <a:close/>
                  <a:moveTo>
                    <a:pt x="543" y="994"/>
                  </a:moveTo>
                  <a:lnTo>
                    <a:pt x="1857" y="994"/>
                  </a:lnTo>
                  <a:lnTo>
                    <a:pt x="1877" y="996"/>
                  </a:lnTo>
                  <a:lnTo>
                    <a:pt x="1894" y="1003"/>
                  </a:lnTo>
                  <a:lnTo>
                    <a:pt x="1909" y="1015"/>
                  </a:lnTo>
                  <a:lnTo>
                    <a:pt x="1921" y="1029"/>
                  </a:lnTo>
                  <a:lnTo>
                    <a:pt x="1928" y="1047"/>
                  </a:lnTo>
                  <a:lnTo>
                    <a:pt x="1930" y="1067"/>
                  </a:lnTo>
                  <a:lnTo>
                    <a:pt x="1928" y="1086"/>
                  </a:lnTo>
                  <a:lnTo>
                    <a:pt x="1921" y="1104"/>
                  </a:lnTo>
                  <a:lnTo>
                    <a:pt x="1909" y="1119"/>
                  </a:lnTo>
                  <a:lnTo>
                    <a:pt x="1894" y="1130"/>
                  </a:lnTo>
                  <a:lnTo>
                    <a:pt x="1877" y="1138"/>
                  </a:lnTo>
                  <a:lnTo>
                    <a:pt x="1857" y="1141"/>
                  </a:lnTo>
                  <a:lnTo>
                    <a:pt x="543" y="1141"/>
                  </a:lnTo>
                  <a:lnTo>
                    <a:pt x="524" y="1138"/>
                  </a:lnTo>
                  <a:lnTo>
                    <a:pt x="507" y="1130"/>
                  </a:lnTo>
                  <a:lnTo>
                    <a:pt x="492" y="1119"/>
                  </a:lnTo>
                  <a:lnTo>
                    <a:pt x="480" y="1104"/>
                  </a:lnTo>
                  <a:lnTo>
                    <a:pt x="473" y="1086"/>
                  </a:lnTo>
                  <a:lnTo>
                    <a:pt x="470" y="1067"/>
                  </a:lnTo>
                  <a:lnTo>
                    <a:pt x="473" y="1047"/>
                  </a:lnTo>
                  <a:lnTo>
                    <a:pt x="480" y="1029"/>
                  </a:lnTo>
                  <a:lnTo>
                    <a:pt x="492" y="1015"/>
                  </a:lnTo>
                  <a:lnTo>
                    <a:pt x="507" y="1003"/>
                  </a:lnTo>
                  <a:lnTo>
                    <a:pt x="524" y="996"/>
                  </a:lnTo>
                  <a:lnTo>
                    <a:pt x="543" y="994"/>
                  </a:lnTo>
                  <a:close/>
                  <a:moveTo>
                    <a:pt x="543" y="1478"/>
                  </a:moveTo>
                  <a:lnTo>
                    <a:pt x="1857" y="1478"/>
                  </a:lnTo>
                  <a:lnTo>
                    <a:pt x="1877" y="1481"/>
                  </a:lnTo>
                  <a:lnTo>
                    <a:pt x="1894" y="1488"/>
                  </a:lnTo>
                  <a:lnTo>
                    <a:pt x="1909" y="1500"/>
                  </a:lnTo>
                  <a:lnTo>
                    <a:pt x="1921" y="1515"/>
                  </a:lnTo>
                  <a:lnTo>
                    <a:pt x="1928" y="1533"/>
                  </a:lnTo>
                  <a:lnTo>
                    <a:pt x="1930" y="1551"/>
                  </a:lnTo>
                  <a:lnTo>
                    <a:pt x="1928" y="1571"/>
                  </a:lnTo>
                  <a:lnTo>
                    <a:pt x="1921" y="1589"/>
                  </a:lnTo>
                  <a:lnTo>
                    <a:pt x="1909" y="1604"/>
                  </a:lnTo>
                  <a:lnTo>
                    <a:pt x="1894" y="1616"/>
                  </a:lnTo>
                  <a:lnTo>
                    <a:pt x="1877" y="1623"/>
                  </a:lnTo>
                  <a:lnTo>
                    <a:pt x="1857" y="1626"/>
                  </a:lnTo>
                  <a:lnTo>
                    <a:pt x="543" y="1626"/>
                  </a:lnTo>
                  <a:lnTo>
                    <a:pt x="524" y="1623"/>
                  </a:lnTo>
                  <a:lnTo>
                    <a:pt x="507" y="1616"/>
                  </a:lnTo>
                  <a:lnTo>
                    <a:pt x="492" y="1604"/>
                  </a:lnTo>
                  <a:lnTo>
                    <a:pt x="480" y="1589"/>
                  </a:lnTo>
                  <a:lnTo>
                    <a:pt x="473" y="1571"/>
                  </a:lnTo>
                  <a:lnTo>
                    <a:pt x="470" y="1551"/>
                  </a:lnTo>
                  <a:lnTo>
                    <a:pt x="473" y="1533"/>
                  </a:lnTo>
                  <a:lnTo>
                    <a:pt x="480" y="1515"/>
                  </a:lnTo>
                  <a:lnTo>
                    <a:pt x="492" y="1500"/>
                  </a:lnTo>
                  <a:lnTo>
                    <a:pt x="507" y="1488"/>
                  </a:lnTo>
                  <a:lnTo>
                    <a:pt x="524" y="1481"/>
                  </a:lnTo>
                  <a:lnTo>
                    <a:pt x="543" y="1478"/>
                  </a:lnTo>
                  <a:close/>
                  <a:moveTo>
                    <a:pt x="543" y="1963"/>
                  </a:moveTo>
                  <a:lnTo>
                    <a:pt x="1857" y="1963"/>
                  </a:lnTo>
                  <a:lnTo>
                    <a:pt x="1877" y="1966"/>
                  </a:lnTo>
                  <a:lnTo>
                    <a:pt x="1894" y="1974"/>
                  </a:lnTo>
                  <a:lnTo>
                    <a:pt x="1909" y="1985"/>
                  </a:lnTo>
                  <a:lnTo>
                    <a:pt x="1921" y="2000"/>
                  </a:lnTo>
                  <a:lnTo>
                    <a:pt x="1928" y="2017"/>
                  </a:lnTo>
                  <a:lnTo>
                    <a:pt x="1930" y="2037"/>
                  </a:lnTo>
                  <a:lnTo>
                    <a:pt x="1928" y="2057"/>
                  </a:lnTo>
                  <a:lnTo>
                    <a:pt x="1921" y="2073"/>
                  </a:lnTo>
                  <a:lnTo>
                    <a:pt x="1909" y="2089"/>
                  </a:lnTo>
                  <a:lnTo>
                    <a:pt x="1894" y="2101"/>
                  </a:lnTo>
                  <a:lnTo>
                    <a:pt x="1877" y="2108"/>
                  </a:lnTo>
                  <a:lnTo>
                    <a:pt x="1857" y="2110"/>
                  </a:lnTo>
                  <a:lnTo>
                    <a:pt x="543" y="2110"/>
                  </a:lnTo>
                  <a:lnTo>
                    <a:pt x="524" y="2108"/>
                  </a:lnTo>
                  <a:lnTo>
                    <a:pt x="507" y="2101"/>
                  </a:lnTo>
                  <a:lnTo>
                    <a:pt x="492" y="2089"/>
                  </a:lnTo>
                  <a:lnTo>
                    <a:pt x="480" y="2073"/>
                  </a:lnTo>
                  <a:lnTo>
                    <a:pt x="473" y="2057"/>
                  </a:lnTo>
                  <a:lnTo>
                    <a:pt x="470" y="2037"/>
                  </a:lnTo>
                  <a:lnTo>
                    <a:pt x="473" y="2017"/>
                  </a:lnTo>
                  <a:lnTo>
                    <a:pt x="480" y="2000"/>
                  </a:lnTo>
                  <a:lnTo>
                    <a:pt x="492" y="1985"/>
                  </a:lnTo>
                  <a:lnTo>
                    <a:pt x="507" y="1974"/>
                  </a:lnTo>
                  <a:lnTo>
                    <a:pt x="524" y="1966"/>
                  </a:lnTo>
                  <a:lnTo>
                    <a:pt x="543" y="1963"/>
                  </a:lnTo>
                  <a:close/>
                  <a:moveTo>
                    <a:pt x="1857" y="2596"/>
                  </a:moveTo>
                  <a:lnTo>
                    <a:pt x="543" y="2596"/>
                  </a:lnTo>
                  <a:lnTo>
                    <a:pt x="524" y="2592"/>
                  </a:lnTo>
                  <a:lnTo>
                    <a:pt x="507" y="2585"/>
                  </a:lnTo>
                  <a:lnTo>
                    <a:pt x="492" y="2573"/>
                  </a:lnTo>
                  <a:lnTo>
                    <a:pt x="480" y="2559"/>
                  </a:lnTo>
                  <a:lnTo>
                    <a:pt x="473" y="2542"/>
                  </a:lnTo>
                  <a:lnTo>
                    <a:pt x="470" y="2522"/>
                  </a:lnTo>
                  <a:lnTo>
                    <a:pt x="473" y="2502"/>
                  </a:lnTo>
                  <a:lnTo>
                    <a:pt x="480" y="2485"/>
                  </a:lnTo>
                  <a:lnTo>
                    <a:pt x="492" y="2469"/>
                  </a:lnTo>
                  <a:lnTo>
                    <a:pt x="507" y="2458"/>
                  </a:lnTo>
                  <a:lnTo>
                    <a:pt x="524" y="2451"/>
                  </a:lnTo>
                  <a:lnTo>
                    <a:pt x="543" y="2448"/>
                  </a:lnTo>
                  <a:lnTo>
                    <a:pt x="1857" y="2448"/>
                  </a:lnTo>
                  <a:lnTo>
                    <a:pt x="1877" y="2451"/>
                  </a:lnTo>
                  <a:lnTo>
                    <a:pt x="1894" y="2458"/>
                  </a:lnTo>
                  <a:lnTo>
                    <a:pt x="1909" y="2469"/>
                  </a:lnTo>
                  <a:lnTo>
                    <a:pt x="1921" y="2485"/>
                  </a:lnTo>
                  <a:lnTo>
                    <a:pt x="1928" y="2502"/>
                  </a:lnTo>
                  <a:lnTo>
                    <a:pt x="1930" y="2522"/>
                  </a:lnTo>
                  <a:lnTo>
                    <a:pt x="1928" y="2542"/>
                  </a:lnTo>
                  <a:lnTo>
                    <a:pt x="1921" y="2559"/>
                  </a:lnTo>
                  <a:lnTo>
                    <a:pt x="1909" y="2573"/>
                  </a:lnTo>
                  <a:lnTo>
                    <a:pt x="1894" y="2585"/>
                  </a:lnTo>
                  <a:lnTo>
                    <a:pt x="1877" y="2592"/>
                  </a:lnTo>
                  <a:lnTo>
                    <a:pt x="1857" y="259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06368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41977"/>
            <a:ext cx="10515600" cy="1648711"/>
          </a:xfrm>
        </p:spPr>
        <p:txBody>
          <a:bodyPr/>
          <a:lstStyle/>
          <a:p>
            <a:r>
              <a:rPr lang="en-US" dirty="0"/>
              <a:t>BENEFIT 3:   MARITAL DOCUMENTS SIGNED BY TRUSTE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12</a:t>
            </a:fld>
            <a:endParaRPr lang="en-US"/>
          </a:p>
        </p:txBody>
      </p:sp>
      <p:sp>
        <p:nvSpPr>
          <p:cNvPr id="5" name="Rectangle 4"/>
          <p:cNvSpPr/>
          <p:nvPr/>
        </p:nvSpPr>
        <p:spPr bwMode="gray">
          <a:xfrm>
            <a:off x="1237784" y="1476029"/>
            <a:ext cx="10344616" cy="941922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400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dirty="0"/>
              <a:t>Divorce often requires prompt disposal of property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xmlns="" id="{E8CEFFF2-0095-434C-ADD6-FA2002F84E3E}"/>
              </a:ext>
            </a:extLst>
          </p:cNvPr>
          <p:cNvSpPr/>
          <p:nvPr/>
        </p:nvSpPr>
        <p:spPr bwMode="gray">
          <a:xfrm>
            <a:off x="609600" y="1455784"/>
            <a:ext cx="978408" cy="982413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00569B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7" name="Rectangle 6"/>
          <p:cNvSpPr/>
          <p:nvPr/>
        </p:nvSpPr>
        <p:spPr bwMode="gray">
          <a:xfrm>
            <a:off x="1237784" y="2706874"/>
            <a:ext cx="10344616" cy="2296325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400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dirty="0"/>
              <a:t>No delays or conflicts to deed of transfer because only the trustee’s signature is required as opposed to all of the owners and opposing counsel arguing.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E8CEFFF2-0095-434C-ADD6-FA2002F84E3E}"/>
              </a:ext>
            </a:extLst>
          </p:cNvPr>
          <p:cNvSpPr/>
          <p:nvPr/>
        </p:nvSpPr>
        <p:spPr bwMode="gray">
          <a:xfrm>
            <a:off x="609600" y="2686630"/>
            <a:ext cx="978408" cy="982413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00569B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E8CEFFF2-0095-434C-ADD6-FA2002F84E3E}"/>
              </a:ext>
            </a:extLst>
          </p:cNvPr>
          <p:cNvSpPr/>
          <p:nvPr/>
        </p:nvSpPr>
        <p:spPr bwMode="gray">
          <a:xfrm>
            <a:off x="609600" y="3917476"/>
            <a:ext cx="978408" cy="982413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00569B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1" name="Rectangle 10"/>
          <p:cNvSpPr/>
          <p:nvPr/>
        </p:nvSpPr>
        <p:spPr bwMode="gray">
          <a:xfrm>
            <a:off x="1237784" y="5168567"/>
            <a:ext cx="10344616" cy="941922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400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dirty="0"/>
              <a:t> .The advantages of confidentiality are being preserved.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E8CEFFF2-0095-434C-ADD6-FA2002F84E3E}"/>
              </a:ext>
            </a:extLst>
          </p:cNvPr>
          <p:cNvSpPr/>
          <p:nvPr/>
        </p:nvSpPr>
        <p:spPr bwMode="gray">
          <a:xfrm>
            <a:off x="609600" y="5148322"/>
            <a:ext cx="978408" cy="982413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00569B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grpSp>
        <p:nvGrpSpPr>
          <p:cNvPr id="13" name="Group 4"/>
          <p:cNvGrpSpPr>
            <a:grpSpLocks noChangeAspect="1"/>
          </p:cNvGrpSpPr>
          <p:nvPr/>
        </p:nvGrpSpPr>
        <p:grpSpPr bwMode="auto">
          <a:xfrm>
            <a:off x="814381" y="1685002"/>
            <a:ext cx="568846" cy="523976"/>
            <a:chOff x="-413" y="1979"/>
            <a:chExt cx="393" cy="362"/>
          </a:xfrm>
          <a:solidFill>
            <a:srgbClr val="00569B"/>
          </a:solidFill>
        </p:grpSpPr>
        <p:sp>
          <p:nvSpPr>
            <p:cNvPr id="14" name="Rectangle 6"/>
            <p:cNvSpPr>
              <a:spLocks noChangeArrowheads="1"/>
            </p:cNvSpPr>
            <p:nvPr/>
          </p:nvSpPr>
          <p:spPr bwMode="auto">
            <a:xfrm>
              <a:off x="-389" y="2104"/>
              <a:ext cx="17" cy="4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7"/>
            <p:cNvSpPr>
              <a:spLocks noChangeArrowheads="1"/>
            </p:cNvSpPr>
            <p:nvPr/>
          </p:nvSpPr>
          <p:spPr bwMode="auto">
            <a:xfrm>
              <a:off x="-389" y="2176"/>
              <a:ext cx="17" cy="4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-389" y="1979"/>
              <a:ext cx="305" cy="153"/>
            </a:xfrm>
            <a:custGeom>
              <a:avLst/>
              <a:gdLst>
                <a:gd name="T0" fmla="*/ 2746 w 2746"/>
                <a:gd name="T1" fmla="*/ 942 h 1381"/>
                <a:gd name="T2" fmla="*/ 2746 w 2746"/>
                <a:gd name="T3" fmla="*/ 1225 h 1381"/>
                <a:gd name="T4" fmla="*/ 2589 w 2746"/>
                <a:gd name="T5" fmla="*/ 1381 h 1381"/>
                <a:gd name="T6" fmla="*/ 2589 w 2746"/>
                <a:gd name="T7" fmla="*/ 287 h 1381"/>
                <a:gd name="T8" fmla="*/ 2586 w 2746"/>
                <a:gd name="T9" fmla="*/ 260 h 1381"/>
                <a:gd name="T10" fmla="*/ 2579 w 2746"/>
                <a:gd name="T11" fmla="*/ 236 h 1381"/>
                <a:gd name="T12" fmla="*/ 2567 w 2746"/>
                <a:gd name="T13" fmla="*/ 214 h 1381"/>
                <a:gd name="T14" fmla="*/ 2551 w 2746"/>
                <a:gd name="T15" fmla="*/ 195 h 1381"/>
                <a:gd name="T16" fmla="*/ 2531 w 2746"/>
                <a:gd name="T17" fmla="*/ 179 h 1381"/>
                <a:gd name="T18" fmla="*/ 2509 w 2746"/>
                <a:gd name="T19" fmla="*/ 166 h 1381"/>
                <a:gd name="T20" fmla="*/ 2484 w 2746"/>
                <a:gd name="T21" fmla="*/ 159 h 1381"/>
                <a:gd name="T22" fmla="*/ 2458 w 2746"/>
                <a:gd name="T23" fmla="*/ 156 h 1381"/>
                <a:gd name="T24" fmla="*/ 287 w 2746"/>
                <a:gd name="T25" fmla="*/ 156 h 1381"/>
                <a:gd name="T26" fmla="*/ 261 w 2746"/>
                <a:gd name="T27" fmla="*/ 159 h 1381"/>
                <a:gd name="T28" fmla="*/ 236 w 2746"/>
                <a:gd name="T29" fmla="*/ 166 h 1381"/>
                <a:gd name="T30" fmla="*/ 214 w 2746"/>
                <a:gd name="T31" fmla="*/ 179 h 1381"/>
                <a:gd name="T32" fmla="*/ 194 w 2746"/>
                <a:gd name="T33" fmla="*/ 195 h 1381"/>
                <a:gd name="T34" fmla="*/ 178 w 2746"/>
                <a:gd name="T35" fmla="*/ 214 h 1381"/>
                <a:gd name="T36" fmla="*/ 166 w 2746"/>
                <a:gd name="T37" fmla="*/ 236 h 1381"/>
                <a:gd name="T38" fmla="*/ 159 w 2746"/>
                <a:gd name="T39" fmla="*/ 260 h 1381"/>
                <a:gd name="T40" fmla="*/ 156 w 2746"/>
                <a:gd name="T41" fmla="*/ 287 h 1381"/>
                <a:gd name="T42" fmla="*/ 156 w 2746"/>
                <a:gd name="T43" fmla="*/ 832 h 1381"/>
                <a:gd name="T44" fmla="*/ 0 w 2746"/>
                <a:gd name="T45" fmla="*/ 832 h 1381"/>
                <a:gd name="T46" fmla="*/ 0 w 2746"/>
                <a:gd name="T47" fmla="*/ 287 h 1381"/>
                <a:gd name="T48" fmla="*/ 3 w 2746"/>
                <a:gd name="T49" fmla="*/ 244 h 1381"/>
                <a:gd name="T50" fmla="*/ 12 w 2746"/>
                <a:gd name="T51" fmla="*/ 205 h 1381"/>
                <a:gd name="T52" fmla="*/ 27 w 2746"/>
                <a:gd name="T53" fmla="*/ 166 h 1381"/>
                <a:gd name="T54" fmla="*/ 46 w 2746"/>
                <a:gd name="T55" fmla="*/ 131 h 1381"/>
                <a:gd name="T56" fmla="*/ 70 w 2746"/>
                <a:gd name="T57" fmla="*/ 99 h 1381"/>
                <a:gd name="T58" fmla="*/ 99 w 2746"/>
                <a:gd name="T59" fmla="*/ 71 h 1381"/>
                <a:gd name="T60" fmla="*/ 131 w 2746"/>
                <a:gd name="T61" fmla="*/ 46 h 1381"/>
                <a:gd name="T62" fmla="*/ 165 w 2746"/>
                <a:gd name="T63" fmla="*/ 27 h 1381"/>
                <a:gd name="T64" fmla="*/ 204 w 2746"/>
                <a:gd name="T65" fmla="*/ 13 h 1381"/>
                <a:gd name="T66" fmla="*/ 245 w 2746"/>
                <a:gd name="T67" fmla="*/ 3 h 1381"/>
                <a:gd name="T68" fmla="*/ 287 w 2746"/>
                <a:gd name="T69" fmla="*/ 0 h 1381"/>
                <a:gd name="T70" fmla="*/ 2458 w 2746"/>
                <a:gd name="T71" fmla="*/ 0 h 1381"/>
                <a:gd name="T72" fmla="*/ 2500 w 2746"/>
                <a:gd name="T73" fmla="*/ 3 h 1381"/>
                <a:gd name="T74" fmla="*/ 2541 w 2746"/>
                <a:gd name="T75" fmla="*/ 13 h 1381"/>
                <a:gd name="T76" fmla="*/ 2579 w 2746"/>
                <a:gd name="T77" fmla="*/ 27 h 1381"/>
                <a:gd name="T78" fmla="*/ 2614 w 2746"/>
                <a:gd name="T79" fmla="*/ 46 h 1381"/>
                <a:gd name="T80" fmla="*/ 2646 w 2746"/>
                <a:gd name="T81" fmla="*/ 71 h 1381"/>
                <a:gd name="T82" fmla="*/ 2674 w 2746"/>
                <a:gd name="T83" fmla="*/ 99 h 1381"/>
                <a:gd name="T84" fmla="*/ 2699 w 2746"/>
                <a:gd name="T85" fmla="*/ 131 h 1381"/>
                <a:gd name="T86" fmla="*/ 2718 w 2746"/>
                <a:gd name="T87" fmla="*/ 166 h 1381"/>
                <a:gd name="T88" fmla="*/ 2733 w 2746"/>
                <a:gd name="T89" fmla="*/ 205 h 1381"/>
                <a:gd name="T90" fmla="*/ 2742 w 2746"/>
                <a:gd name="T91" fmla="*/ 244 h 1381"/>
                <a:gd name="T92" fmla="*/ 2745 w 2746"/>
                <a:gd name="T93" fmla="*/ 287 h 1381"/>
                <a:gd name="T94" fmla="*/ 2745 w 2746"/>
                <a:gd name="T95" fmla="*/ 942 h 1381"/>
                <a:gd name="T96" fmla="*/ 2746 w 2746"/>
                <a:gd name="T97" fmla="*/ 942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46" h="1381">
                  <a:moveTo>
                    <a:pt x="2746" y="942"/>
                  </a:moveTo>
                  <a:lnTo>
                    <a:pt x="2746" y="1225"/>
                  </a:lnTo>
                  <a:lnTo>
                    <a:pt x="2589" y="1381"/>
                  </a:lnTo>
                  <a:lnTo>
                    <a:pt x="2589" y="287"/>
                  </a:lnTo>
                  <a:lnTo>
                    <a:pt x="2586" y="260"/>
                  </a:lnTo>
                  <a:lnTo>
                    <a:pt x="2579" y="236"/>
                  </a:lnTo>
                  <a:lnTo>
                    <a:pt x="2567" y="214"/>
                  </a:lnTo>
                  <a:lnTo>
                    <a:pt x="2551" y="195"/>
                  </a:lnTo>
                  <a:lnTo>
                    <a:pt x="2531" y="179"/>
                  </a:lnTo>
                  <a:lnTo>
                    <a:pt x="2509" y="166"/>
                  </a:lnTo>
                  <a:lnTo>
                    <a:pt x="2484" y="159"/>
                  </a:lnTo>
                  <a:lnTo>
                    <a:pt x="2458" y="156"/>
                  </a:lnTo>
                  <a:lnTo>
                    <a:pt x="287" y="156"/>
                  </a:lnTo>
                  <a:lnTo>
                    <a:pt x="261" y="159"/>
                  </a:lnTo>
                  <a:lnTo>
                    <a:pt x="236" y="166"/>
                  </a:lnTo>
                  <a:lnTo>
                    <a:pt x="214" y="179"/>
                  </a:lnTo>
                  <a:lnTo>
                    <a:pt x="194" y="195"/>
                  </a:lnTo>
                  <a:lnTo>
                    <a:pt x="178" y="214"/>
                  </a:lnTo>
                  <a:lnTo>
                    <a:pt x="166" y="236"/>
                  </a:lnTo>
                  <a:lnTo>
                    <a:pt x="159" y="260"/>
                  </a:lnTo>
                  <a:lnTo>
                    <a:pt x="156" y="287"/>
                  </a:lnTo>
                  <a:lnTo>
                    <a:pt x="156" y="832"/>
                  </a:lnTo>
                  <a:lnTo>
                    <a:pt x="0" y="832"/>
                  </a:lnTo>
                  <a:lnTo>
                    <a:pt x="0" y="287"/>
                  </a:lnTo>
                  <a:lnTo>
                    <a:pt x="3" y="244"/>
                  </a:lnTo>
                  <a:lnTo>
                    <a:pt x="12" y="205"/>
                  </a:lnTo>
                  <a:lnTo>
                    <a:pt x="27" y="166"/>
                  </a:lnTo>
                  <a:lnTo>
                    <a:pt x="46" y="131"/>
                  </a:lnTo>
                  <a:lnTo>
                    <a:pt x="70" y="99"/>
                  </a:lnTo>
                  <a:lnTo>
                    <a:pt x="99" y="71"/>
                  </a:lnTo>
                  <a:lnTo>
                    <a:pt x="131" y="46"/>
                  </a:lnTo>
                  <a:lnTo>
                    <a:pt x="165" y="27"/>
                  </a:lnTo>
                  <a:lnTo>
                    <a:pt x="204" y="13"/>
                  </a:lnTo>
                  <a:lnTo>
                    <a:pt x="245" y="3"/>
                  </a:lnTo>
                  <a:lnTo>
                    <a:pt x="287" y="0"/>
                  </a:lnTo>
                  <a:lnTo>
                    <a:pt x="2458" y="0"/>
                  </a:lnTo>
                  <a:lnTo>
                    <a:pt x="2500" y="3"/>
                  </a:lnTo>
                  <a:lnTo>
                    <a:pt x="2541" y="13"/>
                  </a:lnTo>
                  <a:lnTo>
                    <a:pt x="2579" y="27"/>
                  </a:lnTo>
                  <a:lnTo>
                    <a:pt x="2614" y="46"/>
                  </a:lnTo>
                  <a:lnTo>
                    <a:pt x="2646" y="71"/>
                  </a:lnTo>
                  <a:lnTo>
                    <a:pt x="2674" y="99"/>
                  </a:lnTo>
                  <a:lnTo>
                    <a:pt x="2699" y="131"/>
                  </a:lnTo>
                  <a:lnTo>
                    <a:pt x="2718" y="166"/>
                  </a:lnTo>
                  <a:lnTo>
                    <a:pt x="2733" y="205"/>
                  </a:lnTo>
                  <a:lnTo>
                    <a:pt x="2742" y="244"/>
                  </a:lnTo>
                  <a:lnTo>
                    <a:pt x="2745" y="287"/>
                  </a:lnTo>
                  <a:lnTo>
                    <a:pt x="2745" y="942"/>
                  </a:lnTo>
                  <a:lnTo>
                    <a:pt x="2746" y="9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-389" y="2235"/>
              <a:ext cx="305" cy="106"/>
            </a:xfrm>
            <a:custGeom>
              <a:avLst/>
              <a:gdLst>
                <a:gd name="T0" fmla="*/ 2662 w 2746"/>
                <a:gd name="T1" fmla="*/ 53 h 954"/>
                <a:gd name="T2" fmla="*/ 2689 w 2746"/>
                <a:gd name="T3" fmla="*/ 66 h 954"/>
                <a:gd name="T4" fmla="*/ 2717 w 2746"/>
                <a:gd name="T5" fmla="*/ 74 h 954"/>
                <a:gd name="T6" fmla="*/ 2746 w 2746"/>
                <a:gd name="T7" fmla="*/ 78 h 954"/>
                <a:gd name="T8" fmla="*/ 2746 w 2746"/>
                <a:gd name="T9" fmla="*/ 667 h 954"/>
                <a:gd name="T10" fmla="*/ 2743 w 2746"/>
                <a:gd name="T11" fmla="*/ 710 h 954"/>
                <a:gd name="T12" fmla="*/ 2733 w 2746"/>
                <a:gd name="T13" fmla="*/ 749 h 954"/>
                <a:gd name="T14" fmla="*/ 2719 w 2746"/>
                <a:gd name="T15" fmla="*/ 788 h 954"/>
                <a:gd name="T16" fmla="*/ 2699 w 2746"/>
                <a:gd name="T17" fmla="*/ 823 h 954"/>
                <a:gd name="T18" fmla="*/ 2675 w 2746"/>
                <a:gd name="T19" fmla="*/ 854 h 954"/>
                <a:gd name="T20" fmla="*/ 2646 w 2746"/>
                <a:gd name="T21" fmla="*/ 883 h 954"/>
                <a:gd name="T22" fmla="*/ 2614 w 2746"/>
                <a:gd name="T23" fmla="*/ 907 h 954"/>
                <a:gd name="T24" fmla="*/ 2579 w 2746"/>
                <a:gd name="T25" fmla="*/ 927 h 954"/>
                <a:gd name="T26" fmla="*/ 2541 w 2746"/>
                <a:gd name="T27" fmla="*/ 941 h 954"/>
                <a:gd name="T28" fmla="*/ 2500 w 2746"/>
                <a:gd name="T29" fmla="*/ 951 h 954"/>
                <a:gd name="T30" fmla="*/ 2458 w 2746"/>
                <a:gd name="T31" fmla="*/ 954 h 954"/>
                <a:gd name="T32" fmla="*/ 287 w 2746"/>
                <a:gd name="T33" fmla="*/ 954 h 954"/>
                <a:gd name="T34" fmla="*/ 245 w 2746"/>
                <a:gd name="T35" fmla="*/ 951 h 954"/>
                <a:gd name="T36" fmla="*/ 204 w 2746"/>
                <a:gd name="T37" fmla="*/ 941 h 954"/>
                <a:gd name="T38" fmla="*/ 165 w 2746"/>
                <a:gd name="T39" fmla="*/ 927 h 954"/>
                <a:gd name="T40" fmla="*/ 131 w 2746"/>
                <a:gd name="T41" fmla="*/ 907 h 954"/>
                <a:gd name="T42" fmla="*/ 99 w 2746"/>
                <a:gd name="T43" fmla="*/ 883 h 954"/>
                <a:gd name="T44" fmla="*/ 70 w 2746"/>
                <a:gd name="T45" fmla="*/ 854 h 954"/>
                <a:gd name="T46" fmla="*/ 46 w 2746"/>
                <a:gd name="T47" fmla="*/ 823 h 954"/>
                <a:gd name="T48" fmla="*/ 27 w 2746"/>
                <a:gd name="T49" fmla="*/ 788 h 954"/>
                <a:gd name="T50" fmla="*/ 12 w 2746"/>
                <a:gd name="T51" fmla="*/ 749 h 954"/>
                <a:gd name="T52" fmla="*/ 3 w 2746"/>
                <a:gd name="T53" fmla="*/ 710 h 954"/>
                <a:gd name="T54" fmla="*/ 0 w 2746"/>
                <a:gd name="T55" fmla="*/ 667 h 954"/>
                <a:gd name="T56" fmla="*/ 0 w 2746"/>
                <a:gd name="T57" fmla="*/ 123 h 954"/>
                <a:gd name="T58" fmla="*/ 156 w 2746"/>
                <a:gd name="T59" fmla="*/ 123 h 954"/>
                <a:gd name="T60" fmla="*/ 156 w 2746"/>
                <a:gd name="T61" fmla="*/ 667 h 954"/>
                <a:gd name="T62" fmla="*/ 159 w 2746"/>
                <a:gd name="T63" fmla="*/ 694 h 954"/>
                <a:gd name="T64" fmla="*/ 166 w 2746"/>
                <a:gd name="T65" fmla="*/ 718 h 954"/>
                <a:gd name="T66" fmla="*/ 178 w 2746"/>
                <a:gd name="T67" fmla="*/ 740 h 954"/>
                <a:gd name="T68" fmla="*/ 194 w 2746"/>
                <a:gd name="T69" fmla="*/ 759 h 954"/>
                <a:gd name="T70" fmla="*/ 214 w 2746"/>
                <a:gd name="T71" fmla="*/ 775 h 954"/>
                <a:gd name="T72" fmla="*/ 236 w 2746"/>
                <a:gd name="T73" fmla="*/ 788 h 954"/>
                <a:gd name="T74" fmla="*/ 261 w 2746"/>
                <a:gd name="T75" fmla="*/ 795 h 954"/>
                <a:gd name="T76" fmla="*/ 287 w 2746"/>
                <a:gd name="T77" fmla="*/ 798 h 954"/>
                <a:gd name="T78" fmla="*/ 2458 w 2746"/>
                <a:gd name="T79" fmla="*/ 798 h 954"/>
                <a:gd name="T80" fmla="*/ 2484 w 2746"/>
                <a:gd name="T81" fmla="*/ 795 h 954"/>
                <a:gd name="T82" fmla="*/ 2509 w 2746"/>
                <a:gd name="T83" fmla="*/ 788 h 954"/>
                <a:gd name="T84" fmla="*/ 2531 w 2746"/>
                <a:gd name="T85" fmla="*/ 775 h 954"/>
                <a:gd name="T86" fmla="*/ 2551 w 2746"/>
                <a:gd name="T87" fmla="*/ 759 h 954"/>
                <a:gd name="T88" fmla="*/ 2567 w 2746"/>
                <a:gd name="T89" fmla="*/ 740 h 954"/>
                <a:gd name="T90" fmla="*/ 2579 w 2746"/>
                <a:gd name="T91" fmla="*/ 718 h 954"/>
                <a:gd name="T92" fmla="*/ 2587 w 2746"/>
                <a:gd name="T93" fmla="*/ 694 h 954"/>
                <a:gd name="T94" fmla="*/ 2589 w 2746"/>
                <a:gd name="T95" fmla="*/ 667 h 954"/>
                <a:gd name="T96" fmla="*/ 2589 w 2746"/>
                <a:gd name="T97" fmla="*/ 181 h 954"/>
                <a:gd name="T98" fmla="*/ 2589 w 2746"/>
                <a:gd name="T99" fmla="*/ 181 h 954"/>
                <a:gd name="T100" fmla="*/ 2589 w 2746"/>
                <a:gd name="T101" fmla="*/ 9 h 954"/>
                <a:gd name="T102" fmla="*/ 2599 w 2746"/>
                <a:gd name="T103" fmla="*/ 0 h 954"/>
                <a:gd name="T104" fmla="*/ 2617 w 2746"/>
                <a:gd name="T105" fmla="*/ 20 h 954"/>
                <a:gd name="T106" fmla="*/ 2639 w 2746"/>
                <a:gd name="T107" fmla="*/ 38 h 954"/>
                <a:gd name="T108" fmla="*/ 2662 w 2746"/>
                <a:gd name="T109" fmla="*/ 53 h 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46" h="954">
                  <a:moveTo>
                    <a:pt x="2662" y="53"/>
                  </a:moveTo>
                  <a:lnTo>
                    <a:pt x="2689" y="66"/>
                  </a:lnTo>
                  <a:lnTo>
                    <a:pt x="2717" y="74"/>
                  </a:lnTo>
                  <a:lnTo>
                    <a:pt x="2746" y="78"/>
                  </a:lnTo>
                  <a:lnTo>
                    <a:pt x="2746" y="667"/>
                  </a:lnTo>
                  <a:lnTo>
                    <a:pt x="2743" y="710"/>
                  </a:lnTo>
                  <a:lnTo>
                    <a:pt x="2733" y="749"/>
                  </a:lnTo>
                  <a:lnTo>
                    <a:pt x="2719" y="788"/>
                  </a:lnTo>
                  <a:lnTo>
                    <a:pt x="2699" y="823"/>
                  </a:lnTo>
                  <a:lnTo>
                    <a:pt x="2675" y="854"/>
                  </a:lnTo>
                  <a:lnTo>
                    <a:pt x="2646" y="883"/>
                  </a:lnTo>
                  <a:lnTo>
                    <a:pt x="2614" y="907"/>
                  </a:lnTo>
                  <a:lnTo>
                    <a:pt x="2579" y="927"/>
                  </a:lnTo>
                  <a:lnTo>
                    <a:pt x="2541" y="941"/>
                  </a:lnTo>
                  <a:lnTo>
                    <a:pt x="2500" y="951"/>
                  </a:lnTo>
                  <a:lnTo>
                    <a:pt x="2458" y="954"/>
                  </a:lnTo>
                  <a:lnTo>
                    <a:pt x="287" y="954"/>
                  </a:lnTo>
                  <a:lnTo>
                    <a:pt x="245" y="951"/>
                  </a:lnTo>
                  <a:lnTo>
                    <a:pt x="204" y="941"/>
                  </a:lnTo>
                  <a:lnTo>
                    <a:pt x="165" y="927"/>
                  </a:lnTo>
                  <a:lnTo>
                    <a:pt x="131" y="907"/>
                  </a:lnTo>
                  <a:lnTo>
                    <a:pt x="99" y="883"/>
                  </a:lnTo>
                  <a:lnTo>
                    <a:pt x="70" y="854"/>
                  </a:lnTo>
                  <a:lnTo>
                    <a:pt x="46" y="823"/>
                  </a:lnTo>
                  <a:lnTo>
                    <a:pt x="27" y="788"/>
                  </a:lnTo>
                  <a:lnTo>
                    <a:pt x="12" y="749"/>
                  </a:lnTo>
                  <a:lnTo>
                    <a:pt x="3" y="710"/>
                  </a:lnTo>
                  <a:lnTo>
                    <a:pt x="0" y="667"/>
                  </a:lnTo>
                  <a:lnTo>
                    <a:pt x="0" y="123"/>
                  </a:lnTo>
                  <a:lnTo>
                    <a:pt x="156" y="123"/>
                  </a:lnTo>
                  <a:lnTo>
                    <a:pt x="156" y="667"/>
                  </a:lnTo>
                  <a:lnTo>
                    <a:pt x="159" y="694"/>
                  </a:lnTo>
                  <a:lnTo>
                    <a:pt x="166" y="718"/>
                  </a:lnTo>
                  <a:lnTo>
                    <a:pt x="178" y="740"/>
                  </a:lnTo>
                  <a:lnTo>
                    <a:pt x="194" y="759"/>
                  </a:lnTo>
                  <a:lnTo>
                    <a:pt x="214" y="775"/>
                  </a:lnTo>
                  <a:lnTo>
                    <a:pt x="236" y="788"/>
                  </a:lnTo>
                  <a:lnTo>
                    <a:pt x="261" y="795"/>
                  </a:lnTo>
                  <a:lnTo>
                    <a:pt x="287" y="798"/>
                  </a:lnTo>
                  <a:lnTo>
                    <a:pt x="2458" y="798"/>
                  </a:lnTo>
                  <a:lnTo>
                    <a:pt x="2484" y="795"/>
                  </a:lnTo>
                  <a:lnTo>
                    <a:pt x="2509" y="788"/>
                  </a:lnTo>
                  <a:lnTo>
                    <a:pt x="2531" y="775"/>
                  </a:lnTo>
                  <a:lnTo>
                    <a:pt x="2551" y="759"/>
                  </a:lnTo>
                  <a:lnTo>
                    <a:pt x="2567" y="740"/>
                  </a:lnTo>
                  <a:lnTo>
                    <a:pt x="2579" y="718"/>
                  </a:lnTo>
                  <a:lnTo>
                    <a:pt x="2587" y="694"/>
                  </a:lnTo>
                  <a:lnTo>
                    <a:pt x="2589" y="667"/>
                  </a:lnTo>
                  <a:lnTo>
                    <a:pt x="2589" y="181"/>
                  </a:lnTo>
                  <a:lnTo>
                    <a:pt x="2589" y="181"/>
                  </a:lnTo>
                  <a:lnTo>
                    <a:pt x="2589" y="9"/>
                  </a:lnTo>
                  <a:lnTo>
                    <a:pt x="2599" y="0"/>
                  </a:lnTo>
                  <a:lnTo>
                    <a:pt x="2617" y="20"/>
                  </a:lnTo>
                  <a:lnTo>
                    <a:pt x="2639" y="38"/>
                  </a:lnTo>
                  <a:lnTo>
                    <a:pt x="2662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-413" y="2218"/>
              <a:ext cx="72" cy="29"/>
            </a:xfrm>
            <a:custGeom>
              <a:avLst/>
              <a:gdLst>
                <a:gd name="T0" fmla="*/ 400 w 647"/>
                <a:gd name="T1" fmla="*/ 64 h 264"/>
                <a:gd name="T2" fmla="*/ 68 w 647"/>
                <a:gd name="T3" fmla="*/ 64 h 264"/>
                <a:gd name="T4" fmla="*/ 51 w 647"/>
                <a:gd name="T5" fmla="*/ 67 h 264"/>
                <a:gd name="T6" fmla="*/ 35 w 647"/>
                <a:gd name="T7" fmla="*/ 73 h 264"/>
                <a:gd name="T8" fmla="*/ 21 w 647"/>
                <a:gd name="T9" fmla="*/ 84 h 264"/>
                <a:gd name="T10" fmla="*/ 10 w 647"/>
                <a:gd name="T11" fmla="*/ 97 h 264"/>
                <a:gd name="T12" fmla="*/ 4 w 647"/>
                <a:gd name="T13" fmla="*/ 114 h 264"/>
                <a:gd name="T14" fmla="*/ 0 w 647"/>
                <a:gd name="T15" fmla="*/ 131 h 264"/>
                <a:gd name="T16" fmla="*/ 4 w 647"/>
                <a:gd name="T17" fmla="*/ 149 h 264"/>
                <a:gd name="T18" fmla="*/ 10 w 647"/>
                <a:gd name="T19" fmla="*/ 166 h 264"/>
                <a:gd name="T20" fmla="*/ 21 w 647"/>
                <a:gd name="T21" fmla="*/ 179 h 264"/>
                <a:gd name="T22" fmla="*/ 35 w 647"/>
                <a:gd name="T23" fmla="*/ 190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0 h 264"/>
                <a:gd name="T32" fmla="*/ 437 w 647"/>
                <a:gd name="T33" fmla="*/ 238 h 264"/>
                <a:gd name="T34" fmla="*/ 459 w 647"/>
                <a:gd name="T35" fmla="*/ 252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1 h 264"/>
                <a:gd name="T42" fmla="*/ 566 w 647"/>
                <a:gd name="T43" fmla="*/ 253 h 264"/>
                <a:gd name="T44" fmla="*/ 588 w 647"/>
                <a:gd name="T45" fmla="*/ 242 h 264"/>
                <a:gd name="T46" fmla="*/ 607 w 647"/>
                <a:gd name="T47" fmla="*/ 224 h 264"/>
                <a:gd name="T48" fmla="*/ 624 w 647"/>
                <a:gd name="T49" fmla="*/ 205 h 264"/>
                <a:gd name="T50" fmla="*/ 636 w 647"/>
                <a:gd name="T51" fmla="*/ 183 h 264"/>
                <a:gd name="T52" fmla="*/ 644 w 647"/>
                <a:gd name="T53" fmla="*/ 158 h 264"/>
                <a:gd name="T54" fmla="*/ 647 w 647"/>
                <a:gd name="T55" fmla="*/ 131 h 264"/>
                <a:gd name="T56" fmla="*/ 644 w 647"/>
                <a:gd name="T57" fmla="*/ 104 h 264"/>
                <a:gd name="T58" fmla="*/ 636 w 647"/>
                <a:gd name="T59" fmla="*/ 80 h 264"/>
                <a:gd name="T60" fmla="*/ 624 w 647"/>
                <a:gd name="T61" fmla="*/ 57 h 264"/>
                <a:gd name="T62" fmla="*/ 607 w 647"/>
                <a:gd name="T63" fmla="*/ 38 h 264"/>
                <a:gd name="T64" fmla="*/ 588 w 647"/>
                <a:gd name="T65" fmla="*/ 22 h 264"/>
                <a:gd name="T66" fmla="*/ 566 w 647"/>
                <a:gd name="T67" fmla="*/ 9 h 264"/>
                <a:gd name="T68" fmla="*/ 541 w 647"/>
                <a:gd name="T69" fmla="*/ 2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1 h 264"/>
                <a:gd name="T76" fmla="*/ 437 w 647"/>
                <a:gd name="T77" fmla="*/ 24 h 264"/>
                <a:gd name="T78" fmla="*/ 416 w 647"/>
                <a:gd name="T79" fmla="*/ 42 h 264"/>
                <a:gd name="T80" fmla="*/ 400 w 647"/>
                <a:gd name="T81" fmla="*/ 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4"/>
                  </a:moveTo>
                  <a:lnTo>
                    <a:pt x="68" y="64"/>
                  </a:lnTo>
                  <a:lnTo>
                    <a:pt x="51" y="67"/>
                  </a:lnTo>
                  <a:lnTo>
                    <a:pt x="35" y="73"/>
                  </a:lnTo>
                  <a:lnTo>
                    <a:pt x="21" y="84"/>
                  </a:lnTo>
                  <a:lnTo>
                    <a:pt x="10" y="97"/>
                  </a:lnTo>
                  <a:lnTo>
                    <a:pt x="4" y="114"/>
                  </a:lnTo>
                  <a:lnTo>
                    <a:pt x="0" y="131"/>
                  </a:lnTo>
                  <a:lnTo>
                    <a:pt x="4" y="149"/>
                  </a:lnTo>
                  <a:lnTo>
                    <a:pt x="10" y="166"/>
                  </a:lnTo>
                  <a:lnTo>
                    <a:pt x="21" y="179"/>
                  </a:lnTo>
                  <a:lnTo>
                    <a:pt x="35" y="190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0"/>
                  </a:lnTo>
                  <a:lnTo>
                    <a:pt x="437" y="238"/>
                  </a:lnTo>
                  <a:lnTo>
                    <a:pt x="459" y="252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1"/>
                  </a:lnTo>
                  <a:lnTo>
                    <a:pt x="566" y="253"/>
                  </a:lnTo>
                  <a:lnTo>
                    <a:pt x="588" y="242"/>
                  </a:lnTo>
                  <a:lnTo>
                    <a:pt x="607" y="224"/>
                  </a:lnTo>
                  <a:lnTo>
                    <a:pt x="624" y="205"/>
                  </a:lnTo>
                  <a:lnTo>
                    <a:pt x="636" y="183"/>
                  </a:lnTo>
                  <a:lnTo>
                    <a:pt x="644" y="158"/>
                  </a:lnTo>
                  <a:lnTo>
                    <a:pt x="647" y="131"/>
                  </a:lnTo>
                  <a:lnTo>
                    <a:pt x="644" y="104"/>
                  </a:lnTo>
                  <a:lnTo>
                    <a:pt x="636" y="80"/>
                  </a:lnTo>
                  <a:lnTo>
                    <a:pt x="624" y="57"/>
                  </a:lnTo>
                  <a:lnTo>
                    <a:pt x="607" y="38"/>
                  </a:lnTo>
                  <a:lnTo>
                    <a:pt x="588" y="22"/>
                  </a:lnTo>
                  <a:lnTo>
                    <a:pt x="566" y="9"/>
                  </a:lnTo>
                  <a:lnTo>
                    <a:pt x="541" y="2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1"/>
                  </a:lnTo>
                  <a:lnTo>
                    <a:pt x="437" y="24"/>
                  </a:lnTo>
                  <a:lnTo>
                    <a:pt x="416" y="42"/>
                  </a:lnTo>
                  <a:lnTo>
                    <a:pt x="400" y="6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-413" y="2145"/>
              <a:ext cx="72" cy="30"/>
            </a:xfrm>
            <a:custGeom>
              <a:avLst/>
              <a:gdLst>
                <a:gd name="T0" fmla="*/ 400 w 647"/>
                <a:gd name="T1" fmla="*/ 66 h 265"/>
                <a:gd name="T2" fmla="*/ 68 w 647"/>
                <a:gd name="T3" fmla="*/ 66 h 265"/>
                <a:gd name="T4" fmla="*/ 51 w 647"/>
                <a:gd name="T5" fmla="*/ 68 h 265"/>
                <a:gd name="T6" fmla="*/ 35 w 647"/>
                <a:gd name="T7" fmla="*/ 74 h 265"/>
                <a:gd name="T8" fmla="*/ 21 w 647"/>
                <a:gd name="T9" fmla="*/ 85 h 265"/>
                <a:gd name="T10" fmla="*/ 10 w 647"/>
                <a:gd name="T11" fmla="*/ 99 h 265"/>
                <a:gd name="T12" fmla="*/ 4 w 647"/>
                <a:gd name="T13" fmla="*/ 115 h 265"/>
                <a:gd name="T14" fmla="*/ 0 w 647"/>
                <a:gd name="T15" fmla="*/ 132 h 265"/>
                <a:gd name="T16" fmla="*/ 4 w 647"/>
                <a:gd name="T17" fmla="*/ 151 h 265"/>
                <a:gd name="T18" fmla="*/ 10 w 647"/>
                <a:gd name="T19" fmla="*/ 167 h 265"/>
                <a:gd name="T20" fmla="*/ 21 w 647"/>
                <a:gd name="T21" fmla="*/ 181 h 265"/>
                <a:gd name="T22" fmla="*/ 35 w 647"/>
                <a:gd name="T23" fmla="*/ 191 h 265"/>
                <a:gd name="T24" fmla="*/ 51 w 647"/>
                <a:gd name="T25" fmla="*/ 198 h 265"/>
                <a:gd name="T26" fmla="*/ 68 w 647"/>
                <a:gd name="T27" fmla="*/ 200 h 265"/>
                <a:gd name="T28" fmla="*/ 400 w 647"/>
                <a:gd name="T29" fmla="*/ 200 h 265"/>
                <a:gd name="T30" fmla="*/ 416 w 647"/>
                <a:gd name="T31" fmla="*/ 222 h 265"/>
                <a:gd name="T32" fmla="*/ 437 w 647"/>
                <a:gd name="T33" fmla="*/ 240 h 265"/>
                <a:gd name="T34" fmla="*/ 460 w 647"/>
                <a:gd name="T35" fmla="*/ 253 h 265"/>
                <a:gd name="T36" fmla="*/ 486 w 647"/>
                <a:gd name="T37" fmla="*/ 262 h 265"/>
                <a:gd name="T38" fmla="*/ 514 w 647"/>
                <a:gd name="T39" fmla="*/ 265 h 265"/>
                <a:gd name="T40" fmla="*/ 541 w 647"/>
                <a:gd name="T41" fmla="*/ 263 h 265"/>
                <a:gd name="T42" fmla="*/ 566 w 647"/>
                <a:gd name="T43" fmla="*/ 255 h 265"/>
                <a:gd name="T44" fmla="*/ 588 w 647"/>
                <a:gd name="T45" fmla="*/ 242 h 265"/>
                <a:gd name="T46" fmla="*/ 607 w 647"/>
                <a:gd name="T47" fmla="*/ 226 h 265"/>
                <a:gd name="T48" fmla="*/ 624 w 647"/>
                <a:gd name="T49" fmla="*/ 207 h 265"/>
                <a:gd name="T50" fmla="*/ 636 w 647"/>
                <a:gd name="T51" fmla="*/ 184 h 265"/>
                <a:gd name="T52" fmla="*/ 644 w 647"/>
                <a:gd name="T53" fmla="*/ 160 h 265"/>
                <a:gd name="T54" fmla="*/ 647 w 647"/>
                <a:gd name="T55" fmla="*/ 132 h 265"/>
                <a:gd name="T56" fmla="*/ 644 w 647"/>
                <a:gd name="T57" fmla="*/ 106 h 265"/>
                <a:gd name="T58" fmla="*/ 636 w 647"/>
                <a:gd name="T59" fmla="*/ 82 h 265"/>
                <a:gd name="T60" fmla="*/ 624 w 647"/>
                <a:gd name="T61" fmla="*/ 59 h 265"/>
                <a:gd name="T62" fmla="*/ 607 w 647"/>
                <a:gd name="T63" fmla="*/ 40 h 265"/>
                <a:gd name="T64" fmla="*/ 588 w 647"/>
                <a:gd name="T65" fmla="*/ 24 h 265"/>
                <a:gd name="T66" fmla="*/ 566 w 647"/>
                <a:gd name="T67" fmla="*/ 11 h 265"/>
                <a:gd name="T68" fmla="*/ 541 w 647"/>
                <a:gd name="T69" fmla="*/ 3 h 265"/>
                <a:gd name="T70" fmla="*/ 514 w 647"/>
                <a:gd name="T71" fmla="*/ 0 h 265"/>
                <a:gd name="T72" fmla="*/ 486 w 647"/>
                <a:gd name="T73" fmla="*/ 3 h 265"/>
                <a:gd name="T74" fmla="*/ 460 w 647"/>
                <a:gd name="T75" fmla="*/ 12 h 265"/>
                <a:gd name="T76" fmla="*/ 437 w 647"/>
                <a:gd name="T77" fmla="*/ 26 h 265"/>
                <a:gd name="T78" fmla="*/ 416 w 647"/>
                <a:gd name="T79" fmla="*/ 44 h 265"/>
                <a:gd name="T80" fmla="*/ 400 w 647"/>
                <a:gd name="T81" fmla="*/ 66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5">
                  <a:moveTo>
                    <a:pt x="400" y="66"/>
                  </a:moveTo>
                  <a:lnTo>
                    <a:pt x="68" y="66"/>
                  </a:lnTo>
                  <a:lnTo>
                    <a:pt x="51" y="68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9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1"/>
                  </a:lnTo>
                  <a:lnTo>
                    <a:pt x="10" y="167"/>
                  </a:lnTo>
                  <a:lnTo>
                    <a:pt x="21" y="181"/>
                  </a:lnTo>
                  <a:lnTo>
                    <a:pt x="35" y="191"/>
                  </a:lnTo>
                  <a:lnTo>
                    <a:pt x="51" y="198"/>
                  </a:lnTo>
                  <a:lnTo>
                    <a:pt x="68" y="200"/>
                  </a:lnTo>
                  <a:lnTo>
                    <a:pt x="400" y="200"/>
                  </a:lnTo>
                  <a:lnTo>
                    <a:pt x="416" y="222"/>
                  </a:lnTo>
                  <a:lnTo>
                    <a:pt x="437" y="240"/>
                  </a:lnTo>
                  <a:lnTo>
                    <a:pt x="460" y="253"/>
                  </a:lnTo>
                  <a:lnTo>
                    <a:pt x="486" y="262"/>
                  </a:lnTo>
                  <a:lnTo>
                    <a:pt x="514" y="265"/>
                  </a:lnTo>
                  <a:lnTo>
                    <a:pt x="541" y="263"/>
                  </a:lnTo>
                  <a:lnTo>
                    <a:pt x="566" y="255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2"/>
                  </a:lnTo>
                  <a:lnTo>
                    <a:pt x="644" y="106"/>
                  </a:lnTo>
                  <a:lnTo>
                    <a:pt x="636" y="82"/>
                  </a:lnTo>
                  <a:lnTo>
                    <a:pt x="624" y="59"/>
                  </a:lnTo>
                  <a:lnTo>
                    <a:pt x="607" y="40"/>
                  </a:lnTo>
                  <a:lnTo>
                    <a:pt x="588" y="24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60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auto">
            <a:xfrm>
              <a:off x="-413" y="2073"/>
              <a:ext cx="72" cy="29"/>
            </a:xfrm>
            <a:custGeom>
              <a:avLst/>
              <a:gdLst>
                <a:gd name="T0" fmla="*/ 400 w 647"/>
                <a:gd name="T1" fmla="*/ 65 h 264"/>
                <a:gd name="T2" fmla="*/ 68 w 647"/>
                <a:gd name="T3" fmla="*/ 65 h 264"/>
                <a:gd name="T4" fmla="*/ 51 w 647"/>
                <a:gd name="T5" fmla="*/ 67 h 264"/>
                <a:gd name="T6" fmla="*/ 35 w 647"/>
                <a:gd name="T7" fmla="*/ 74 h 264"/>
                <a:gd name="T8" fmla="*/ 21 w 647"/>
                <a:gd name="T9" fmla="*/ 85 h 264"/>
                <a:gd name="T10" fmla="*/ 10 w 647"/>
                <a:gd name="T11" fmla="*/ 98 h 264"/>
                <a:gd name="T12" fmla="*/ 4 w 647"/>
                <a:gd name="T13" fmla="*/ 115 h 264"/>
                <a:gd name="T14" fmla="*/ 0 w 647"/>
                <a:gd name="T15" fmla="*/ 132 h 264"/>
                <a:gd name="T16" fmla="*/ 4 w 647"/>
                <a:gd name="T17" fmla="*/ 150 h 264"/>
                <a:gd name="T18" fmla="*/ 10 w 647"/>
                <a:gd name="T19" fmla="*/ 166 h 264"/>
                <a:gd name="T20" fmla="*/ 21 w 647"/>
                <a:gd name="T21" fmla="*/ 180 h 264"/>
                <a:gd name="T22" fmla="*/ 35 w 647"/>
                <a:gd name="T23" fmla="*/ 191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2 h 264"/>
                <a:gd name="T32" fmla="*/ 437 w 647"/>
                <a:gd name="T33" fmla="*/ 239 h 264"/>
                <a:gd name="T34" fmla="*/ 459 w 647"/>
                <a:gd name="T35" fmla="*/ 253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2 h 264"/>
                <a:gd name="T42" fmla="*/ 566 w 647"/>
                <a:gd name="T43" fmla="*/ 254 h 264"/>
                <a:gd name="T44" fmla="*/ 588 w 647"/>
                <a:gd name="T45" fmla="*/ 242 h 264"/>
                <a:gd name="T46" fmla="*/ 607 w 647"/>
                <a:gd name="T47" fmla="*/ 226 h 264"/>
                <a:gd name="T48" fmla="*/ 624 w 647"/>
                <a:gd name="T49" fmla="*/ 207 h 264"/>
                <a:gd name="T50" fmla="*/ 636 w 647"/>
                <a:gd name="T51" fmla="*/ 184 h 264"/>
                <a:gd name="T52" fmla="*/ 644 w 647"/>
                <a:gd name="T53" fmla="*/ 160 h 264"/>
                <a:gd name="T54" fmla="*/ 647 w 647"/>
                <a:gd name="T55" fmla="*/ 133 h 264"/>
                <a:gd name="T56" fmla="*/ 644 w 647"/>
                <a:gd name="T57" fmla="*/ 106 h 264"/>
                <a:gd name="T58" fmla="*/ 636 w 647"/>
                <a:gd name="T59" fmla="*/ 81 h 264"/>
                <a:gd name="T60" fmla="*/ 624 w 647"/>
                <a:gd name="T61" fmla="*/ 59 h 264"/>
                <a:gd name="T62" fmla="*/ 607 w 647"/>
                <a:gd name="T63" fmla="*/ 39 h 264"/>
                <a:gd name="T64" fmla="*/ 588 w 647"/>
                <a:gd name="T65" fmla="*/ 22 h 264"/>
                <a:gd name="T66" fmla="*/ 566 w 647"/>
                <a:gd name="T67" fmla="*/ 11 h 264"/>
                <a:gd name="T68" fmla="*/ 541 w 647"/>
                <a:gd name="T69" fmla="*/ 3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2 h 264"/>
                <a:gd name="T76" fmla="*/ 437 w 647"/>
                <a:gd name="T77" fmla="*/ 26 h 264"/>
                <a:gd name="T78" fmla="*/ 416 w 647"/>
                <a:gd name="T79" fmla="*/ 44 h 264"/>
                <a:gd name="T80" fmla="*/ 400 w 647"/>
                <a:gd name="T81" fmla="*/ 65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5"/>
                  </a:moveTo>
                  <a:lnTo>
                    <a:pt x="68" y="65"/>
                  </a:lnTo>
                  <a:lnTo>
                    <a:pt x="51" y="67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8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0"/>
                  </a:lnTo>
                  <a:lnTo>
                    <a:pt x="10" y="166"/>
                  </a:lnTo>
                  <a:lnTo>
                    <a:pt x="21" y="180"/>
                  </a:lnTo>
                  <a:lnTo>
                    <a:pt x="35" y="191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2"/>
                  </a:lnTo>
                  <a:lnTo>
                    <a:pt x="437" y="239"/>
                  </a:lnTo>
                  <a:lnTo>
                    <a:pt x="459" y="253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2"/>
                  </a:lnTo>
                  <a:lnTo>
                    <a:pt x="566" y="254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3"/>
                  </a:lnTo>
                  <a:lnTo>
                    <a:pt x="644" y="106"/>
                  </a:lnTo>
                  <a:lnTo>
                    <a:pt x="636" y="81"/>
                  </a:lnTo>
                  <a:lnTo>
                    <a:pt x="624" y="59"/>
                  </a:lnTo>
                  <a:lnTo>
                    <a:pt x="607" y="39"/>
                  </a:lnTo>
                  <a:lnTo>
                    <a:pt x="588" y="22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-118" y="2110"/>
              <a:ext cx="91" cy="90"/>
            </a:xfrm>
            <a:custGeom>
              <a:avLst/>
              <a:gdLst>
                <a:gd name="T0" fmla="*/ 537 w 816"/>
                <a:gd name="T1" fmla="*/ 547 h 805"/>
                <a:gd name="T2" fmla="*/ 497 w 816"/>
                <a:gd name="T3" fmla="*/ 587 h 805"/>
                <a:gd name="T4" fmla="*/ 468 w 816"/>
                <a:gd name="T5" fmla="*/ 616 h 805"/>
                <a:gd name="T6" fmla="*/ 447 w 816"/>
                <a:gd name="T7" fmla="*/ 636 h 805"/>
                <a:gd name="T8" fmla="*/ 433 w 816"/>
                <a:gd name="T9" fmla="*/ 650 h 805"/>
                <a:gd name="T10" fmla="*/ 421 w 816"/>
                <a:gd name="T11" fmla="*/ 662 h 805"/>
                <a:gd name="T12" fmla="*/ 410 w 816"/>
                <a:gd name="T13" fmla="*/ 673 h 805"/>
                <a:gd name="T14" fmla="*/ 395 w 816"/>
                <a:gd name="T15" fmla="*/ 688 h 805"/>
                <a:gd name="T16" fmla="*/ 374 w 816"/>
                <a:gd name="T17" fmla="*/ 708 h 805"/>
                <a:gd name="T18" fmla="*/ 345 w 816"/>
                <a:gd name="T19" fmla="*/ 737 h 805"/>
                <a:gd name="T20" fmla="*/ 303 w 816"/>
                <a:gd name="T21" fmla="*/ 779 h 805"/>
                <a:gd name="T22" fmla="*/ 208 w 816"/>
                <a:gd name="T23" fmla="*/ 736 h 805"/>
                <a:gd name="T24" fmla="*/ 68 w 816"/>
                <a:gd name="T25" fmla="*/ 607 h 805"/>
                <a:gd name="T26" fmla="*/ 0 w 816"/>
                <a:gd name="T27" fmla="*/ 538 h 805"/>
                <a:gd name="T28" fmla="*/ 2 w 816"/>
                <a:gd name="T29" fmla="*/ 535 h 805"/>
                <a:gd name="T30" fmla="*/ 37 w 816"/>
                <a:gd name="T31" fmla="*/ 499 h 805"/>
                <a:gd name="T32" fmla="*/ 92 w 816"/>
                <a:gd name="T33" fmla="*/ 446 h 805"/>
                <a:gd name="T34" fmla="*/ 135 w 816"/>
                <a:gd name="T35" fmla="*/ 403 h 805"/>
                <a:gd name="T36" fmla="*/ 169 w 816"/>
                <a:gd name="T37" fmla="*/ 369 h 805"/>
                <a:gd name="T38" fmla="*/ 197 w 816"/>
                <a:gd name="T39" fmla="*/ 341 h 805"/>
                <a:gd name="T40" fmla="*/ 223 w 816"/>
                <a:gd name="T41" fmla="*/ 315 h 805"/>
                <a:gd name="T42" fmla="*/ 248 w 816"/>
                <a:gd name="T43" fmla="*/ 291 h 805"/>
                <a:gd name="T44" fmla="*/ 277 w 816"/>
                <a:gd name="T45" fmla="*/ 263 h 805"/>
                <a:gd name="T46" fmla="*/ 312 w 816"/>
                <a:gd name="T47" fmla="*/ 228 h 805"/>
                <a:gd name="T48" fmla="*/ 356 w 816"/>
                <a:gd name="T49" fmla="*/ 187 h 805"/>
                <a:gd name="T50" fmla="*/ 411 w 816"/>
                <a:gd name="T51" fmla="*/ 133 h 805"/>
                <a:gd name="T52" fmla="*/ 473 w 816"/>
                <a:gd name="T53" fmla="*/ 75 h 805"/>
                <a:gd name="T54" fmla="*/ 540 w 816"/>
                <a:gd name="T55" fmla="*/ 31 h 805"/>
                <a:gd name="T56" fmla="*/ 602 w 816"/>
                <a:gd name="T57" fmla="*/ 4 h 805"/>
                <a:gd name="T58" fmla="*/ 657 w 816"/>
                <a:gd name="T59" fmla="*/ 1 h 805"/>
                <a:gd name="T60" fmla="*/ 709 w 816"/>
                <a:gd name="T61" fmla="*/ 22 h 805"/>
                <a:gd name="T62" fmla="*/ 759 w 816"/>
                <a:gd name="T63" fmla="*/ 60 h 805"/>
                <a:gd name="T64" fmla="*/ 796 w 816"/>
                <a:gd name="T65" fmla="*/ 108 h 805"/>
                <a:gd name="T66" fmla="*/ 815 w 816"/>
                <a:gd name="T67" fmla="*/ 161 h 805"/>
                <a:gd name="T68" fmla="*/ 810 w 816"/>
                <a:gd name="T69" fmla="*/ 217 h 805"/>
                <a:gd name="T70" fmla="*/ 773 w 816"/>
                <a:gd name="T71" fmla="*/ 283 h 805"/>
                <a:gd name="T72" fmla="*/ 717 w 816"/>
                <a:gd name="T73" fmla="*/ 354 h 805"/>
                <a:gd name="T74" fmla="*/ 681 w 816"/>
                <a:gd name="T75" fmla="*/ 398 h 805"/>
                <a:gd name="T76" fmla="*/ 656 w 816"/>
                <a:gd name="T77" fmla="*/ 424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6" h="805">
                  <a:moveTo>
                    <a:pt x="563" y="521"/>
                  </a:moveTo>
                  <a:lnTo>
                    <a:pt x="537" y="547"/>
                  </a:lnTo>
                  <a:lnTo>
                    <a:pt x="516" y="569"/>
                  </a:lnTo>
                  <a:lnTo>
                    <a:pt x="497" y="587"/>
                  </a:lnTo>
                  <a:lnTo>
                    <a:pt x="482" y="603"/>
                  </a:lnTo>
                  <a:lnTo>
                    <a:pt x="468" y="616"/>
                  </a:lnTo>
                  <a:lnTo>
                    <a:pt x="457" y="627"/>
                  </a:lnTo>
                  <a:lnTo>
                    <a:pt x="447" y="636"/>
                  </a:lnTo>
                  <a:lnTo>
                    <a:pt x="440" y="644"/>
                  </a:lnTo>
                  <a:lnTo>
                    <a:pt x="433" y="650"/>
                  </a:lnTo>
                  <a:lnTo>
                    <a:pt x="427" y="657"/>
                  </a:lnTo>
                  <a:lnTo>
                    <a:pt x="421" y="662"/>
                  </a:lnTo>
                  <a:lnTo>
                    <a:pt x="416" y="668"/>
                  </a:lnTo>
                  <a:lnTo>
                    <a:pt x="410" y="673"/>
                  </a:lnTo>
                  <a:lnTo>
                    <a:pt x="403" y="679"/>
                  </a:lnTo>
                  <a:lnTo>
                    <a:pt x="395" y="688"/>
                  </a:lnTo>
                  <a:lnTo>
                    <a:pt x="386" y="696"/>
                  </a:lnTo>
                  <a:lnTo>
                    <a:pt x="374" y="708"/>
                  </a:lnTo>
                  <a:lnTo>
                    <a:pt x="361" y="721"/>
                  </a:lnTo>
                  <a:lnTo>
                    <a:pt x="345" y="737"/>
                  </a:lnTo>
                  <a:lnTo>
                    <a:pt x="326" y="756"/>
                  </a:lnTo>
                  <a:lnTo>
                    <a:pt x="303" y="779"/>
                  </a:lnTo>
                  <a:lnTo>
                    <a:pt x="277" y="805"/>
                  </a:lnTo>
                  <a:lnTo>
                    <a:pt x="208" y="736"/>
                  </a:lnTo>
                  <a:lnTo>
                    <a:pt x="138" y="671"/>
                  </a:lnTo>
                  <a:lnTo>
                    <a:pt x="68" y="607"/>
                  </a:lnTo>
                  <a:lnTo>
                    <a:pt x="0" y="539"/>
                  </a:lnTo>
                  <a:lnTo>
                    <a:pt x="0" y="538"/>
                  </a:lnTo>
                  <a:lnTo>
                    <a:pt x="1" y="537"/>
                  </a:lnTo>
                  <a:lnTo>
                    <a:pt x="2" y="535"/>
                  </a:lnTo>
                  <a:lnTo>
                    <a:pt x="3" y="533"/>
                  </a:lnTo>
                  <a:lnTo>
                    <a:pt x="37" y="499"/>
                  </a:lnTo>
                  <a:lnTo>
                    <a:pt x="66" y="472"/>
                  </a:lnTo>
                  <a:lnTo>
                    <a:pt x="92" y="446"/>
                  </a:lnTo>
                  <a:lnTo>
                    <a:pt x="114" y="423"/>
                  </a:lnTo>
                  <a:lnTo>
                    <a:pt x="135" y="403"/>
                  </a:lnTo>
                  <a:lnTo>
                    <a:pt x="152" y="385"/>
                  </a:lnTo>
                  <a:lnTo>
                    <a:pt x="169" y="369"/>
                  </a:lnTo>
                  <a:lnTo>
                    <a:pt x="183" y="355"/>
                  </a:lnTo>
                  <a:lnTo>
                    <a:pt x="197" y="341"/>
                  </a:lnTo>
                  <a:lnTo>
                    <a:pt x="210" y="328"/>
                  </a:lnTo>
                  <a:lnTo>
                    <a:pt x="223" y="315"/>
                  </a:lnTo>
                  <a:lnTo>
                    <a:pt x="236" y="303"/>
                  </a:lnTo>
                  <a:lnTo>
                    <a:pt x="248" y="291"/>
                  </a:lnTo>
                  <a:lnTo>
                    <a:pt x="262" y="277"/>
                  </a:lnTo>
                  <a:lnTo>
                    <a:pt x="277" y="263"/>
                  </a:lnTo>
                  <a:lnTo>
                    <a:pt x="294" y="247"/>
                  </a:lnTo>
                  <a:lnTo>
                    <a:pt x="312" y="228"/>
                  </a:lnTo>
                  <a:lnTo>
                    <a:pt x="332" y="209"/>
                  </a:lnTo>
                  <a:lnTo>
                    <a:pt x="356" y="187"/>
                  </a:lnTo>
                  <a:lnTo>
                    <a:pt x="382" y="161"/>
                  </a:lnTo>
                  <a:lnTo>
                    <a:pt x="411" y="133"/>
                  </a:lnTo>
                  <a:lnTo>
                    <a:pt x="443" y="101"/>
                  </a:lnTo>
                  <a:lnTo>
                    <a:pt x="473" y="75"/>
                  </a:lnTo>
                  <a:lnTo>
                    <a:pt x="505" y="52"/>
                  </a:lnTo>
                  <a:lnTo>
                    <a:pt x="540" y="31"/>
                  </a:lnTo>
                  <a:lnTo>
                    <a:pt x="574" y="14"/>
                  </a:lnTo>
                  <a:lnTo>
                    <a:pt x="602" y="4"/>
                  </a:lnTo>
                  <a:lnTo>
                    <a:pt x="630" y="0"/>
                  </a:lnTo>
                  <a:lnTo>
                    <a:pt x="657" y="1"/>
                  </a:lnTo>
                  <a:lnTo>
                    <a:pt x="684" y="9"/>
                  </a:lnTo>
                  <a:lnTo>
                    <a:pt x="709" y="22"/>
                  </a:lnTo>
                  <a:lnTo>
                    <a:pt x="734" y="39"/>
                  </a:lnTo>
                  <a:lnTo>
                    <a:pt x="759" y="60"/>
                  </a:lnTo>
                  <a:lnTo>
                    <a:pt x="780" y="84"/>
                  </a:lnTo>
                  <a:lnTo>
                    <a:pt x="796" y="108"/>
                  </a:lnTo>
                  <a:lnTo>
                    <a:pt x="808" y="134"/>
                  </a:lnTo>
                  <a:lnTo>
                    <a:pt x="815" y="161"/>
                  </a:lnTo>
                  <a:lnTo>
                    <a:pt x="816" y="188"/>
                  </a:lnTo>
                  <a:lnTo>
                    <a:pt x="810" y="217"/>
                  </a:lnTo>
                  <a:lnTo>
                    <a:pt x="798" y="246"/>
                  </a:lnTo>
                  <a:lnTo>
                    <a:pt x="773" y="283"/>
                  </a:lnTo>
                  <a:lnTo>
                    <a:pt x="746" y="319"/>
                  </a:lnTo>
                  <a:lnTo>
                    <a:pt x="717" y="354"/>
                  </a:lnTo>
                  <a:lnTo>
                    <a:pt x="689" y="389"/>
                  </a:lnTo>
                  <a:lnTo>
                    <a:pt x="681" y="398"/>
                  </a:lnTo>
                  <a:lnTo>
                    <a:pt x="674" y="407"/>
                  </a:lnTo>
                  <a:lnTo>
                    <a:pt x="656" y="424"/>
                  </a:lnTo>
                  <a:lnTo>
                    <a:pt x="563" y="52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-89" y="2158"/>
              <a:ext cx="69" cy="70"/>
            </a:xfrm>
            <a:custGeom>
              <a:avLst/>
              <a:gdLst>
                <a:gd name="T0" fmla="*/ 606 w 629"/>
                <a:gd name="T1" fmla="*/ 105 h 630"/>
                <a:gd name="T2" fmla="*/ 517 w 629"/>
                <a:gd name="T3" fmla="*/ 196 h 630"/>
                <a:gd name="T4" fmla="*/ 427 w 629"/>
                <a:gd name="T5" fmla="*/ 286 h 630"/>
                <a:gd name="T6" fmla="*/ 106 w 629"/>
                <a:gd name="T7" fmla="*/ 605 h 630"/>
                <a:gd name="T8" fmla="*/ 94 w 629"/>
                <a:gd name="T9" fmla="*/ 618 h 630"/>
                <a:gd name="T10" fmla="*/ 78 w 629"/>
                <a:gd name="T11" fmla="*/ 625 h 630"/>
                <a:gd name="T12" fmla="*/ 63 w 629"/>
                <a:gd name="T13" fmla="*/ 630 h 630"/>
                <a:gd name="T14" fmla="*/ 47 w 629"/>
                <a:gd name="T15" fmla="*/ 630 h 630"/>
                <a:gd name="T16" fmla="*/ 30 w 629"/>
                <a:gd name="T17" fmla="*/ 622 h 630"/>
                <a:gd name="T18" fmla="*/ 16 w 629"/>
                <a:gd name="T19" fmla="*/ 613 h 630"/>
                <a:gd name="T20" fmla="*/ 6 w 629"/>
                <a:gd name="T21" fmla="*/ 601 h 630"/>
                <a:gd name="T22" fmla="*/ 1 w 629"/>
                <a:gd name="T23" fmla="*/ 588 h 630"/>
                <a:gd name="T24" fmla="*/ 0 w 629"/>
                <a:gd name="T25" fmla="*/ 573 h 630"/>
                <a:gd name="T26" fmla="*/ 3 w 629"/>
                <a:gd name="T27" fmla="*/ 557 h 630"/>
                <a:gd name="T28" fmla="*/ 10 w 629"/>
                <a:gd name="T29" fmla="*/ 543 h 630"/>
                <a:gd name="T30" fmla="*/ 20 w 629"/>
                <a:gd name="T31" fmla="*/ 530 h 630"/>
                <a:gd name="T32" fmla="*/ 32 w 629"/>
                <a:gd name="T33" fmla="*/ 517 h 630"/>
                <a:gd name="T34" fmla="*/ 48 w 629"/>
                <a:gd name="T35" fmla="*/ 501 h 630"/>
                <a:gd name="T36" fmla="*/ 68 w 629"/>
                <a:gd name="T37" fmla="*/ 482 h 630"/>
                <a:gd name="T38" fmla="*/ 88 w 629"/>
                <a:gd name="T39" fmla="*/ 461 h 630"/>
                <a:gd name="T40" fmla="*/ 112 w 629"/>
                <a:gd name="T41" fmla="*/ 438 h 630"/>
                <a:gd name="T42" fmla="*/ 136 w 629"/>
                <a:gd name="T43" fmla="*/ 413 h 630"/>
                <a:gd name="T44" fmla="*/ 162 w 629"/>
                <a:gd name="T45" fmla="*/ 387 h 630"/>
                <a:gd name="T46" fmla="*/ 189 w 629"/>
                <a:gd name="T47" fmla="*/ 360 h 630"/>
                <a:gd name="T48" fmla="*/ 217 w 629"/>
                <a:gd name="T49" fmla="*/ 332 h 630"/>
                <a:gd name="T50" fmla="*/ 246 w 629"/>
                <a:gd name="T51" fmla="*/ 303 h 630"/>
                <a:gd name="T52" fmla="*/ 275 w 629"/>
                <a:gd name="T53" fmla="*/ 274 h 630"/>
                <a:gd name="T54" fmla="*/ 303 w 629"/>
                <a:gd name="T55" fmla="*/ 246 h 630"/>
                <a:gd name="T56" fmla="*/ 331 w 629"/>
                <a:gd name="T57" fmla="*/ 217 h 630"/>
                <a:gd name="T58" fmla="*/ 359 w 629"/>
                <a:gd name="T59" fmla="*/ 191 h 630"/>
                <a:gd name="T60" fmla="*/ 385 w 629"/>
                <a:gd name="T61" fmla="*/ 164 h 630"/>
                <a:gd name="T62" fmla="*/ 409 w 629"/>
                <a:gd name="T63" fmla="*/ 139 h 630"/>
                <a:gd name="T64" fmla="*/ 433 w 629"/>
                <a:gd name="T65" fmla="*/ 116 h 630"/>
                <a:gd name="T66" fmla="*/ 455 w 629"/>
                <a:gd name="T67" fmla="*/ 94 h 630"/>
                <a:gd name="T68" fmla="*/ 474 w 629"/>
                <a:gd name="T69" fmla="*/ 75 h 630"/>
                <a:gd name="T70" fmla="*/ 491 w 629"/>
                <a:gd name="T71" fmla="*/ 59 h 630"/>
                <a:gd name="T72" fmla="*/ 505 w 629"/>
                <a:gd name="T73" fmla="*/ 45 h 630"/>
                <a:gd name="T74" fmla="*/ 516 w 629"/>
                <a:gd name="T75" fmla="*/ 34 h 630"/>
                <a:gd name="T76" fmla="*/ 523 w 629"/>
                <a:gd name="T77" fmla="*/ 27 h 630"/>
                <a:gd name="T78" fmla="*/ 527 w 629"/>
                <a:gd name="T79" fmla="*/ 22 h 630"/>
                <a:gd name="T80" fmla="*/ 546 w 629"/>
                <a:gd name="T81" fmla="*/ 9 h 630"/>
                <a:gd name="T82" fmla="*/ 564 w 629"/>
                <a:gd name="T83" fmla="*/ 1 h 630"/>
                <a:gd name="T84" fmla="*/ 581 w 629"/>
                <a:gd name="T85" fmla="*/ 0 h 630"/>
                <a:gd name="T86" fmla="*/ 599 w 629"/>
                <a:gd name="T87" fmla="*/ 6 h 630"/>
                <a:gd name="T88" fmla="*/ 615 w 629"/>
                <a:gd name="T89" fmla="*/ 19 h 630"/>
                <a:gd name="T90" fmla="*/ 623 w 629"/>
                <a:gd name="T91" fmla="*/ 31 h 630"/>
                <a:gd name="T92" fmla="*/ 629 w 629"/>
                <a:gd name="T93" fmla="*/ 45 h 630"/>
                <a:gd name="T94" fmla="*/ 629 w 629"/>
                <a:gd name="T95" fmla="*/ 60 h 630"/>
                <a:gd name="T96" fmla="*/ 625 w 629"/>
                <a:gd name="T97" fmla="*/ 75 h 630"/>
                <a:gd name="T98" fmla="*/ 618 w 629"/>
                <a:gd name="T99" fmla="*/ 90 h 630"/>
                <a:gd name="T100" fmla="*/ 606 w 629"/>
                <a:gd name="T101" fmla="*/ 105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9" h="630">
                  <a:moveTo>
                    <a:pt x="606" y="105"/>
                  </a:moveTo>
                  <a:lnTo>
                    <a:pt x="517" y="196"/>
                  </a:lnTo>
                  <a:lnTo>
                    <a:pt x="427" y="286"/>
                  </a:lnTo>
                  <a:lnTo>
                    <a:pt x="106" y="605"/>
                  </a:lnTo>
                  <a:lnTo>
                    <a:pt x="94" y="618"/>
                  </a:lnTo>
                  <a:lnTo>
                    <a:pt x="78" y="625"/>
                  </a:lnTo>
                  <a:lnTo>
                    <a:pt x="63" y="630"/>
                  </a:lnTo>
                  <a:lnTo>
                    <a:pt x="47" y="630"/>
                  </a:lnTo>
                  <a:lnTo>
                    <a:pt x="30" y="622"/>
                  </a:lnTo>
                  <a:lnTo>
                    <a:pt x="16" y="613"/>
                  </a:lnTo>
                  <a:lnTo>
                    <a:pt x="6" y="601"/>
                  </a:lnTo>
                  <a:lnTo>
                    <a:pt x="1" y="588"/>
                  </a:lnTo>
                  <a:lnTo>
                    <a:pt x="0" y="573"/>
                  </a:lnTo>
                  <a:lnTo>
                    <a:pt x="3" y="557"/>
                  </a:lnTo>
                  <a:lnTo>
                    <a:pt x="10" y="543"/>
                  </a:lnTo>
                  <a:lnTo>
                    <a:pt x="20" y="530"/>
                  </a:lnTo>
                  <a:lnTo>
                    <a:pt x="32" y="517"/>
                  </a:lnTo>
                  <a:lnTo>
                    <a:pt x="48" y="501"/>
                  </a:lnTo>
                  <a:lnTo>
                    <a:pt x="68" y="482"/>
                  </a:lnTo>
                  <a:lnTo>
                    <a:pt x="88" y="461"/>
                  </a:lnTo>
                  <a:lnTo>
                    <a:pt x="112" y="438"/>
                  </a:lnTo>
                  <a:lnTo>
                    <a:pt x="136" y="413"/>
                  </a:lnTo>
                  <a:lnTo>
                    <a:pt x="162" y="387"/>
                  </a:lnTo>
                  <a:lnTo>
                    <a:pt x="189" y="360"/>
                  </a:lnTo>
                  <a:lnTo>
                    <a:pt x="217" y="332"/>
                  </a:lnTo>
                  <a:lnTo>
                    <a:pt x="246" y="303"/>
                  </a:lnTo>
                  <a:lnTo>
                    <a:pt x="275" y="274"/>
                  </a:lnTo>
                  <a:lnTo>
                    <a:pt x="303" y="246"/>
                  </a:lnTo>
                  <a:lnTo>
                    <a:pt x="331" y="217"/>
                  </a:lnTo>
                  <a:lnTo>
                    <a:pt x="359" y="191"/>
                  </a:lnTo>
                  <a:lnTo>
                    <a:pt x="385" y="164"/>
                  </a:lnTo>
                  <a:lnTo>
                    <a:pt x="409" y="139"/>
                  </a:lnTo>
                  <a:lnTo>
                    <a:pt x="433" y="116"/>
                  </a:lnTo>
                  <a:lnTo>
                    <a:pt x="455" y="94"/>
                  </a:lnTo>
                  <a:lnTo>
                    <a:pt x="474" y="75"/>
                  </a:lnTo>
                  <a:lnTo>
                    <a:pt x="491" y="59"/>
                  </a:lnTo>
                  <a:lnTo>
                    <a:pt x="505" y="45"/>
                  </a:lnTo>
                  <a:lnTo>
                    <a:pt x="516" y="34"/>
                  </a:lnTo>
                  <a:lnTo>
                    <a:pt x="523" y="27"/>
                  </a:lnTo>
                  <a:lnTo>
                    <a:pt x="527" y="22"/>
                  </a:lnTo>
                  <a:lnTo>
                    <a:pt x="546" y="9"/>
                  </a:lnTo>
                  <a:lnTo>
                    <a:pt x="564" y="1"/>
                  </a:lnTo>
                  <a:lnTo>
                    <a:pt x="581" y="0"/>
                  </a:lnTo>
                  <a:lnTo>
                    <a:pt x="599" y="6"/>
                  </a:lnTo>
                  <a:lnTo>
                    <a:pt x="615" y="19"/>
                  </a:lnTo>
                  <a:lnTo>
                    <a:pt x="623" y="31"/>
                  </a:lnTo>
                  <a:lnTo>
                    <a:pt x="629" y="45"/>
                  </a:lnTo>
                  <a:lnTo>
                    <a:pt x="629" y="60"/>
                  </a:lnTo>
                  <a:lnTo>
                    <a:pt x="625" y="75"/>
                  </a:lnTo>
                  <a:lnTo>
                    <a:pt x="618" y="90"/>
                  </a:lnTo>
                  <a:lnTo>
                    <a:pt x="606" y="1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-312" y="2031"/>
              <a:ext cx="180" cy="13"/>
            </a:xfrm>
            <a:custGeom>
              <a:avLst/>
              <a:gdLst>
                <a:gd name="T0" fmla="*/ 1615 w 1615"/>
                <a:gd name="T1" fmla="*/ 61 h 123"/>
                <a:gd name="T2" fmla="*/ 1612 w 1615"/>
                <a:gd name="T3" fmla="*/ 81 h 123"/>
                <a:gd name="T4" fmla="*/ 1603 w 1615"/>
                <a:gd name="T5" fmla="*/ 98 h 123"/>
                <a:gd name="T6" fmla="*/ 1590 w 1615"/>
                <a:gd name="T7" fmla="*/ 111 h 123"/>
                <a:gd name="T8" fmla="*/ 1573 w 1615"/>
                <a:gd name="T9" fmla="*/ 120 h 123"/>
                <a:gd name="T10" fmla="*/ 1554 w 1615"/>
                <a:gd name="T11" fmla="*/ 123 h 123"/>
                <a:gd name="T12" fmla="*/ 61 w 1615"/>
                <a:gd name="T13" fmla="*/ 123 h 123"/>
                <a:gd name="T14" fmla="*/ 42 w 1615"/>
                <a:gd name="T15" fmla="*/ 120 h 123"/>
                <a:gd name="T16" fmla="*/ 25 w 1615"/>
                <a:gd name="T17" fmla="*/ 111 h 123"/>
                <a:gd name="T18" fmla="*/ 12 w 1615"/>
                <a:gd name="T19" fmla="*/ 98 h 123"/>
                <a:gd name="T20" fmla="*/ 3 w 1615"/>
                <a:gd name="T21" fmla="*/ 81 h 123"/>
                <a:gd name="T22" fmla="*/ 0 w 1615"/>
                <a:gd name="T23" fmla="*/ 61 h 123"/>
                <a:gd name="T24" fmla="*/ 3 w 1615"/>
                <a:gd name="T25" fmla="*/ 42 h 123"/>
                <a:gd name="T26" fmla="*/ 12 w 1615"/>
                <a:gd name="T27" fmla="*/ 25 h 123"/>
                <a:gd name="T28" fmla="*/ 25 w 1615"/>
                <a:gd name="T29" fmla="*/ 12 h 123"/>
                <a:gd name="T30" fmla="*/ 42 w 1615"/>
                <a:gd name="T31" fmla="*/ 3 h 123"/>
                <a:gd name="T32" fmla="*/ 61 w 1615"/>
                <a:gd name="T33" fmla="*/ 0 h 123"/>
                <a:gd name="T34" fmla="*/ 1554 w 1615"/>
                <a:gd name="T35" fmla="*/ 0 h 123"/>
                <a:gd name="T36" fmla="*/ 1573 w 1615"/>
                <a:gd name="T37" fmla="*/ 3 h 123"/>
                <a:gd name="T38" fmla="*/ 1590 w 1615"/>
                <a:gd name="T39" fmla="*/ 12 h 123"/>
                <a:gd name="T40" fmla="*/ 1603 w 1615"/>
                <a:gd name="T41" fmla="*/ 25 h 123"/>
                <a:gd name="T42" fmla="*/ 1612 w 1615"/>
                <a:gd name="T43" fmla="*/ 42 h 123"/>
                <a:gd name="T44" fmla="*/ 1615 w 1615"/>
                <a:gd name="T45" fmla="*/ 6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3">
                  <a:moveTo>
                    <a:pt x="1615" y="61"/>
                  </a:moveTo>
                  <a:lnTo>
                    <a:pt x="1612" y="81"/>
                  </a:lnTo>
                  <a:lnTo>
                    <a:pt x="1603" y="98"/>
                  </a:lnTo>
                  <a:lnTo>
                    <a:pt x="1590" y="111"/>
                  </a:lnTo>
                  <a:lnTo>
                    <a:pt x="1573" y="120"/>
                  </a:lnTo>
                  <a:lnTo>
                    <a:pt x="1554" y="123"/>
                  </a:lnTo>
                  <a:lnTo>
                    <a:pt x="61" y="123"/>
                  </a:lnTo>
                  <a:lnTo>
                    <a:pt x="42" y="120"/>
                  </a:lnTo>
                  <a:lnTo>
                    <a:pt x="25" y="111"/>
                  </a:lnTo>
                  <a:lnTo>
                    <a:pt x="12" y="98"/>
                  </a:lnTo>
                  <a:lnTo>
                    <a:pt x="3" y="81"/>
                  </a:lnTo>
                  <a:lnTo>
                    <a:pt x="0" y="61"/>
                  </a:lnTo>
                  <a:lnTo>
                    <a:pt x="3" y="42"/>
                  </a:lnTo>
                  <a:lnTo>
                    <a:pt x="12" y="25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3"/>
                  </a:lnTo>
                  <a:lnTo>
                    <a:pt x="1590" y="12"/>
                  </a:lnTo>
                  <a:lnTo>
                    <a:pt x="1603" y="25"/>
                  </a:lnTo>
                  <a:lnTo>
                    <a:pt x="1612" y="42"/>
                  </a:lnTo>
                  <a:lnTo>
                    <a:pt x="161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-312" y="2092"/>
              <a:ext cx="180" cy="14"/>
            </a:xfrm>
            <a:custGeom>
              <a:avLst/>
              <a:gdLst>
                <a:gd name="T0" fmla="*/ 1615 w 1615"/>
                <a:gd name="T1" fmla="*/ 63 h 124"/>
                <a:gd name="T2" fmla="*/ 1612 w 1615"/>
                <a:gd name="T3" fmla="*/ 82 h 124"/>
                <a:gd name="T4" fmla="*/ 1603 w 1615"/>
                <a:gd name="T5" fmla="*/ 99 h 124"/>
                <a:gd name="T6" fmla="*/ 1590 w 1615"/>
                <a:gd name="T7" fmla="*/ 112 h 124"/>
                <a:gd name="T8" fmla="*/ 1573 w 1615"/>
                <a:gd name="T9" fmla="*/ 120 h 124"/>
                <a:gd name="T10" fmla="*/ 1554 w 1615"/>
                <a:gd name="T11" fmla="*/ 124 h 124"/>
                <a:gd name="T12" fmla="*/ 61 w 1615"/>
                <a:gd name="T13" fmla="*/ 124 h 124"/>
                <a:gd name="T14" fmla="*/ 42 w 1615"/>
                <a:gd name="T15" fmla="*/ 120 h 124"/>
                <a:gd name="T16" fmla="*/ 25 w 1615"/>
                <a:gd name="T17" fmla="*/ 112 h 124"/>
                <a:gd name="T18" fmla="*/ 12 w 1615"/>
                <a:gd name="T19" fmla="*/ 99 h 124"/>
                <a:gd name="T20" fmla="*/ 3 w 1615"/>
                <a:gd name="T21" fmla="*/ 82 h 124"/>
                <a:gd name="T22" fmla="*/ 0 w 1615"/>
                <a:gd name="T23" fmla="*/ 63 h 124"/>
                <a:gd name="T24" fmla="*/ 3 w 1615"/>
                <a:gd name="T25" fmla="*/ 43 h 124"/>
                <a:gd name="T26" fmla="*/ 12 w 1615"/>
                <a:gd name="T27" fmla="*/ 26 h 124"/>
                <a:gd name="T28" fmla="*/ 25 w 1615"/>
                <a:gd name="T29" fmla="*/ 12 h 124"/>
                <a:gd name="T30" fmla="*/ 42 w 1615"/>
                <a:gd name="T31" fmla="*/ 4 h 124"/>
                <a:gd name="T32" fmla="*/ 61 w 1615"/>
                <a:gd name="T33" fmla="*/ 0 h 124"/>
                <a:gd name="T34" fmla="*/ 1554 w 1615"/>
                <a:gd name="T35" fmla="*/ 0 h 124"/>
                <a:gd name="T36" fmla="*/ 1573 w 1615"/>
                <a:gd name="T37" fmla="*/ 4 h 124"/>
                <a:gd name="T38" fmla="*/ 1590 w 1615"/>
                <a:gd name="T39" fmla="*/ 12 h 124"/>
                <a:gd name="T40" fmla="*/ 1603 w 1615"/>
                <a:gd name="T41" fmla="*/ 26 h 124"/>
                <a:gd name="T42" fmla="*/ 1612 w 1615"/>
                <a:gd name="T43" fmla="*/ 43 h 124"/>
                <a:gd name="T44" fmla="*/ 1615 w 1615"/>
                <a:gd name="T45" fmla="*/ 6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4">
                  <a:moveTo>
                    <a:pt x="1615" y="63"/>
                  </a:moveTo>
                  <a:lnTo>
                    <a:pt x="1612" y="82"/>
                  </a:lnTo>
                  <a:lnTo>
                    <a:pt x="1603" y="99"/>
                  </a:lnTo>
                  <a:lnTo>
                    <a:pt x="1590" y="112"/>
                  </a:lnTo>
                  <a:lnTo>
                    <a:pt x="1573" y="120"/>
                  </a:lnTo>
                  <a:lnTo>
                    <a:pt x="1554" y="124"/>
                  </a:lnTo>
                  <a:lnTo>
                    <a:pt x="61" y="124"/>
                  </a:lnTo>
                  <a:lnTo>
                    <a:pt x="42" y="120"/>
                  </a:lnTo>
                  <a:lnTo>
                    <a:pt x="25" y="112"/>
                  </a:lnTo>
                  <a:lnTo>
                    <a:pt x="12" y="99"/>
                  </a:lnTo>
                  <a:lnTo>
                    <a:pt x="3" y="82"/>
                  </a:lnTo>
                  <a:lnTo>
                    <a:pt x="0" y="63"/>
                  </a:lnTo>
                  <a:lnTo>
                    <a:pt x="3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4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4"/>
                  </a:lnTo>
                  <a:lnTo>
                    <a:pt x="1590" y="12"/>
                  </a:lnTo>
                  <a:lnTo>
                    <a:pt x="1603" y="26"/>
                  </a:lnTo>
                  <a:lnTo>
                    <a:pt x="1612" y="43"/>
                  </a:lnTo>
                  <a:lnTo>
                    <a:pt x="1615" y="6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-312" y="2153"/>
              <a:ext cx="179" cy="14"/>
            </a:xfrm>
            <a:custGeom>
              <a:avLst/>
              <a:gdLst>
                <a:gd name="T0" fmla="*/ 1614 w 1614"/>
                <a:gd name="T1" fmla="*/ 49 h 124"/>
                <a:gd name="T2" fmla="*/ 1540 w 1614"/>
                <a:gd name="T3" fmla="*/ 124 h 124"/>
                <a:gd name="T4" fmla="*/ 61 w 1614"/>
                <a:gd name="T5" fmla="*/ 124 h 124"/>
                <a:gd name="T6" fmla="*/ 42 w 1614"/>
                <a:gd name="T7" fmla="*/ 121 h 124"/>
                <a:gd name="T8" fmla="*/ 25 w 1614"/>
                <a:gd name="T9" fmla="*/ 112 h 124"/>
                <a:gd name="T10" fmla="*/ 12 w 1614"/>
                <a:gd name="T11" fmla="*/ 98 h 124"/>
                <a:gd name="T12" fmla="*/ 2 w 1614"/>
                <a:gd name="T13" fmla="*/ 81 h 124"/>
                <a:gd name="T14" fmla="*/ 0 w 1614"/>
                <a:gd name="T15" fmla="*/ 62 h 124"/>
                <a:gd name="T16" fmla="*/ 2 w 1614"/>
                <a:gd name="T17" fmla="*/ 43 h 124"/>
                <a:gd name="T18" fmla="*/ 12 w 1614"/>
                <a:gd name="T19" fmla="*/ 26 h 124"/>
                <a:gd name="T20" fmla="*/ 25 w 1614"/>
                <a:gd name="T21" fmla="*/ 12 h 124"/>
                <a:gd name="T22" fmla="*/ 42 w 1614"/>
                <a:gd name="T23" fmla="*/ 3 h 124"/>
                <a:gd name="T24" fmla="*/ 61 w 1614"/>
                <a:gd name="T25" fmla="*/ 0 h 124"/>
                <a:gd name="T26" fmla="*/ 1554 w 1614"/>
                <a:gd name="T27" fmla="*/ 0 h 124"/>
                <a:gd name="T28" fmla="*/ 1571 w 1614"/>
                <a:gd name="T29" fmla="*/ 3 h 124"/>
                <a:gd name="T30" fmla="*/ 1586 w 1614"/>
                <a:gd name="T31" fmla="*/ 10 h 124"/>
                <a:gd name="T32" fmla="*/ 1599 w 1614"/>
                <a:gd name="T33" fmla="*/ 20 h 124"/>
                <a:gd name="T34" fmla="*/ 1609 w 1614"/>
                <a:gd name="T35" fmla="*/ 33 h 124"/>
                <a:gd name="T36" fmla="*/ 1614 w 1614"/>
                <a:gd name="T37" fmla="*/ 49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14" h="124">
                  <a:moveTo>
                    <a:pt x="1614" y="49"/>
                  </a:moveTo>
                  <a:lnTo>
                    <a:pt x="1540" y="124"/>
                  </a:lnTo>
                  <a:lnTo>
                    <a:pt x="61" y="124"/>
                  </a:lnTo>
                  <a:lnTo>
                    <a:pt x="42" y="121"/>
                  </a:lnTo>
                  <a:lnTo>
                    <a:pt x="25" y="112"/>
                  </a:lnTo>
                  <a:lnTo>
                    <a:pt x="12" y="98"/>
                  </a:lnTo>
                  <a:lnTo>
                    <a:pt x="2" y="81"/>
                  </a:lnTo>
                  <a:lnTo>
                    <a:pt x="0" y="62"/>
                  </a:lnTo>
                  <a:lnTo>
                    <a:pt x="2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1" y="3"/>
                  </a:lnTo>
                  <a:lnTo>
                    <a:pt x="1586" y="10"/>
                  </a:lnTo>
                  <a:lnTo>
                    <a:pt x="1599" y="20"/>
                  </a:lnTo>
                  <a:lnTo>
                    <a:pt x="1609" y="33"/>
                  </a:lnTo>
                  <a:lnTo>
                    <a:pt x="1614" y="4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-224" y="2177"/>
              <a:ext cx="129" cy="132"/>
            </a:xfrm>
            <a:custGeom>
              <a:avLst/>
              <a:gdLst>
                <a:gd name="T0" fmla="*/ 1155 w 1157"/>
                <a:gd name="T1" fmla="*/ 280 h 1183"/>
                <a:gd name="T2" fmla="*/ 1140 w 1157"/>
                <a:gd name="T3" fmla="*/ 296 h 1183"/>
                <a:gd name="T4" fmla="*/ 1111 w 1157"/>
                <a:gd name="T5" fmla="*/ 325 h 1183"/>
                <a:gd name="T6" fmla="*/ 1070 w 1157"/>
                <a:gd name="T7" fmla="*/ 367 h 1183"/>
                <a:gd name="T8" fmla="*/ 1020 w 1157"/>
                <a:gd name="T9" fmla="*/ 417 h 1183"/>
                <a:gd name="T10" fmla="*/ 963 w 1157"/>
                <a:gd name="T11" fmla="*/ 475 h 1183"/>
                <a:gd name="T12" fmla="*/ 899 w 1157"/>
                <a:gd name="T13" fmla="*/ 537 h 1183"/>
                <a:gd name="T14" fmla="*/ 833 w 1157"/>
                <a:gd name="T15" fmla="*/ 603 h 1183"/>
                <a:gd name="T16" fmla="*/ 765 w 1157"/>
                <a:gd name="T17" fmla="*/ 670 h 1183"/>
                <a:gd name="T18" fmla="*/ 697 w 1157"/>
                <a:gd name="T19" fmla="*/ 736 h 1183"/>
                <a:gd name="T20" fmla="*/ 633 w 1157"/>
                <a:gd name="T21" fmla="*/ 798 h 1183"/>
                <a:gd name="T22" fmla="*/ 573 w 1157"/>
                <a:gd name="T23" fmla="*/ 855 h 1183"/>
                <a:gd name="T24" fmla="*/ 520 w 1157"/>
                <a:gd name="T25" fmla="*/ 904 h 1183"/>
                <a:gd name="T26" fmla="*/ 475 w 1157"/>
                <a:gd name="T27" fmla="*/ 945 h 1183"/>
                <a:gd name="T28" fmla="*/ 442 w 1157"/>
                <a:gd name="T29" fmla="*/ 973 h 1183"/>
                <a:gd name="T30" fmla="*/ 427 w 1157"/>
                <a:gd name="T31" fmla="*/ 983 h 1183"/>
                <a:gd name="T32" fmla="*/ 409 w 1157"/>
                <a:gd name="T33" fmla="*/ 995 h 1183"/>
                <a:gd name="T34" fmla="*/ 378 w 1157"/>
                <a:gd name="T35" fmla="*/ 1017 h 1183"/>
                <a:gd name="T36" fmla="*/ 336 w 1157"/>
                <a:gd name="T37" fmla="*/ 1042 h 1183"/>
                <a:gd name="T38" fmla="*/ 287 w 1157"/>
                <a:gd name="T39" fmla="*/ 1071 h 1183"/>
                <a:gd name="T40" fmla="*/ 234 w 1157"/>
                <a:gd name="T41" fmla="*/ 1099 h 1183"/>
                <a:gd name="T42" fmla="*/ 181 w 1157"/>
                <a:gd name="T43" fmla="*/ 1123 h 1183"/>
                <a:gd name="T44" fmla="*/ 129 w 1157"/>
                <a:gd name="T45" fmla="*/ 1139 h 1183"/>
                <a:gd name="T46" fmla="*/ 84 w 1157"/>
                <a:gd name="T47" fmla="*/ 1143 h 1183"/>
                <a:gd name="T48" fmla="*/ 78 w 1157"/>
                <a:gd name="T49" fmla="*/ 1144 h 1183"/>
                <a:gd name="T50" fmla="*/ 47 w 1157"/>
                <a:gd name="T51" fmla="*/ 1174 h 1183"/>
                <a:gd name="T52" fmla="*/ 27 w 1157"/>
                <a:gd name="T53" fmla="*/ 1183 h 1183"/>
                <a:gd name="T54" fmla="*/ 9 w 1157"/>
                <a:gd name="T55" fmla="*/ 1176 h 1183"/>
                <a:gd name="T56" fmla="*/ 0 w 1157"/>
                <a:gd name="T57" fmla="*/ 1157 h 1183"/>
                <a:gd name="T58" fmla="*/ 6 w 1157"/>
                <a:gd name="T59" fmla="*/ 1137 h 1183"/>
                <a:gd name="T60" fmla="*/ 29 w 1157"/>
                <a:gd name="T61" fmla="*/ 1091 h 1183"/>
                <a:gd name="T62" fmla="*/ 32 w 1157"/>
                <a:gd name="T63" fmla="*/ 1046 h 1183"/>
                <a:gd name="T64" fmla="*/ 46 w 1157"/>
                <a:gd name="T65" fmla="*/ 994 h 1183"/>
                <a:gd name="T66" fmla="*/ 68 w 1157"/>
                <a:gd name="T67" fmla="*/ 941 h 1183"/>
                <a:gd name="T68" fmla="*/ 93 w 1157"/>
                <a:gd name="T69" fmla="*/ 886 h 1183"/>
                <a:gd name="T70" fmla="*/ 120 w 1157"/>
                <a:gd name="T71" fmla="*/ 837 h 1183"/>
                <a:gd name="T72" fmla="*/ 146 w 1157"/>
                <a:gd name="T73" fmla="*/ 794 h 1183"/>
                <a:gd name="T74" fmla="*/ 167 w 1157"/>
                <a:gd name="T75" fmla="*/ 762 h 1183"/>
                <a:gd name="T76" fmla="*/ 177 w 1157"/>
                <a:gd name="T77" fmla="*/ 745 h 1183"/>
                <a:gd name="T78" fmla="*/ 188 w 1157"/>
                <a:gd name="T79" fmla="*/ 730 h 1183"/>
                <a:gd name="T80" fmla="*/ 215 w 1157"/>
                <a:gd name="T81" fmla="*/ 695 h 1183"/>
                <a:gd name="T82" fmla="*/ 254 w 1157"/>
                <a:gd name="T83" fmla="*/ 650 h 1183"/>
                <a:gd name="T84" fmla="*/ 302 w 1157"/>
                <a:gd name="T85" fmla="*/ 596 h 1183"/>
                <a:gd name="T86" fmla="*/ 358 w 1157"/>
                <a:gd name="T87" fmla="*/ 535 h 1183"/>
                <a:gd name="T88" fmla="*/ 419 w 1157"/>
                <a:gd name="T89" fmla="*/ 469 h 1183"/>
                <a:gd name="T90" fmla="*/ 484 w 1157"/>
                <a:gd name="T91" fmla="*/ 400 h 1183"/>
                <a:gd name="T92" fmla="*/ 549 w 1157"/>
                <a:gd name="T93" fmla="*/ 331 h 1183"/>
                <a:gd name="T94" fmla="*/ 614 w 1157"/>
                <a:gd name="T95" fmla="*/ 264 h 1183"/>
                <a:gd name="T96" fmla="*/ 675 w 1157"/>
                <a:gd name="T97" fmla="*/ 199 h 1183"/>
                <a:gd name="T98" fmla="*/ 732 w 1157"/>
                <a:gd name="T99" fmla="*/ 141 h 1183"/>
                <a:gd name="T100" fmla="*/ 781 w 1157"/>
                <a:gd name="T101" fmla="*/ 89 h 1183"/>
                <a:gd name="T102" fmla="*/ 821 w 1157"/>
                <a:gd name="T103" fmla="*/ 47 h 1183"/>
                <a:gd name="T104" fmla="*/ 850 w 1157"/>
                <a:gd name="T105" fmla="*/ 18 h 1183"/>
                <a:gd name="T106" fmla="*/ 865 w 1157"/>
                <a:gd name="T107" fmla="*/ 2 h 1183"/>
                <a:gd name="T108" fmla="*/ 1012 w 1157"/>
                <a:gd name="T109" fmla="*/ 137 h 1183"/>
                <a:gd name="T110" fmla="*/ 1020 w 1157"/>
                <a:gd name="T111" fmla="*/ 145 h 1183"/>
                <a:gd name="T112" fmla="*/ 1039 w 1157"/>
                <a:gd name="T113" fmla="*/ 162 h 1183"/>
                <a:gd name="T114" fmla="*/ 1064 w 1157"/>
                <a:gd name="T115" fmla="*/ 187 h 1183"/>
                <a:gd name="T116" fmla="*/ 1093 w 1157"/>
                <a:gd name="T117" fmla="*/ 214 h 1183"/>
                <a:gd name="T118" fmla="*/ 1121 w 1157"/>
                <a:gd name="T119" fmla="*/ 241 h 1183"/>
                <a:gd name="T120" fmla="*/ 1142 w 1157"/>
                <a:gd name="T121" fmla="*/ 264 h 1183"/>
                <a:gd name="T122" fmla="*/ 1155 w 1157"/>
                <a:gd name="T123" fmla="*/ 277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57" h="1183">
                  <a:moveTo>
                    <a:pt x="1157" y="278"/>
                  </a:moveTo>
                  <a:lnTo>
                    <a:pt x="1155" y="280"/>
                  </a:lnTo>
                  <a:lnTo>
                    <a:pt x="1150" y="286"/>
                  </a:lnTo>
                  <a:lnTo>
                    <a:pt x="1140" y="296"/>
                  </a:lnTo>
                  <a:lnTo>
                    <a:pt x="1127" y="309"/>
                  </a:lnTo>
                  <a:lnTo>
                    <a:pt x="1111" y="325"/>
                  </a:lnTo>
                  <a:lnTo>
                    <a:pt x="1092" y="344"/>
                  </a:lnTo>
                  <a:lnTo>
                    <a:pt x="1070" y="367"/>
                  </a:lnTo>
                  <a:lnTo>
                    <a:pt x="1047" y="390"/>
                  </a:lnTo>
                  <a:lnTo>
                    <a:pt x="1020" y="417"/>
                  </a:lnTo>
                  <a:lnTo>
                    <a:pt x="992" y="445"/>
                  </a:lnTo>
                  <a:lnTo>
                    <a:pt x="963" y="475"/>
                  </a:lnTo>
                  <a:lnTo>
                    <a:pt x="932" y="505"/>
                  </a:lnTo>
                  <a:lnTo>
                    <a:pt x="899" y="537"/>
                  </a:lnTo>
                  <a:lnTo>
                    <a:pt x="866" y="570"/>
                  </a:lnTo>
                  <a:lnTo>
                    <a:pt x="833" y="603"/>
                  </a:lnTo>
                  <a:lnTo>
                    <a:pt x="799" y="636"/>
                  </a:lnTo>
                  <a:lnTo>
                    <a:pt x="765" y="670"/>
                  </a:lnTo>
                  <a:lnTo>
                    <a:pt x="731" y="703"/>
                  </a:lnTo>
                  <a:lnTo>
                    <a:pt x="697" y="736"/>
                  </a:lnTo>
                  <a:lnTo>
                    <a:pt x="665" y="767"/>
                  </a:lnTo>
                  <a:lnTo>
                    <a:pt x="633" y="798"/>
                  </a:lnTo>
                  <a:lnTo>
                    <a:pt x="603" y="827"/>
                  </a:lnTo>
                  <a:lnTo>
                    <a:pt x="573" y="855"/>
                  </a:lnTo>
                  <a:lnTo>
                    <a:pt x="546" y="881"/>
                  </a:lnTo>
                  <a:lnTo>
                    <a:pt x="520" y="904"/>
                  </a:lnTo>
                  <a:lnTo>
                    <a:pt x="496" y="926"/>
                  </a:lnTo>
                  <a:lnTo>
                    <a:pt x="475" y="945"/>
                  </a:lnTo>
                  <a:lnTo>
                    <a:pt x="457" y="960"/>
                  </a:lnTo>
                  <a:lnTo>
                    <a:pt x="442" y="973"/>
                  </a:lnTo>
                  <a:lnTo>
                    <a:pt x="429" y="981"/>
                  </a:lnTo>
                  <a:lnTo>
                    <a:pt x="427" y="983"/>
                  </a:lnTo>
                  <a:lnTo>
                    <a:pt x="420" y="988"/>
                  </a:lnTo>
                  <a:lnTo>
                    <a:pt x="409" y="995"/>
                  </a:lnTo>
                  <a:lnTo>
                    <a:pt x="395" y="1005"/>
                  </a:lnTo>
                  <a:lnTo>
                    <a:pt x="378" y="1017"/>
                  </a:lnTo>
                  <a:lnTo>
                    <a:pt x="359" y="1029"/>
                  </a:lnTo>
                  <a:lnTo>
                    <a:pt x="336" y="1042"/>
                  </a:lnTo>
                  <a:lnTo>
                    <a:pt x="313" y="1057"/>
                  </a:lnTo>
                  <a:lnTo>
                    <a:pt x="287" y="1071"/>
                  </a:lnTo>
                  <a:lnTo>
                    <a:pt x="261" y="1086"/>
                  </a:lnTo>
                  <a:lnTo>
                    <a:pt x="234" y="1099"/>
                  </a:lnTo>
                  <a:lnTo>
                    <a:pt x="207" y="1112"/>
                  </a:lnTo>
                  <a:lnTo>
                    <a:pt x="181" y="1123"/>
                  </a:lnTo>
                  <a:lnTo>
                    <a:pt x="155" y="1131"/>
                  </a:lnTo>
                  <a:lnTo>
                    <a:pt x="129" y="1139"/>
                  </a:lnTo>
                  <a:lnTo>
                    <a:pt x="105" y="1142"/>
                  </a:lnTo>
                  <a:lnTo>
                    <a:pt x="84" y="1143"/>
                  </a:lnTo>
                  <a:lnTo>
                    <a:pt x="82" y="1144"/>
                  </a:lnTo>
                  <a:lnTo>
                    <a:pt x="78" y="1144"/>
                  </a:lnTo>
                  <a:lnTo>
                    <a:pt x="76" y="1144"/>
                  </a:lnTo>
                  <a:lnTo>
                    <a:pt x="47" y="1174"/>
                  </a:lnTo>
                  <a:lnTo>
                    <a:pt x="38" y="1180"/>
                  </a:lnTo>
                  <a:lnTo>
                    <a:pt x="27" y="1183"/>
                  </a:lnTo>
                  <a:lnTo>
                    <a:pt x="17" y="1182"/>
                  </a:lnTo>
                  <a:lnTo>
                    <a:pt x="9" y="1176"/>
                  </a:lnTo>
                  <a:lnTo>
                    <a:pt x="2" y="1167"/>
                  </a:lnTo>
                  <a:lnTo>
                    <a:pt x="0" y="1157"/>
                  </a:lnTo>
                  <a:lnTo>
                    <a:pt x="1" y="1146"/>
                  </a:lnTo>
                  <a:lnTo>
                    <a:pt x="6" y="1137"/>
                  </a:lnTo>
                  <a:lnTo>
                    <a:pt x="33" y="1109"/>
                  </a:lnTo>
                  <a:lnTo>
                    <a:pt x="29" y="1091"/>
                  </a:lnTo>
                  <a:lnTo>
                    <a:pt x="29" y="1069"/>
                  </a:lnTo>
                  <a:lnTo>
                    <a:pt x="32" y="1046"/>
                  </a:lnTo>
                  <a:lnTo>
                    <a:pt x="38" y="1021"/>
                  </a:lnTo>
                  <a:lnTo>
                    <a:pt x="46" y="994"/>
                  </a:lnTo>
                  <a:lnTo>
                    <a:pt x="56" y="967"/>
                  </a:lnTo>
                  <a:lnTo>
                    <a:pt x="68" y="941"/>
                  </a:lnTo>
                  <a:lnTo>
                    <a:pt x="81" y="913"/>
                  </a:lnTo>
                  <a:lnTo>
                    <a:pt x="93" y="886"/>
                  </a:lnTo>
                  <a:lnTo>
                    <a:pt x="107" y="860"/>
                  </a:lnTo>
                  <a:lnTo>
                    <a:pt x="120" y="837"/>
                  </a:lnTo>
                  <a:lnTo>
                    <a:pt x="134" y="814"/>
                  </a:lnTo>
                  <a:lnTo>
                    <a:pt x="146" y="794"/>
                  </a:lnTo>
                  <a:lnTo>
                    <a:pt x="157" y="777"/>
                  </a:lnTo>
                  <a:lnTo>
                    <a:pt x="167" y="762"/>
                  </a:lnTo>
                  <a:lnTo>
                    <a:pt x="173" y="751"/>
                  </a:lnTo>
                  <a:lnTo>
                    <a:pt x="177" y="745"/>
                  </a:lnTo>
                  <a:lnTo>
                    <a:pt x="179" y="742"/>
                  </a:lnTo>
                  <a:lnTo>
                    <a:pt x="188" y="730"/>
                  </a:lnTo>
                  <a:lnTo>
                    <a:pt x="200" y="715"/>
                  </a:lnTo>
                  <a:lnTo>
                    <a:pt x="215" y="695"/>
                  </a:lnTo>
                  <a:lnTo>
                    <a:pt x="233" y="674"/>
                  </a:lnTo>
                  <a:lnTo>
                    <a:pt x="254" y="650"/>
                  </a:lnTo>
                  <a:lnTo>
                    <a:pt x="277" y="624"/>
                  </a:lnTo>
                  <a:lnTo>
                    <a:pt x="302" y="596"/>
                  </a:lnTo>
                  <a:lnTo>
                    <a:pt x="329" y="566"/>
                  </a:lnTo>
                  <a:lnTo>
                    <a:pt x="358" y="535"/>
                  </a:lnTo>
                  <a:lnTo>
                    <a:pt x="388" y="503"/>
                  </a:lnTo>
                  <a:lnTo>
                    <a:pt x="419" y="469"/>
                  </a:lnTo>
                  <a:lnTo>
                    <a:pt x="451" y="435"/>
                  </a:lnTo>
                  <a:lnTo>
                    <a:pt x="484" y="400"/>
                  </a:lnTo>
                  <a:lnTo>
                    <a:pt x="516" y="365"/>
                  </a:lnTo>
                  <a:lnTo>
                    <a:pt x="549" y="331"/>
                  </a:lnTo>
                  <a:lnTo>
                    <a:pt x="581" y="297"/>
                  </a:lnTo>
                  <a:lnTo>
                    <a:pt x="614" y="264"/>
                  </a:lnTo>
                  <a:lnTo>
                    <a:pt x="645" y="230"/>
                  </a:lnTo>
                  <a:lnTo>
                    <a:pt x="675" y="199"/>
                  </a:lnTo>
                  <a:lnTo>
                    <a:pt x="704" y="168"/>
                  </a:lnTo>
                  <a:lnTo>
                    <a:pt x="732" y="141"/>
                  </a:lnTo>
                  <a:lnTo>
                    <a:pt x="758" y="114"/>
                  </a:lnTo>
                  <a:lnTo>
                    <a:pt x="781" y="89"/>
                  </a:lnTo>
                  <a:lnTo>
                    <a:pt x="803" y="68"/>
                  </a:lnTo>
                  <a:lnTo>
                    <a:pt x="821" y="47"/>
                  </a:lnTo>
                  <a:lnTo>
                    <a:pt x="837" y="31"/>
                  </a:lnTo>
                  <a:lnTo>
                    <a:pt x="850" y="18"/>
                  </a:lnTo>
                  <a:lnTo>
                    <a:pt x="860" y="9"/>
                  </a:lnTo>
                  <a:lnTo>
                    <a:pt x="865" y="2"/>
                  </a:lnTo>
                  <a:lnTo>
                    <a:pt x="867" y="0"/>
                  </a:lnTo>
                  <a:lnTo>
                    <a:pt x="1012" y="137"/>
                  </a:lnTo>
                  <a:lnTo>
                    <a:pt x="1014" y="139"/>
                  </a:lnTo>
                  <a:lnTo>
                    <a:pt x="1020" y="145"/>
                  </a:lnTo>
                  <a:lnTo>
                    <a:pt x="1028" y="152"/>
                  </a:lnTo>
                  <a:lnTo>
                    <a:pt x="1039" y="162"/>
                  </a:lnTo>
                  <a:lnTo>
                    <a:pt x="1051" y="174"/>
                  </a:lnTo>
                  <a:lnTo>
                    <a:pt x="1064" y="187"/>
                  </a:lnTo>
                  <a:lnTo>
                    <a:pt x="1079" y="201"/>
                  </a:lnTo>
                  <a:lnTo>
                    <a:pt x="1093" y="214"/>
                  </a:lnTo>
                  <a:lnTo>
                    <a:pt x="1107" y="228"/>
                  </a:lnTo>
                  <a:lnTo>
                    <a:pt x="1121" y="241"/>
                  </a:lnTo>
                  <a:lnTo>
                    <a:pt x="1133" y="253"/>
                  </a:lnTo>
                  <a:lnTo>
                    <a:pt x="1142" y="264"/>
                  </a:lnTo>
                  <a:lnTo>
                    <a:pt x="1151" y="271"/>
                  </a:lnTo>
                  <a:lnTo>
                    <a:pt x="1155" y="277"/>
                  </a:lnTo>
                  <a:lnTo>
                    <a:pt x="1157" y="2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" name="Group 21"/>
          <p:cNvGrpSpPr>
            <a:grpSpLocks noChangeAspect="1"/>
          </p:cNvGrpSpPr>
          <p:nvPr/>
        </p:nvGrpSpPr>
        <p:grpSpPr bwMode="auto">
          <a:xfrm>
            <a:off x="843703" y="2923581"/>
            <a:ext cx="510202" cy="508511"/>
            <a:chOff x="-425" y="2418"/>
            <a:chExt cx="302" cy="301"/>
          </a:xfrm>
          <a:solidFill>
            <a:srgbClr val="00569B"/>
          </a:solidFill>
        </p:grpSpPr>
        <p:sp>
          <p:nvSpPr>
            <p:cNvPr id="28" name="Freeform 23"/>
            <p:cNvSpPr>
              <a:spLocks/>
            </p:cNvSpPr>
            <p:nvPr/>
          </p:nvSpPr>
          <p:spPr bwMode="auto">
            <a:xfrm>
              <a:off x="-373" y="2472"/>
              <a:ext cx="130" cy="27"/>
            </a:xfrm>
            <a:custGeom>
              <a:avLst/>
              <a:gdLst>
                <a:gd name="T0" fmla="*/ 151 w 1438"/>
                <a:gd name="T1" fmla="*/ 0 h 302"/>
                <a:gd name="T2" fmla="*/ 1287 w 1438"/>
                <a:gd name="T3" fmla="*/ 0 h 302"/>
                <a:gd name="T4" fmla="*/ 1318 w 1438"/>
                <a:gd name="T5" fmla="*/ 3 h 302"/>
                <a:gd name="T6" fmla="*/ 1346 w 1438"/>
                <a:gd name="T7" fmla="*/ 12 h 302"/>
                <a:gd name="T8" fmla="*/ 1372 w 1438"/>
                <a:gd name="T9" fmla="*/ 26 h 302"/>
                <a:gd name="T10" fmla="*/ 1394 w 1438"/>
                <a:gd name="T11" fmla="*/ 45 h 302"/>
                <a:gd name="T12" fmla="*/ 1413 w 1438"/>
                <a:gd name="T13" fmla="*/ 67 h 302"/>
                <a:gd name="T14" fmla="*/ 1426 w 1438"/>
                <a:gd name="T15" fmla="*/ 93 h 302"/>
                <a:gd name="T16" fmla="*/ 1435 w 1438"/>
                <a:gd name="T17" fmla="*/ 121 h 302"/>
                <a:gd name="T18" fmla="*/ 1438 w 1438"/>
                <a:gd name="T19" fmla="*/ 151 h 302"/>
                <a:gd name="T20" fmla="*/ 1435 w 1438"/>
                <a:gd name="T21" fmla="*/ 181 h 302"/>
                <a:gd name="T22" fmla="*/ 1426 w 1438"/>
                <a:gd name="T23" fmla="*/ 209 h 302"/>
                <a:gd name="T24" fmla="*/ 1413 w 1438"/>
                <a:gd name="T25" fmla="*/ 235 h 302"/>
                <a:gd name="T26" fmla="*/ 1394 w 1438"/>
                <a:gd name="T27" fmla="*/ 257 h 302"/>
                <a:gd name="T28" fmla="*/ 1372 w 1438"/>
                <a:gd name="T29" fmla="*/ 276 h 302"/>
                <a:gd name="T30" fmla="*/ 1346 w 1438"/>
                <a:gd name="T31" fmla="*/ 289 h 302"/>
                <a:gd name="T32" fmla="*/ 1318 w 1438"/>
                <a:gd name="T33" fmla="*/ 298 h 302"/>
                <a:gd name="T34" fmla="*/ 1287 w 1438"/>
                <a:gd name="T35" fmla="*/ 302 h 302"/>
                <a:gd name="T36" fmla="*/ 151 w 1438"/>
                <a:gd name="T37" fmla="*/ 302 h 302"/>
                <a:gd name="T38" fmla="*/ 121 w 1438"/>
                <a:gd name="T39" fmla="*/ 298 h 302"/>
                <a:gd name="T40" fmla="*/ 93 w 1438"/>
                <a:gd name="T41" fmla="*/ 289 h 302"/>
                <a:gd name="T42" fmla="*/ 66 w 1438"/>
                <a:gd name="T43" fmla="*/ 276 h 302"/>
                <a:gd name="T44" fmla="*/ 44 w 1438"/>
                <a:gd name="T45" fmla="*/ 257 h 302"/>
                <a:gd name="T46" fmla="*/ 26 w 1438"/>
                <a:gd name="T47" fmla="*/ 235 h 302"/>
                <a:gd name="T48" fmla="*/ 12 w 1438"/>
                <a:gd name="T49" fmla="*/ 209 h 302"/>
                <a:gd name="T50" fmla="*/ 4 w 1438"/>
                <a:gd name="T51" fmla="*/ 181 h 302"/>
                <a:gd name="T52" fmla="*/ 0 w 1438"/>
                <a:gd name="T53" fmla="*/ 151 h 302"/>
                <a:gd name="T54" fmla="*/ 4 w 1438"/>
                <a:gd name="T55" fmla="*/ 121 h 302"/>
                <a:gd name="T56" fmla="*/ 12 w 1438"/>
                <a:gd name="T57" fmla="*/ 93 h 302"/>
                <a:gd name="T58" fmla="*/ 26 w 1438"/>
                <a:gd name="T59" fmla="*/ 67 h 302"/>
                <a:gd name="T60" fmla="*/ 44 w 1438"/>
                <a:gd name="T61" fmla="*/ 45 h 302"/>
                <a:gd name="T62" fmla="*/ 66 w 1438"/>
                <a:gd name="T63" fmla="*/ 26 h 302"/>
                <a:gd name="T64" fmla="*/ 93 w 1438"/>
                <a:gd name="T65" fmla="*/ 12 h 302"/>
                <a:gd name="T66" fmla="*/ 121 w 1438"/>
                <a:gd name="T67" fmla="*/ 3 h 302"/>
                <a:gd name="T68" fmla="*/ 151 w 1438"/>
                <a:gd name="T6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8" h="302">
                  <a:moveTo>
                    <a:pt x="151" y="0"/>
                  </a:moveTo>
                  <a:lnTo>
                    <a:pt x="1287" y="0"/>
                  </a:lnTo>
                  <a:lnTo>
                    <a:pt x="1318" y="3"/>
                  </a:lnTo>
                  <a:lnTo>
                    <a:pt x="1346" y="12"/>
                  </a:lnTo>
                  <a:lnTo>
                    <a:pt x="1372" y="26"/>
                  </a:lnTo>
                  <a:lnTo>
                    <a:pt x="1394" y="45"/>
                  </a:lnTo>
                  <a:lnTo>
                    <a:pt x="1413" y="67"/>
                  </a:lnTo>
                  <a:lnTo>
                    <a:pt x="1426" y="93"/>
                  </a:lnTo>
                  <a:lnTo>
                    <a:pt x="1435" y="121"/>
                  </a:lnTo>
                  <a:lnTo>
                    <a:pt x="1438" y="151"/>
                  </a:lnTo>
                  <a:lnTo>
                    <a:pt x="1435" y="181"/>
                  </a:lnTo>
                  <a:lnTo>
                    <a:pt x="1426" y="209"/>
                  </a:lnTo>
                  <a:lnTo>
                    <a:pt x="1413" y="235"/>
                  </a:lnTo>
                  <a:lnTo>
                    <a:pt x="1394" y="257"/>
                  </a:lnTo>
                  <a:lnTo>
                    <a:pt x="1372" y="276"/>
                  </a:lnTo>
                  <a:lnTo>
                    <a:pt x="1346" y="289"/>
                  </a:lnTo>
                  <a:lnTo>
                    <a:pt x="1318" y="298"/>
                  </a:lnTo>
                  <a:lnTo>
                    <a:pt x="1287" y="302"/>
                  </a:lnTo>
                  <a:lnTo>
                    <a:pt x="151" y="302"/>
                  </a:lnTo>
                  <a:lnTo>
                    <a:pt x="121" y="298"/>
                  </a:lnTo>
                  <a:lnTo>
                    <a:pt x="93" y="289"/>
                  </a:lnTo>
                  <a:lnTo>
                    <a:pt x="66" y="276"/>
                  </a:lnTo>
                  <a:lnTo>
                    <a:pt x="44" y="257"/>
                  </a:lnTo>
                  <a:lnTo>
                    <a:pt x="26" y="235"/>
                  </a:lnTo>
                  <a:lnTo>
                    <a:pt x="12" y="209"/>
                  </a:lnTo>
                  <a:lnTo>
                    <a:pt x="4" y="181"/>
                  </a:lnTo>
                  <a:lnTo>
                    <a:pt x="0" y="151"/>
                  </a:lnTo>
                  <a:lnTo>
                    <a:pt x="4" y="121"/>
                  </a:lnTo>
                  <a:lnTo>
                    <a:pt x="12" y="93"/>
                  </a:lnTo>
                  <a:lnTo>
                    <a:pt x="26" y="67"/>
                  </a:lnTo>
                  <a:lnTo>
                    <a:pt x="44" y="45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auto">
            <a:xfrm>
              <a:off x="-373" y="2523"/>
              <a:ext cx="130" cy="27"/>
            </a:xfrm>
            <a:custGeom>
              <a:avLst/>
              <a:gdLst>
                <a:gd name="T0" fmla="*/ 151 w 1438"/>
                <a:gd name="T1" fmla="*/ 0 h 301"/>
                <a:gd name="T2" fmla="*/ 1287 w 1438"/>
                <a:gd name="T3" fmla="*/ 0 h 301"/>
                <a:gd name="T4" fmla="*/ 1318 w 1438"/>
                <a:gd name="T5" fmla="*/ 3 h 301"/>
                <a:gd name="T6" fmla="*/ 1346 w 1438"/>
                <a:gd name="T7" fmla="*/ 12 h 301"/>
                <a:gd name="T8" fmla="*/ 1372 w 1438"/>
                <a:gd name="T9" fmla="*/ 26 h 301"/>
                <a:gd name="T10" fmla="*/ 1394 w 1438"/>
                <a:gd name="T11" fmla="*/ 44 h 301"/>
                <a:gd name="T12" fmla="*/ 1413 w 1438"/>
                <a:gd name="T13" fmla="*/ 66 h 301"/>
                <a:gd name="T14" fmla="*/ 1426 w 1438"/>
                <a:gd name="T15" fmla="*/ 92 h 301"/>
                <a:gd name="T16" fmla="*/ 1435 w 1438"/>
                <a:gd name="T17" fmla="*/ 120 h 301"/>
                <a:gd name="T18" fmla="*/ 1438 w 1438"/>
                <a:gd name="T19" fmla="*/ 150 h 301"/>
                <a:gd name="T20" fmla="*/ 1435 w 1438"/>
                <a:gd name="T21" fmla="*/ 181 h 301"/>
                <a:gd name="T22" fmla="*/ 1426 w 1438"/>
                <a:gd name="T23" fmla="*/ 210 h 301"/>
                <a:gd name="T24" fmla="*/ 1413 w 1438"/>
                <a:gd name="T25" fmla="*/ 235 h 301"/>
                <a:gd name="T26" fmla="*/ 1394 w 1438"/>
                <a:gd name="T27" fmla="*/ 258 h 301"/>
                <a:gd name="T28" fmla="*/ 1372 w 1438"/>
                <a:gd name="T29" fmla="*/ 275 h 301"/>
                <a:gd name="T30" fmla="*/ 1346 w 1438"/>
                <a:gd name="T31" fmla="*/ 290 h 301"/>
                <a:gd name="T32" fmla="*/ 1318 w 1438"/>
                <a:gd name="T33" fmla="*/ 298 h 301"/>
                <a:gd name="T34" fmla="*/ 1287 w 1438"/>
                <a:gd name="T35" fmla="*/ 301 h 301"/>
                <a:gd name="T36" fmla="*/ 151 w 1438"/>
                <a:gd name="T37" fmla="*/ 301 h 301"/>
                <a:gd name="T38" fmla="*/ 121 w 1438"/>
                <a:gd name="T39" fmla="*/ 298 h 301"/>
                <a:gd name="T40" fmla="*/ 93 w 1438"/>
                <a:gd name="T41" fmla="*/ 290 h 301"/>
                <a:gd name="T42" fmla="*/ 66 w 1438"/>
                <a:gd name="T43" fmla="*/ 275 h 301"/>
                <a:gd name="T44" fmla="*/ 44 w 1438"/>
                <a:gd name="T45" fmla="*/ 258 h 301"/>
                <a:gd name="T46" fmla="*/ 26 w 1438"/>
                <a:gd name="T47" fmla="*/ 235 h 301"/>
                <a:gd name="T48" fmla="*/ 12 w 1438"/>
                <a:gd name="T49" fmla="*/ 210 h 301"/>
                <a:gd name="T50" fmla="*/ 4 w 1438"/>
                <a:gd name="T51" fmla="*/ 181 h 301"/>
                <a:gd name="T52" fmla="*/ 0 w 1438"/>
                <a:gd name="T53" fmla="*/ 150 h 301"/>
                <a:gd name="T54" fmla="*/ 4 w 1438"/>
                <a:gd name="T55" fmla="*/ 120 h 301"/>
                <a:gd name="T56" fmla="*/ 12 w 1438"/>
                <a:gd name="T57" fmla="*/ 92 h 301"/>
                <a:gd name="T58" fmla="*/ 26 w 1438"/>
                <a:gd name="T59" fmla="*/ 66 h 301"/>
                <a:gd name="T60" fmla="*/ 44 w 1438"/>
                <a:gd name="T61" fmla="*/ 44 h 301"/>
                <a:gd name="T62" fmla="*/ 66 w 1438"/>
                <a:gd name="T63" fmla="*/ 26 h 301"/>
                <a:gd name="T64" fmla="*/ 93 w 1438"/>
                <a:gd name="T65" fmla="*/ 12 h 301"/>
                <a:gd name="T66" fmla="*/ 121 w 1438"/>
                <a:gd name="T67" fmla="*/ 3 h 301"/>
                <a:gd name="T68" fmla="*/ 151 w 1438"/>
                <a:gd name="T6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8" h="301">
                  <a:moveTo>
                    <a:pt x="151" y="0"/>
                  </a:moveTo>
                  <a:lnTo>
                    <a:pt x="1287" y="0"/>
                  </a:lnTo>
                  <a:lnTo>
                    <a:pt x="1318" y="3"/>
                  </a:lnTo>
                  <a:lnTo>
                    <a:pt x="1346" y="12"/>
                  </a:lnTo>
                  <a:lnTo>
                    <a:pt x="1372" y="26"/>
                  </a:lnTo>
                  <a:lnTo>
                    <a:pt x="1394" y="44"/>
                  </a:lnTo>
                  <a:lnTo>
                    <a:pt x="1413" y="66"/>
                  </a:lnTo>
                  <a:lnTo>
                    <a:pt x="1426" y="92"/>
                  </a:lnTo>
                  <a:lnTo>
                    <a:pt x="1435" y="120"/>
                  </a:lnTo>
                  <a:lnTo>
                    <a:pt x="1438" y="150"/>
                  </a:lnTo>
                  <a:lnTo>
                    <a:pt x="1435" y="181"/>
                  </a:lnTo>
                  <a:lnTo>
                    <a:pt x="1426" y="210"/>
                  </a:lnTo>
                  <a:lnTo>
                    <a:pt x="1413" y="235"/>
                  </a:lnTo>
                  <a:lnTo>
                    <a:pt x="1394" y="258"/>
                  </a:lnTo>
                  <a:lnTo>
                    <a:pt x="1372" y="275"/>
                  </a:lnTo>
                  <a:lnTo>
                    <a:pt x="1346" y="290"/>
                  </a:lnTo>
                  <a:lnTo>
                    <a:pt x="1318" y="298"/>
                  </a:lnTo>
                  <a:lnTo>
                    <a:pt x="1287" y="301"/>
                  </a:lnTo>
                  <a:lnTo>
                    <a:pt x="151" y="301"/>
                  </a:lnTo>
                  <a:lnTo>
                    <a:pt x="121" y="298"/>
                  </a:lnTo>
                  <a:lnTo>
                    <a:pt x="93" y="290"/>
                  </a:lnTo>
                  <a:lnTo>
                    <a:pt x="66" y="275"/>
                  </a:lnTo>
                  <a:lnTo>
                    <a:pt x="44" y="258"/>
                  </a:lnTo>
                  <a:lnTo>
                    <a:pt x="26" y="235"/>
                  </a:lnTo>
                  <a:lnTo>
                    <a:pt x="12" y="210"/>
                  </a:lnTo>
                  <a:lnTo>
                    <a:pt x="4" y="181"/>
                  </a:lnTo>
                  <a:lnTo>
                    <a:pt x="0" y="150"/>
                  </a:lnTo>
                  <a:lnTo>
                    <a:pt x="4" y="120"/>
                  </a:lnTo>
                  <a:lnTo>
                    <a:pt x="12" y="92"/>
                  </a:lnTo>
                  <a:lnTo>
                    <a:pt x="26" y="66"/>
                  </a:lnTo>
                  <a:lnTo>
                    <a:pt x="44" y="44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5"/>
            <p:cNvSpPr>
              <a:spLocks/>
            </p:cNvSpPr>
            <p:nvPr/>
          </p:nvSpPr>
          <p:spPr bwMode="auto">
            <a:xfrm>
              <a:off x="-373" y="2574"/>
              <a:ext cx="79" cy="28"/>
            </a:xfrm>
            <a:custGeom>
              <a:avLst/>
              <a:gdLst>
                <a:gd name="T0" fmla="*/ 151 w 870"/>
                <a:gd name="T1" fmla="*/ 0 h 301"/>
                <a:gd name="T2" fmla="*/ 720 w 870"/>
                <a:gd name="T3" fmla="*/ 0 h 301"/>
                <a:gd name="T4" fmla="*/ 750 w 870"/>
                <a:gd name="T5" fmla="*/ 4 h 301"/>
                <a:gd name="T6" fmla="*/ 778 w 870"/>
                <a:gd name="T7" fmla="*/ 12 h 301"/>
                <a:gd name="T8" fmla="*/ 805 w 870"/>
                <a:gd name="T9" fmla="*/ 26 h 301"/>
                <a:gd name="T10" fmla="*/ 827 w 870"/>
                <a:gd name="T11" fmla="*/ 44 h 301"/>
                <a:gd name="T12" fmla="*/ 845 w 870"/>
                <a:gd name="T13" fmla="*/ 67 h 301"/>
                <a:gd name="T14" fmla="*/ 859 w 870"/>
                <a:gd name="T15" fmla="*/ 92 h 301"/>
                <a:gd name="T16" fmla="*/ 867 w 870"/>
                <a:gd name="T17" fmla="*/ 120 h 301"/>
                <a:gd name="T18" fmla="*/ 870 w 870"/>
                <a:gd name="T19" fmla="*/ 151 h 301"/>
                <a:gd name="T20" fmla="*/ 867 w 870"/>
                <a:gd name="T21" fmla="*/ 181 h 301"/>
                <a:gd name="T22" fmla="*/ 859 w 870"/>
                <a:gd name="T23" fmla="*/ 209 h 301"/>
                <a:gd name="T24" fmla="*/ 845 w 870"/>
                <a:gd name="T25" fmla="*/ 234 h 301"/>
                <a:gd name="T26" fmla="*/ 827 w 870"/>
                <a:gd name="T27" fmla="*/ 257 h 301"/>
                <a:gd name="T28" fmla="*/ 805 w 870"/>
                <a:gd name="T29" fmla="*/ 275 h 301"/>
                <a:gd name="T30" fmla="*/ 778 w 870"/>
                <a:gd name="T31" fmla="*/ 290 h 301"/>
                <a:gd name="T32" fmla="*/ 750 w 870"/>
                <a:gd name="T33" fmla="*/ 298 h 301"/>
                <a:gd name="T34" fmla="*/ 720 w 870"/>
                <a:gd name="T35" fmla="*/ 301 h 301"/>
                <a:gd name="T36" fmla="*/ 151 w 870"/>
                <a:gd name="T37" fmla="*/ 301 h 301"/>
                <a:gd name="T38" fmla="*/ 121 w 870"/>
                <a:gd name="T39" fmla="*/ 298 h 301"/>
                <a:gd name="T40" fmla="*/ 93 w 870"/>
                <a:gd name="T41" fmla="*/ 290 h 301"/>
                <a:gd name="T42" fmla="*/ 66 w 870"/>
                <a:gd name="T43" fmla="*/ 275 h 301"/>
                <a:gd name="T44" fmla="*/ 44 w 870"/>
                <a:gd name="T45" fmla="*/ 257 h 301"/>
                <a:gd name="T46" fmla="*/ 26 w 870"/>
                <a:gd name="T47" fmla="*/ 234 h 301"/>
                <a:gd name="T48" fmla="*/ 12 w 870"/>
                <a:gd name="T49" fmla="*/ 209 h 301"/>
                <a:gd name="T50" fmla="*/ 4 w 870"/>
                <a:gd name="T51" fmla="*/ 181 h 301"/>
                <a:gd name="T52" fmla="*/ 0 w 870"/>
                <a:gd name="T53" fmla="*/ 151 h 301"/>
                <a:gd name="T54" fmla="*/ 4 w 870"/>
                <a:gd name="T55" fmla="*/ 120 h 301"/>
                <a:gd name="T56" fmla="*/ 12 w 870"/>
                <a:gd name="T57" fmla="*/ 92 h 301"/>
                <a:gd name="T58" fmla="*/ 26 w 870"/>
                <a:gd name="T59" fmla="*/ 67 h 301"/>
                <a:gd name="T60" fmla="*/ 44 w 870"/>
                <a:gd name="T61" fmla="*/ 44 h 301"/>
                <a:gd name="T62" fmla="*/ 66 w 870"/>
                <a:gd name="T63" fmla="*/ 26 h 301"/>
                <a:gd name="T64" fmla="*/ 93 w 870"/>
                <a:gd name="T65" fmla="*/ 12 h 301"/>
                <a:gd name="T66" fmla="*/ 121 w 870"/>
                <a:gd name="T67" fmla="*/ 4 h 301"/>
                <a:gd name="T68" fmla="*/ 151 w 870"/>
                <a:gd name="T6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0" h="301">
                  <a:moveTo>
                    <a:pt x="151" y="0"/>
                  </a:moveTo>
                  <a:lnTo>
                    <a:pt x="720" y="0"/>
                  </a:lnTo>
                  <a:lnTo>
                    <a:pt x="750" y="4"/>
                  </a:lnTo>
                  <a:lnTo>
                    <a:pt x="778" y="12"/>
                  </a:lnTo>
                  <a:lnTo>
                    <a:pt x="805" y="26"/>
                  </a:lnTo>
                  <a:lnTo>
                    <a:pt x="827" y="44"/>
                  </a:lnTo>
                  <a:lnTo>
                    <a:pt x="845" y="67"/>
                  </a:lnTo>
                  <a:lnTo>
                    <a:pt x="859" y="92"/>
                  </a:lnTo>
                  <a:lnTo>
                    <a:pt x="867" y="120"/>
                  </a:lnTo>
                  <a:lnTo>
                    <a:pt x="870" y="151"/>
                  </a:lnTo>
                  <a:lnTo>
                    <a:pt x="867" y="181"/>
                  </a:lnTo>
                  <a:lnTo>
                    <a:pt x="859" y="209"/>
                  </a:lnTo>
                  <a:lnTo>
                    <a:pt x="845" y="234"/>
                  </a:lnTo>
                  <a:lnTo>
                    <a:pt x="827" y="257"/>
                  </a:lnTo>
                  <a:lnTo>
                    <a:pt x="805" y="275"/>
                  </a:lnTo>
                  <a:lnTo>
                    <a:pt x="778" y="290"/>
                  </a:lnTo>
                  <a:lnTo>
                    <a:pt x="750" y="298"/>
                  </a:lnTo>
                  <a:lnTo>
                    <a:pt x="720" y="301"/>
                  </a:lnTo>
                  <a:lnTo>
                    <a:pt x="151" y="301"/>
                  </a:lnTo>
                  <a:lnTo>
                    <a:pt x="121" y="298"/>
                  </a:lnTo>
                  <a:lnTo>
                    <a:pt x="93" y="290"/>
                  </a:lnTo>
                  <a:lnTo>
                    <a:pt x="66" y="275"/>
                  </a:lnTo>
                  <a:lnTo>
                    <a:pt x="44" y="257"/>
                  </a:lnTo>
                  <a:lnTo>
                    <a:pt x="26" y="234"/>
                  </a:lnTo>
                  <a:lnTo>
                    <a:pt x="12" y="209"/>
                  </a:lnTo>
                  <a:lnTo>
                    <a:pt x="4" y="181"/>
                  </a:lnTo>
                  <a:lnTo>
                    <a:pt x="0" y="151"/>
                  </a:lnTo>
                  <a:lnTo>
                    <a:pt x="4" y="120"/>
                  </a:lnTo>
                  <a:lnTo>
                    <a:pt x="12" y="92"/>
                  </a:lnTo>
                  <a:lnTo>
                    <a:pt x="26" y="67"/>
                  </a:lnTo>
                  <a:lnTo>
                    <a:pt x="44" y="44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4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6"/>
            <p:cNvSpPr>
              <a:spLocks/>
            </p:cNvSpPr>
            <p:nvPr/>
          </p:nvSpPr>
          <p:spPr bwMode="auto">
            <a:xfrm>
              <a:off x="-425" y="2418"/>
              <a:ext cx="234" cy="301"/>
            </a:xfrm>
            <a:custGeom>
              <a:avLst/>
              <a:gdLst>
                <a:gd name="T0" fmla="*/ 152 w 2574"/>
                <a:gd name="T1" fmla="*/ 0 h 3310"/>
                <a:gd name="T2" fmla="*/ 2423 w 2574"/>
                <a:gd name="T3" fmla="*/ 0 h 3310"/>
                <a:gd name="T4" fmla="*/ 2453 w 2574"/>
                <a:gd name="T5" fmla="*/ 3 h 3310"/>
                <a:gd name="T6" fmla="*/ 2481 w 2574"/>
                <a:gd name="T7" fmla="*/ 12 h 3310"/>
                <a:gd name="T8" fmla="*/ 2507 w 2574"/>
                <a:gd name="T9" fmla="*/ 26 h 3310"/>
                <a:gd name="T10" fmla="*/ 2529 w 2574"/>
                <a:gd name="T11" fmla="*/ 44 h 3310"/>
                <a:gd name="T12" fmla="*/ 2548 w 2574"/>
                <a:gd name="T13" fmla="*/ 67 h 3310"/>
                <a:gd name="T14" fmla="*/ 2562 w 2574"/>
                <a:gd name="T15" fmla="*/ 92 h 3310"/>
                <a:gd name="T16" fmla="*/ 2571 w 2574"/>
                <a:gd name="T17" fmla="*/ 120 h 3310"/>
                <a:gd name="T18" fmla="*/ 2574 w 2574"/>
                <a:gd name="T19" fmla="*/ 150 h 3310"/>
                <a:gd name="T20" fmla="*/ 2574 w 2574"/>
                <a:gd name="T21" fmla="*/ 374 h 3310"/>
                <a:gd name="T22" fmla="*/ 2272 w 2574"/>
                <a:gd name="T23" fmla="*/ 896 h 3310"/>
                <a:gd name="T24" fmla="*/ 2272 w 2574"/>
                <a:gd name="T25" fmla="*/ 301 h 3310"/>
                <a:gd name="T26" fmla="*/ 304 w 2574"/>
                <a:gd name="T27" fmla="*/ 301 h 3310"/>
                <a:gd name="T28" fmla="*/ 304 w 2574"/>
                <a:gd name="T29" fmla="*/ 3008 h 3310"/>
                <a:gd name="T30" fmla="*/ 2272 w 2574"/>
                <a:gd name="T31" fmla="*/ 3008 h 3310"/>
                <a:gd name="T32" fmla="*/ 2272 w 2574"/>
                <a:gd name="T33" fmla="*/ 2634 h 3310"/>
                <a:gd name="T34" fmla="*/ 2430 w 2574"/>
                <a:gd name="T35" fmla="*/ 2530 h 3310"/>
                <a:gd name="T36" fmla="*/ 2458 w 2574"/>
                <a:gd name="T37" fmla="*/ 2508 h 3310"/>
                <a:gd name="T38" fmla="*/ 2482 w 2574"/>
                <a:gd name="T39" fmla="*/ 2483 h 3310"/>
                <a:gd name="T40" fmla="*/ 2502 w 2574"/>
                <a:gd name="T41" fmla="*/ 2454 h 3310"/>
                <a:gd name="T42" fmla="*/ 2574 w 2574"/>
                <a:gd name="T43" fmla="*/ 2330 h 3310"/>
                <a:gd name="T44" fmla="*/ 2574 w 2574"/>
                <a:gd name="T45" fmla="*/ 3159 h 3310"/>
                <a:gd name="T46" fmla="*/ 2571 w 2574"/>
                <a:gd name="T47" fmla="*/ 3189 h 3310"/>
                <a:gd name="T48" fmla="*/ 2562 w 2574"/>
                <a:gd name="T49" fmla="*/ 3217 h 3310"/>
                <a:gd name="T50" fmla="*/ 2548 w 2574"/>
                <a:gd name="T51" fmla="*/ 3243 h 3310"/>
                <a:gd name="T52" fmla="*/ 2529 w 2574"/>
                <a:gd name="T53" fmla="*/ 3265 h 3310"/>
                <a:gd name="T54" fmla="*/ 2507 w 2574"/>
                <a:gd name="T55" fmla="*/ 3284 h 3310"/>
                <a:gd name="T56" fmla="*/ 2481 w 2574"/>
                <a:gd name="T57" fmla="*/ 3297 h 3310"/>
                <a:gd name="T58" fmla="*/ 2453 w 2574"/>
                <a:gd name="T59" fmla="*/ 3307 h 3310"/>
                <a:gd name="T60" fmla="*/ 2423 w 2574"/>
                <a:gd name="T61" fmla="*/ 3310 h 3310"/>
                <a:gd name="T62" fmla="*/ 152 w 2574"/>
                <a:gd name="T63" fmla="*/ 3310 h 3310"/>
                <a:gd name="T64" fmla="*/ 121 w 2574"/>
                <a:gd name="T65" fmla="*/ 3307 h 3310"/>
                <a:gd name="T66" fmla="*/ 93 w 2574"/>
                <a:gd name="T67" fmla="*/ 3297 h 3310"/>
                <a:gd name="T68" fmla="*/ 67 w 2574"/>
                <a:gd name="T69" fmla="*/ 3284 h 3310"/>
                <a:gd name="T70" fmla="*/ 45 w 2574"/>
                <a:gd name="T71" fmla="*/ 3265 h 3310"/>
                <a:gd name="T72" fmla="*/ 26 w 2574"/>
                <a:gd name="T73" fmla="*/ 3243 h 3310"/>
                <a:gd name="T74" fmla="*/ 13 w 2574"/>
                <a:gd name="T75" fmla="*/ 3217 h 3310"/>
                <a:gd name="T76" fmla="*/ 3 w 2574"/>
                <a:gd name="T77" fmla="*/ 3189 h 3310"/>
                <a:gd name="T78" fmla="*/ 0 w 2574"/>
                <a:gd name="T79" fmla="*/ 3159 h 3310"/>
                <a:gd name="T80" fmla="*/ 0 w 2574"/>
                <a:gd name="T81" fmla="*/ 150 h 3310"/>
                <a:gd name="T82" fmla="*/ 3 w 2574"/>
                <a:gd name="T83" fmla="*/ 120 h 3310"/>
                <a:gd name="T84" fmla="*/ 13 w 2574"/>
                <a:gd name="T85" fmla="*/ 92 h 3310"/>
                <a:gd name="T86" fmla="*/ 26 w 2574"/>
                <a:gd name="T87" fmla="*/ 67 h 3310"/>
                <a:gd name="T88" fmla="*/ 45 w 2574"/>
                <a:gd name="T89" fmla="*/ 44 h 3310"/>
                <a:gd name="T90" fmla="*/ 67 w 2574"/>
                <a:gd name="T91" fmla="*/ 26 h 3310"/>
                <a:gd name="T92" fmla="*/ 93 w 2574"/>
                <a:gd name="T93" fmla="*/ 12 h 3310"/>
                <a:gd name="T94" fmla="*/ 121 w 2574"/>
                <a:gd name="T95" fmla="*/ 3 h 3310"/>
                <a:gd name="T96" fmla="*/ 152 w 2574"/>
                <a:gd name="T97" fmla="*/ 0 h 3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74" h="3310">
                  <a:moveTo>
                    <a:pt x="152" y="0"/>
                  </a:moveTo>
                  <a:lnTo>
                    <a:pt x="2423" y="0"/>
                  </a:lnTo>
                  <a:lnTo>
                    <a:pt x="2453" y="3"/>
                  </a:lnTo>
                  <a:lnTo>
                    <a:pt x="2481" y="12"/>
                  </a:lnTo>
                  <a:lnTo>
                    <a:pt x="2507" y="26"/>
                  </a:lnTo>
                  <a:lnTo>
                    <a:pt x="2529" y="44"/>
                  </a:lnTo>
                  <a:lnTo>
                    <a:pt x="2548" y="67"/>
                  </a:lnTo>
                  <a:lnTo>
                    <a:pt x="2562" y="92"/>
                  </a:lnTo>
                  <a:lnTo>
                    <a:pt x="2571" y="120"/>
                  </a:lnTo>
                  <a:lnTo>
                    <a:pt x="2574" y="150"/>
                  </a:lnTo>
                  <a:lnTo>
                    <a:pt x="2574" y="374"/>
                  </a:lnTo>
                  <a:lnTo>
                    <a:pt x="2272" y="896"/>
                  </a:lnTo>
                  <a:lnTo>
                    <a:pt x="2272" y="301"/>
                  </a:lnTo>
                  <a:lnTo>
                    <a:pt x="304" y="301"/>
                  </a:lnTo>
                  <a:lnTo>
                    <a:pt x="304" y="3008"/>
                  </a:lnTo>
                  <a:lnTo>
                    <a:pt x="2272" y="3008"/>
                  </a:lnTo>
                  <a:lnTo>
                    <a:pt x="2272" y="2634"/>
                  </a:lnTo>
                  <a:lnTo>
                    <a:pt x="2430" y="2530"/>
                  </a:lnTo>
                  <a:lnTo>
                    <a:pt x="2458" y="2508"/>
                  </a:lnTo>
                  <a:lnTo>
                    <a:pt x="2482" y="2483"/>
                  </a:lnTo>
                  <a:lnTo>
                    <a:pt x="2502" y="2454"/>
                  </a:lnTo>
                  <a:lnTo>
                    <a:pt x="2574" y="2330"/>
                  </a:lnTo>
                  <a:lnTo>
                    <a:pt x="2574" y="3159"/>
                  </a:lnTo>
                  <a:lnTo>
                    <a:pt x="2571" y="3189"/>
                  </a:lnTo>
                  <a:lnTo>
                    <a:pt x="2562" y="3217"/>
                  </a:lnTo>
                  <a:lnTo>
                    <a:pt x="2548" y="3243"/>
                  </a:lnTo>
                  <a:lnTo>
                    <a:pt x="2529" y="3265"/>
                  </a:lnTo>
                  <a:lnTo>
                    <a:pt x="2507" y="3284"/>
                  </a:lnTo>
                  <a:lnTo>
                    <a:pt x="2481" y="3297"/>
                  </a:lnTo>
                  <a:lnTo>
                    <a:pt x="2453" y="3307"/>
                  </a:lnTo>
                  <a:lnTo>
                    <a:pt x="2423" y="3310"/>
                  </a:lnTo>
                  <a:lnTo>
                    <a:pt x="152" y="3310"/>
                  </a:lnTo>
                  <a:lnTo>
                    <a:pt x="121" y="3307"/>
                  </a:lnTo>
                  <a:lnTo>
                    <a:pt x="93" y="3297"/>
                  </a:lnTo>
                  <a:lnTo>
                    <a:pt x="67" y="3284"/>
                  </a:lnTo>
                  <a:lnTo>
                    <a:pt x="45" y="3265"/>
                  </a:lnTo>
                  <a:lnTo>
                    <a:pt x="26" y="3243"/>
                  </a:lnTo>
                  <a:lnTo>
                    <a:pt x="13" y="3217"/>
                  </a:lnTo>
                  <a:lnTo>
                    <a:pt x="3" y="3189"/>
                  </a:lnTo>
                  <a:lnTo>
                    <a:pt x="0" y="3159"/>
                  </a:lnTo>
                  <a:lnTo>
                    <a:pt x="0" y="150"/>
                  </a:lnTo>
                  <a:lnTo>
                    <a:pt x="3" y="120"/>
                  </a:lnTo>
                  <a:lnTo>
                    <a:pt x="13" y="92"/>
                  </a:lnTo>
                  <a:lnTo>
                    <a:pt x="26" y="67"/>
                  </a:lnTo>
                  <a:lnTo>
                    <a:pt x="45" y="44"/>
                  </a:lnTo>
                  <a:lnTo>
                    <a:pt x="67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7"/>
            <p:cNvSpPr>
              <a:spLocks noEditPoints="1"/>
            </p:cNvSpPr>
            <p:nvPr/>
          </p:nvSpPr>
          <p:spPr bwMode="auto">
            <a:xfrm>
              <a:off x="-267" y="2452"/>
              <a:ext cx="144" cy="215"/>
            </a:xfrm>
            <a:custGeom>
              <a:avLst/>
              <a:gdLst>
                <a:gd name="T0" fmla="*/ 131 w 1591"/>
                <a:gd name="T1" fmla="*/ 1996 h 2370"/>
                <a:gd name="T2" fmla="*/ 223 w 1591"/>
                <a:gd name="T3" fmla="*/ 2040 h 2370"/>
                <a:gd name="T4" fmla="*/ 308 w 1591"/>
                <a:gd name="T5" fmla="*/ 2097 h 2370"/>
                <a:gd name="T6" fmla="*/ 439 w 1591"/>
                <a:gd name="T7" fmla="*/ 1980 h 2370"/>
                <a:gd name="T8" fmla="*/ 389 w 1591"/>
                <a:gd name="T9" fmla="*/ 1934 h 2370"/>
                <a:gd name="T10" fmla="*/ 314 w 1591"/>
                <a:gd name="T11" fmla="*/ 1883 h 2370"/>
                <a:gd name="T12" fmla="*/ 245 w 1591"/>
                <a:gd name="T13" fmla="*/ 1849 h 2370"/>
                <a:gd name="T14" fmla="*/ 187 w 1591"/>
                <a:gd name="T15" fmla="*/ 1829 h 2370"/>
                <a:gd name="T16" fmla="*/ 141 w 1591"/>
                <a:gd name="T17" fmla="*/ 1820 h 2370"/>
                <a:gd name="T18" fmla="*/ 1118 w 1591"/>
                <a:gd name="T19" fmla="*/ 0 h 2370"/>
                <a:gd name="T20" fmla="*/ 1173 w 1591"/>
                <a:gd name="T21" fmla="*/ 7 h 2370"/>
                <a:gd name="T22" fmla="*/ 1240 w 1591"/>
                <a:gd name="T23" fmla="*/ 25 h 2370"/>
                <a:gd name="T24" fmla="*/ 1319 w 1591"/>
                <a:gd name="T25" fmla="*/ 57 h 2370"/>
                <a:gd name="T26" fmla="*/ 1407 w 1591"/>
                <a:gd name="T27" fmla="*/ 108 h 2370"/>
                <a:gd name="T28" fmla="*/ 1478 w 1591"/>
                <a:gd name="T29" fmla="*/ 163 h 2370"/>
                <a:gd name="T30" fmla="*/ 1528 w 1591"/>
                <a:gd name="T31" fmla="*/ 215 h 2370"/>
                <a:gd name="T32" fmla="*/ 1561 w 1591"/>
                <a:gd name="T33" fmla="*/ 261 h 2370"/>
                <a:gd name="T34" fmla="*/ 1580 w 1591"/>
                <a:gd name="T35" fmla="*/ 297 h 2370"/>
                <a:gd name="T36" fmla="*/ 1588 w 1591"/>
                <a:gd name="T37" fmla="*/ 320 h 2370"/>
                <a:gd name="T38" fmla="*/ 1591 w 1591"/>
                <a:gd name="T39" fmla="*/ 344 h 2370"/>
                <a:gd name="T40" fmla="*/ 1581 w 1591"/>
                <a:gd name="T41" fmla="*/ 379 h 2370"/>
                <a:gd name="T42" fmla="*/ 625 w 1591"/>
                <a:gd name="T43" fmla="*/ 2021 h 2370"/>
                <a:gd name="T44" fmla="*/ 116 w 1591"/>
                <a:gd name="T45" fmla="*/ 2357 h 2370"/>
                <a:gd name="T46" fmla="*/ 77 w 1591"/>
                <a:gd name="T47" fmla="*/ 2370 h 2370"/>
                <a:gd name="T48" fmla="*/ 36 w 1591"/>
                <a:gd name="T49" fmla="*/ 2359 h 2370"/>
                <a:gd name="T50" fmla="*/ 12 w 1591"/>
                <a:gd name="T51" fmla="*/ 2338 h 2370"/>
                <a:gd name="T52" fmla="*/ 0 w 1591"/>
                <a:gd name="T53" fmla="*/ 2306 h 2370"/>
                <a:gd name="T54" fmla="*/ 34 w 1591"/>
                <a:gd name="T55" fmla="*/ 1702 h 2370"/>
                <a:gd name="T56" fmla="*/ 45 w 1591"/>
                <a:gd name="T57" fmla="*/ 1670 h 2370"/>
                <a:gd name="T58" fmla="*/ 1002 w 1591"/>
                <a:gd name="T59" fmla="*/ 27 h 2370"/>
                <a:gd name="T60" fmla="*/ 1034 w 1591"/>
                <a:gd name="T61" fmla="*/ 7 h 2370"/>
                <a:gd name="T62" fmla="*/ 1048 w 1591"/>
                <a:gd name="T63" fmla="*/ 4 h 2370"/>
                <a:gd name="T64" fmla="*/ 1076 w 1591"/>
                <a:gd name="T65" fmla="*/ 0 h 2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91" h="2370">
                  <a:moveTo>
                    <a:pt x="141" y="1820"/>
                  </a:moveTo>
                  <a:lnTo>
                    <a:pt x="131" y="1996"/>
                  </a:lnTo>
                  <a:lnTo>
                    <a:pt x="177" y="2016"/>
                  </a:lnTo>
                  <a:lnTo>
                    <a:pt x="223" y="2040"/>
                  </a:lnTo>
                  <a:lnTo>
                    <a:pt x="267" y="2067"/>
                  </a:lnTo>
                  <a:lnTo>
                    <a:pt x="308" y="2097"/>
                  </a:lnTo>
                  <a:lnTo>
                    <a:pt x="455" y="2000"/>
                  </a:lnTo>
                  <a:lnTo>
                    <a:pt x="439" y="1980"/>
                  </a:lnTo>
                  <a:lnTo>
                    <a:pt x="417" y="1958"/>
                  </a:lnTo>
                  <a:lnTo>
                    <a:pt x="389" y="1934"/>
                  </a:lnTo>
                  <a:lnTo>
                    <a:pt x="355" y="1909"/>
                  </a:lnTo>
                  <a:lnTo>
                    <a:pt x="314" y="1883"/>
                  </a:lnTo>
                  <a:lnTo>
                    <a:pt x="278" y="1864"/>
                  </a:lnTo>
                  <a:lnTo>
                    <a:pt x="245" y="1849"/>
                  </a:lnTo>
                  <a:lnTo>
                    <a:pt x="214" y="1837"/>
                  </a:lnTo>
                  <a:lnTo>
                    <a:pt x="187" y="1829"/>
                  </a:lnTo>
                  <a:lnTo>
                    <a:pt x="163" y="1824"/>
                  </a:lnTo>
                  <a:lnTo>
                    <a:pt x="141" y="1820"/>
                  </a:lnTo>
                  <a:close/>
                  <a:moveTo>
                    <a:pt x="1095" y="0"/>
                  </a:moveTo>
                  <a:lnTo>
                    <a:pt x="1118" y="0"/>
                  </a:lnTo>
                  <a:lnTo>
                    <a:pt x="1144" y="2"/>
                  </a:lnTo>
                  <a:lnTo>
                    <a:pt x="1173" y="7"/>
                  </a:lnTo>
                  <a:lnTo>
                    <a:pt x="1205" y="14"/>
                  </a:lnTo>
                  <a:lnTo>
                    <a:pt x="1240" y="25"/>
                  </a:lnTo>
                  <a:lnTo>
                    <a:pt x="1278" y="39"/>
                  </a:lnTo>
                  <a:lnTo>
                    <a:pt x="1319" y="57"/>
                  </a:lnTo>
                  <a:lnTo>
                    <a:pt x="1362" y="81"/>
                  </a:lnTo>
                  <a:lnTo>
                    <a:pt x="1407" y="108"/>
                  </a:lnTo>
                  <a:lnTo>
                    <a:pt x="1446" y="136"/>
                  </a:lnTo>
                  <a:lnTo>
                    <a:pt x="1478" y="163"/>
                  </a:lnTo>
                  <a:lnTo>
                    <a:pt x="1505" y="190"/>
                  </a:lnTo>
                  <a:lnTo>
                    <a:pt x="1528" y="215"/>
                  </a:lnTo>
                  <a:lnTo>
                    <a:pt x="1546" y="239"/>
                  </a:lnTo>
                  <a:lnTo>
                    <a:pt x="1561" y="261"/>
                  </a:lnTo>
                  <a:lnTo>
                    <a:pt x="1571" y="280"/>
                  </a:lnTo>
                  <a:lnTo>
                    <a:pt x="1580" y="297"/>
                  </a:lnTo>
                  <a:lnTo>
                    <a:pt x="1585" y="311"/>
                  </a:lnTo>
                  <a:lnTo>
                    <a:pt x="1588" y="320"/>
                  </a:lnTo>
                  <a:lnTo>
                    <a:pt x="1589" y="325"/>
                  </a:lnTo>
                  <a:lnTo>
                    <a:pt x="1591" y="344"/>
                  </a:lnTo>
                  <a:lnTo>
                    <a:pt x="1588" y="363"/>
                  </a:lnTo>
                  <a:lnTo>
                    <a:pt x="1581" y="379"/>
                  </a:lnTo>
                  <a:lnTo>
                    <a:pt x="634" y="2008"/>
                  </a:lnTo>
                  <a:lnTo>
                    <a:pt x="625" y="2021"/>
                  </a:lnTo>
                  <a:lnTo>
                    <a:pt x="611" y="2033"/>
                  </a:lnTo>
                  <a:lnTo>
                    <a:pt x="116" y="2357"/>
                  </a:lnTo>
                  <a:lnTo>
                    <a:pt x="97" y="2367"/>
                  </a:lnTo>
                  <a:lnTo>
                    <a:pt x="77" y="2370"/>
                  </a:lnTo>
                  <a:lnTo>
                    <a:pt x="56" y="2368"/>
                  </a:lnTo>
                  <a:lnTo>
                    <a:pt x="36" y="2359"/>
                  </a:lnTo>
                  <a:lnTo>
                    <a:pt x="23" y="2350"/>
                  </a:lnTo>
                  <a:lnTo>
                    <a:pt x="12" y="2338"/>
                  </a:lnTo>
                  <a:lnTo>
                    <a:pt x="5" y="2323"/>
                  </a:lnTo>
                  <a:lnTo>
                    <a:pt x="0" y="2306"/>
                  </a:lnTo>
                  <a:lnTo>
                    <a:pt x="0" y="2290"/>
                  </a:lnTo>
                  <a:lnTo>
                    <a:pt x="34" y="1702"/>
                  </a:lnTo>
                  <a:lnTo>
                    <a:pt x="38" y="1685"/>
                  </a:lnTo>
                  <a:lnTo>
                    <a:pt x="45" y="1670"/>
                  </a:lnTo>
                  <a:lnTo>
                    <a:pt x="991" y="41"/>
                  </a:lnTo>
                  <a:lnTo>
                    <a:pt x="1002" y="27"/>
                  </a:lnTo>
                  <a:lnTo>
                    <a:pt x="1016" y="15"/>
                  </a:lnTo>
                  <a:lnTo>
                    <a:pt x="1034" y="7"/>
                  </a:lnTo>
                  <a:lnTo>
                    <a:pt x="1038" y="6"/>
                  </a:lnTo>
                  <a:lnTo>
                    <a:pt x="1048" y="4"/>
                  </a:lnTo>
                  <a:lnTo>
                    <a:pt x="1060" y="2"/>
                  </a:lnTo>
                  <a:lnTo>
                    <a:pt x="1076" y="0"/>
                  </a:lnTo>
                  <a:lnTo>
                    <a:pt x="10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8"/>
            <p:cNvSpPr>
              <a:spLocks/>
            </p:cNvSpPr>
            <p:nvPr/>
          </p:nvSpPr>
          <p:spPr bwMode="auto">
            <a:xfrm>
              <a:off x="-381" y="2625"/>
              <a:ext cx="105" cy="53"/>
            </a:xfrm>
            <a:custGeom>
              <a:avLst/>
              <a:gdLst>
                <a:gd name="T0" fmla="*/ 557 w 1155"/>
                <a:gd name="T1" fmla="*/ 5 h 591"/>
                <a:gd name="T2" fmla="*/ 583 w 1155"/>
                <a:gd name="T3" fmla="*/ 28 h 591"/>
                <a:gd name="T4" fmla="*/ 591 w 1155"/>
                <a:gd name="T5" fmla="*/ 111 h 591"/>
                <a:gd name="T6" fmla="*/ 560 w 1155"/>
                <a:gd name="T7" fmla="*/ 199 h 591"/>
                <a:gd name="T8" fmla="*/ 569 w 1155"/>
                <a:gd name="T9" fmla="*/ 242 h 591"/>
                <a:gd name="T10" fmla="*/ 587 w 1155"/>
                <a:gd name="T11" fmla="*/ 270 h 591"/>
                <a:gd name="T12" fmla="*/ 637 w 1155"/>
                <a:gd name="T13" fmla="*/ 278 h 591"/>
                <a:gd name="T14" fmla="*/ 681 w 1155"/>
                <a:gd name="T15" fmla="*/ 323 h 591"/>
                <a:gd name="T16" fmla="*/ 693 w 1155"/>
                <a:gd name="T17" fmla="*/ 357 h 591"/>
                <a:gd name="T18" fmla="*/ 847 w 1155"/>
                <a:gd name="T19" fmla="*/ 351 h 591"/>
                <a:gd name="T20" fmla="*/ 996 w 1155"/>
                <a:gd name="T21" fmla="*/ 366 h 591"/>
                <a:gd name="T22" fmla="*/ 1118 w 1155"/>
                <a:gd name="T23" fmla="*/ 373 h 591"/>
                <a:gd name="T24" fmla="*/ 1149 w 1155"/>
                <a:gd name="T25" fmla="*/ 400 h 591"/>
                <a:gd name="T26" fmla="*/ 1154 w 1155"/>
                <a:gd name="T27" fmla="*/ 441 h 591"/>
                <a:gd name="T28" fmla="*/ 1131 w 1155"/>
                <a:gd name="T29" fmla="*/ 475 h 591"/>
                <a:gd name="T30" fmla="*/ 1066 w 1155"/>
                <a:gd name="T31" fmla="*/ 482 h 591"/>
                <a:gd name="T32" fmla="*/ 957 w 1155"/>
                <a:gd name="T33" fmla="*/ 467 h 591"/>
                <a:gd name="T34" fmla="*/ 843 w 1155"/>
                <a:gd name="T35" fmla="*/ 452 h 591"/>
                <a:gd name="T36" fmla="*/ 738 w 1155"/>
                <a:gd name="T37" fmla="*/ 461 h 591"/>
                <a:gd name="T38" fmla="*/ 679 w 1155"/>
                <a:gd name="T39" fmla="*/ 486 h 591"/>
                <a:gd name="T40" fmla="*/ 636 w 1155"/>
                <a:gd name="T41" fmla="*/ 492 h 591"/>
                <a:gd name="T42" fmla="*/ 603 w 1155"/>
                <a:gd name="T43" fmla="*/ 477 h 591"/>
                <a:gd name="T44" fmla="*/ 576 w 1155"/>
                <a:gd name="T45" fmla="*/ 454 h 591"/>
                <a:gd name="T46" fmla="*/ 571 w 1155"/>
                <a:gd name="T47" fmla="*/ 407 h 591"/>
                <a:gd name="T48" fmla="*/ 537 w 1155"/>
                <a:gd name="T49" fmla="*/ 457 h 591"/>
                <a:gd name="T50" fmla="*/ 495 w 1155"/>
                <a:gd name="T51" fmla="*/ 471 h 591"/>
                <a:gd name="T52" fmla="*/ 455 w 1155"/>
                <a:gd name="T53" fmla="*/ 456 h 591"/>
                <a:gd name="T54" fmla="*/ 439 w 1155"/>
                <a:gd name="T55" fmla="*/ 419 h 591"/>
                <a:gd name="T56" fmla="*/ 450 w 1155"/>
                <a:gd name="T57" fmla="*/ 390 h 591"/>
                <a:gd name="T58" fmla="*/ 458 w 1155"/>
                <a:gd name="T59" fmla="*/ 369 h 591"/>
                <a:gd name="T60" fmla="*/ 422 w 1155"/>
                <a:gd name="T61" fmla="*/ 404 h 591"/>
                <a:gd name="T62" fmla="*/ 379 w 1155"/>
                <a:gd name="T63" fmla="*/ 428 h 591"/>
                <a:gd name="T64" fmla="*/ 335 w 1155"/>
                <a:gd name="T65" fmla="*/ 417 h 591"/>
                <a:gd name="T66" fmla="*/ 314 w 1155"/>
                <a:gd name="T67" fmla="*/ 379 h 591"/>
                <a:gd name="T68" fmla="*/ 364 w 1155"/>
                <a:gd name="T69" fmla="*/ 288 h 591"/>
                <a:gd name="T70" fmla="*/ 252 w 1155"/>
                <a:gd name="T71" fmla="*/ 393 h 591"/>
                <a:gd name="T72" fmla="*/ 96 w 1155"/>
                <a:gd name="T73" fmla="*/ 581 h 591"/>
                <a:gd name="T74" fmla="*/ 49 w 1155"/>
                <a:gd name="T75" fmla="*/ 590 h 591"/>
                <a:gd name="T76" fmla="*/ 9 w 1155"/>
                <a:gd name="T77" fmla="*/ 569 h 591"/>
                <a:gd name="T78" fmla="*/ 2 w 1155"/>
                <a:gd name="T79" fmla="*/ 527 h 591"/>
                <a:gd name="T80" fmla="*/ 138 w 1155"/>
                <a:gd name="T81" fmla="*/ 351 h 591"/>
                <a:gd name="T82" fmla="*/ 344 w 1155"/>
                <a:gd name="T83" fmla="*/ 123 h 591"/>
                <a:gd name="T84" fmla="*/ 398 w 1155"/>
                <a:gd name="T85" fmla="*/ 70 h 591"/>
                <a:gd name="T86" fmla="*/ 462 w 1155"/>
                <a:gd name="T87" fmla="*/ 20 h 591"/>
                <a:gd name="T88" fmla="*/ 534 w 1155"/>
                <a:gd name="T89" fmla="*/ 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55" h="591">
                  <a:moveTo>
                    <a:pt x="534" y="0"/>
                  </a:moveTo>
                  <a:lnTo>
                    <a:pt x="545" y="2"/>
                  </a:lnTo>
                  <a:lnTo>
                    <a:pt x="557" y="5"/>
                  </a:lnTo>
                  <a:lnTo>
                    <a:pt x="567" y="10"/>
                  </a:lnTo>
                  <a:lnTo>
                    <a:pt x="576" y="18"/>
                  </a:lnTo>
                  <a:lnTo>
                    <a:pt x="583" y="28"/>
                  </a:lnTo>
                  <a:lnTo>
                    <a:pt x="591" y="54"/>
                  </a:lnTo>
                  <a:lnTo>
                    <a:pt x="593" y="82"/>
                  </a:lnTo>
                  <a:lnTo>
                    <a:pt x="591" y="111"/>
                  </a:lnTo>
                  <a:lnTo>
                    <a:pt x="584" y="140"/>
                  </a:lnTo>
                  <a:lnTo>
                    <a:pt x="573" y="170"/>
                  </a:lnTo>
                  <a:lnTo>
                    <a:pt x="560" y="199"/>
                  </a:lnTo>
                  <a:lnTo>
                    <a:pt x="543" y="230"/>
                  </a:lnTo>
                  <a:lnTo>
                    <a:pt x="557" y="235"/>
                  </a:lnTo>
                  <a:lnTo>
                    <a:pt x="569" y="242"/>
                  </a:lnTo>
                  <a:lnTo>
                    <a:pt x="579" y="254"/>
                  </a:lnTo>
                  <a:lnTo>
                    <a:pt x="583" y="263"/>
                  </a:lnTo>
                  <a:lnTo>
                    <a:pt x="587" y="270"/>
                  </a:lnTo>
                  <a:lnTo>
                    <a:pt x="604" y="269"/>
                  </a:lnTo>
                  <a:lnTo>
                    <a:pt x="620" y="272"/>
                  </a:lnTo>
                  <a:lnTo>
                    <a:pt x="637" y="278"/>
                  </a:lnTo>
                  <a:lnTo>
                    <a:pt x="653" y="289"/>
                  </a:lnTo>
                  <a:lnTo>
                    <a:pt x="668" y="303"/>
                  </a:lnTo>
                  <a:lnTo>
                    <a:pt x="681" y="323"/>
                  </a:lnTo>
                  <a:lnTo>
                    <a:pt x="689" y="338"/>
                  </a:lnTo>
                  <a:lnTo>
                    <a:pt x="692" y="349"/>
                  </a:lnTo>
                  <a:lnTo>
                    <a:pt x="693" y="357"/>
                  </a:lnTo>
                  <a:lnTo>
                    <a:pt x="746" y="351"/>
                  </a:lnTo>
                  <a:lnTo>
                    <a:pt x="797" y="350"/>
                  </a:lnTo>
                  <a:lnTo>
                    <a:pt x="847" y="351"/>
                  </a:lnTo>
                  <a:lnTo>
                    <a:pt x="897" y="355"/>
                  </a:lnTo>
                  <a:lnTo>
                    <a:pt x="946" y="361"/>
                  </a:lnTo>
                  <a:lnTo>
                    <a:pt x="996" y="366"/>
                  </a:lnTo>
                  <a:lnTo>
                    <a:pt x="1048" y="369"/>
                  </a:lnTo>
                  <a:lnTo>
                    <a:pt x="1101" y="371"/>
                  </a:lnTo>
                  <a:lnTo>
                    <a:pt x="1118" y="373"/>
                  </a:lnTo>
                  <a:lnTo>
                    <a:pt x="1131" y="379"/>
                  </a:lnTo>
                  <a:lnTo>
                    <a:pt x="1142" y="389"/>
                  </a:lnTo>
                  <a:lnTo>
                    <a:pt x="1149" y="400"/>
                  </a:lnTo>
                  <a:lnTo>
                    <a:pt x="1154" y="413"/>
                  </a:lnTo>
                  <a:lnTo>
                    <a:pt x="1155" y="427"/>
                  </a:lnTo>
                  <a:lnTo>
                    <a:pt x="1154" y="441"/>
                  </a:lnTo>
                  <a:lnTo>
                    <a:pt x="1149" y="454"/>
                  </a:lnTo>
                  <a:lnTo>
                    <a:pt x="1142" y="466"/>
                  </a:lnTo>
                  <a:lnTo>
                    <a:pt x="1131" y="475"/>
                  </a:lnTo>
                  <a:lnTo>
                    <a:pt x="1118" y="481"/>
                  </a:lnTo>
                  <a:lnTo>
                    <a:pt x="1101" y="483"/>
                  </a:lnTo>
                  <a:lnTo>
                    <a:pt x="1066" y="482"/>
                  </a:lnTo>
                  <a:lnTo>
                    <a:pt x="1031" y="478"/>
                  </a:lnTo>
                  <a:lnTo>
                    <a:pt x="993" y="473"/>
                  </a:lnTo>
                  <a:lnTo>
                    <a:pt x="957" y="467"/>
                  </a:lnTo>
                  <a:lnTo>
                    <a:pt x="919" y="460"/>
                  </a:lnTo>
                  <a:lnTo>
                    <a:pt x="881" y="455"/>
                  </a:lnTo>
                  <a:lnTo>
                    <a:pt x="843" y="452"/>
                  </a:lnTo>
                  <a:lnTo>
                    <a:pt x="807" y="451"/>
                  </a:lnTo>
                  <a:lnTo>
                    <a:pt x="771" y="454"/>
                  </a:lnTo>
                  <a:lnTo>
                    <a:pt x="738" y="461"/>
                  </a:lnTo>
                  <a:lnTo>
                    <a:pt x="705" y="474"/>
                  </a:lnTo>
                  <a:lnTo>
                    <a:pt x="693" y="480"/>
                  </a:lnTo>
                  <a:lnTo>
                    <a:pt x="679" y="486"/>
                  </a:lnTo>
                  <a:lnTo>
                    <a:pt x="664" y="492"/>
                  </a:lnTo>
                  <a:lnTo>
                    <a:pt x="651" y="494"/>
                  </a:lnTo>
                  <a:lnTo>
                    <a:pt x="636" y="492"/>
                  </a:lnTo>
                  <a:lnTo>
                    <a:pt x="626" y="487"/>
                  </a:lnTo>
                  <a:lnTo>
                    <a:pt x="614" y="482"/>
                  </a:lnTo>
                  <a:lnTo>
                    <a:pt x="603" y="477"/>
                  </a:lnTo>
                  <a:lnTo>
                    <a:pt x="592" y="471"/>
                  </a:lnTo>
                  <a:lnTo>
                    <a:pt x="584" y="464"/>
                  </a:lnTo>
                  <a:lnTo>
                    <a:pt x="576" y="454"/>
                  </a:lnTo>
                  <a:lnTo>
                    <a:pt x="572" y="442"/>
                  </a:lnTo>
                  <a:lnTo>
                    <a:pt x="571" y="423"/>
                  </a:lnTo>
                  <a:lnTo>
                    <a:pt x="571" y="407"/>
                  </a:lnTo>
                  <a:lnTo>
                    <a:pt x="560" y="427"/>
                  </a:lnTo>
                  <a:lnTo>
                    <a:pt x="547" y="446"/>
                  </a:lnTo>
                  <a:lnTo>
                    <a:pt x="537" y="457"/>
                  </a:lnTo>
                  <a:lnTo>
                    <a:pt x="524" y="466"/>
                  </a:lnTo>
                  <a:lnTo>
                    <a:pt x="509" y="470"/>
                  </a:lnTo>
                  <a:lnTo>
                    <a:pt x="495" y="471"/>
                  </a:lnTo>
                  <a:lnTo>
                    <a:pt x="480" y="469"/>
                  </a:lnTo>
                  <a:lnTo>
                    <a:pt x="467" y="464"/>
                  </a:lnTo>
                  <a:lnTo>
                    <a:pt x="455" y="456"/>
                  </a:lnTo>
                  <a:lnTo>
                    <a:pt x="446" y="446"/>
                  </a:lnTo>
                  <a:lnTo>
                    <a:pt x="440" y="433"/>
                  </a:lnTo>
                  <a:lnTo>
                    <a:pt x="439" y="419"/>
                  </a:lnTo>
                  <a:lnTo>
                    <a:pt x="444" y="402"/>
                  </a:lnTo>
                  <a:lnTo>
                    <a:pt x="447" y="396"/>
                  </a:lnTo>
                  <a:lnTo>
                    <a:pt x="450" y="390"/>
                  </a:lnTo>
                  <a:lnTo>
                    <a:pt x="450" y="390"/>
                  </a:lnTo>
                  <a:lnTo>
                    <a:pt x="449" y="390"/>
                  </a:lnTo>
                  <a:lnTo>
                    <a:pt x="458" y="369"/>
                  </a:lnTo>
                  <a:lnTo>
                    <a:pt x="445" y="378"/>
                  </a:lnTo>
                  <a:lnTo>
                    <a:pt x="432" y="390"/>
                  </a:lnTo>
                  <a:lnTo>
                    <a:pt x="422" y="404"/>
                  </a:lnTo>
                  <a:lnTo>
                    <a:pt x="409" y="417"/>
                  </a:lnTo>
                  <a:lnTo>
                    <a:pt x="394" y="425"/>
                  </a:lnTo>
                  <a:lnTo>
                    <a:pt x="379" y="428"/>
                  </a:lnTo>
                  <a:lnTo>
                    <a:pt x="363" y="428"/>
                  </a:lnTo>
                  <a:lnTo>
                    <a:pt x="348" y="424"/>
                  </a:lnTo>
                  <a:lnTo>
                    <a:pt x="335" y="417"/>
                  </a:lnTo>
                  <a:lnTo>
                    <a:pt x="324" y="406"/>
                  </a:lnTo>
                  <a:lnTo>
                    <a:pt x="317" y="394"/>
                  </a:lnTo>
                  <a:lnTo>
                    <a:pt x="314" y="379"/>
                  </a:lnTo>
                  <a:lnTo>
                    <a:pt x="316" y="364"/>
                  </a:lnTo>
                  <a:lnTo>
                    <a:pt x="323" y="347"/>
                  </a:lnTo>
                  <a:lnTo>
                    <a:pt x="364" y="288"/>
                  </a:lnTo>
                  <a:lnTo>
                    <a:pt x="404" y="226"/>
                  </a:lnTo>
                  <a:lnTo>
                    <a:pt x="326" y="309"/>
                  </a:lnTo>
                  <a:lnTo>
                    <a:pt x="252" y="393"/>
                  </a:lnTo>
                  <a:lnTo>
                    <a:pt x="179" y="480"/>
                  </a:lnTo>
                  <a:lnTo>
                    <a:pt x="108" y="569"/>
                  </a:lnTo>
                  <a:lnTo>
                    <a:pt x="96" y="581"/>
                  </a:lnTo>
                  <a:lnTo>
                    <a:pt x="80" y="588"/>
                  </a:lnTo>
                  <a:lnTo>
                    <a:pt x="65" y="591"/>
                  </a:lnTo>
                  <a:lnTo>
                    <a:pt x="49" y="590"/>
                  </a:lnTo>
                  <a:lnTo>
                    <a:pt x="33" y="586"/>
                  </a:lnTo>
                  <a:lnTo>
                    <a:pt x="21" y="579"/>
                  </a:lnTo>
                  <a:lnTo>
                    <a:pt x="9" y="569"/>
                  </a:lnTo>
                  <a:lnTo>
                    <a:pt x="2" y="556"/>
                  </a:lnTo>
                  <a:lnTo>
                    <a:pt x="0" y="542"/>
                  </a:lnTo>
                  <a:lnTo>
                    <a:pt x="2" y="527"/>
                  </a:lnTo>
                  <a:lnTo>
                    <a:pt x="11" y="511"/>
                  </a:lnTo>
                  <a:lnTo>
                    <a:pt x="74" y="431"/>
                  </a:lnTo>
                  <a:lnTo>
                    <a:pt x="138" y="351"/>
                  </a:lnTo>
                  <a:lnTo>
                    <a:pt x="204" y="273"/>
                  </a:lnTo>
                  <a:lnTo>
                    <a:pt x="273" y="196"/>
                  </a:lnTo>
                  <a:lnTo>
                    <a:pt x="344" y="123"/>
                  </a:lnTo>
                  <a:lnTo>
                    <a:pt x="361" y="107"/>
                  </a:lnTo>
                  <a:lnTo>
                    <a:pt x="380" y="89"/>
                  </a:lnTo>
                  <a:lnTo>
                    <a:pt x="398" y="70"/>
                  </a:lnTo>
                  <a:lnTo>
                    <a:pt x="418" y="52"/>
                  </a:lnTo>
                  <a:lnTo>
                    <a:pt x="439" y="35"/>
                  </a:lnTo>
                  <a:lnTo>
                    <a:pt x="462" y="20"/>
                  </a:lnTo>
                  <a:lnTo>
                    <a:pt x="485" y="9"/>
                  </a:lnTo>
                  <a:lnTo>
                    <a:pt x="509" y="2"/>
                  </a:lnTo>
                  <a:lnTo>
                    <a:pt x="5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7" name="Freeform 6"/>
          <p:cNvSpPr>
            <a:spLocks noEditPoints="1"/>
          </p:cNvSpPr>
          <p:nvPr/>
        </p:nvSpPr>
        <p:spPr bwMode="auto">
          <a:xfrm>
            <a:off x="866235" y="5333934"/>
            <a:ext cx="465138" cy="611188"/>
          </a:xfrm>
          <a:custGeom>
            <a:avLst/>
            <a:gdLst>
              <a:gd name="T0" fmla="*/ 43 w 2633"/>
              <a:gd name="T1" fmla="*/ 25 h 3459"/>
              <a:gd name="T2" fmla="*/ 0 w 2633"/>
              <a:gd name="T3" fmla="*/ 113 h 3459"/>
              <a:gd name="T4" fmla="*/ 18 w 2633"/>
              <a:gd name="T5" fmla="*/ 3405 h 3459"/>
              <a:gd name="T6" fmla="*/ 87 w 2633"/>
              <a:gd name="T7" fmla="*/ 3457 h 3459"/>
              <a:gd name="T8" fmla="*/ 2569 w 2633"/>
              <a:gd name="T9" fmla="*/ 3447 h 3459"/>
              <a:gd name="T10" fmla="*/ 2630 w 2633"/>
              <a:gd name="T11" fmla="*/ 3371 h 3459"/>
              <a:gd name="T12" fmla="*/ 2624 w 2633"/>
              <a:gd name="T13" fmla="*/ 597 h 3459"/>
              <a:gd name="T14" fmla="*/ 2056 w 2633"/>
              <a:gd name="T15" fmla="*/ 20 h 3459"/>
              <a:gd name="T16" fmla="*/ 113 w 2633"/>
              <a:gd name="T17" fmla="*/ 0 h 3459"/>
              <a:gd name="T18" fmla="*/ 1883 w 2633"/>
              <a:gd name="T19" fmla="*/ 660 h 3459"/>
              <a:gd name="T20" fmla="*/ 1930 w 2633"/>
              <a:gd name="T21" fmla="*/ 731 h 3459"/>
              <a:gd name="T22" fmla="*/ 2407 w 2633"/>
              <a:gd name="T23" fmla="*/ 752 h 3459"/>
              <a:gd name="T24" fmla="*/ 2107 w 2633"/>
              <a:gd name="T25" fmla="*/ 386 h 3459"/>
              <a:gd name="T26" fmla="*/ 414 w 2633"/>
              <a:gd name="T27" fmla="*/ 828 h 3459"/>
              <a:gd name="T28" fmla="*/ 414 w 2633"/>
              <a:gd name="T29" fmla="*/ 828 h 3459"/>
              <a:gd name="T30" fmla="*/ 1020 w 2633"/>
              <a:gd name="T31" fmla="*/ 927 h 3459"/>
              <a:gd name="T32" fmla="*/ 978 w 2633"/>
              <a:gd name="T33" fmla="*/ 1016 h 3459"/>
              <a:gd name="T34" fmla="*/ 1020 w 2633"/>
              <a:gd name="T35" fmla="*/ 1103 h 3459"/>
              <a:gd name="T36" fmla="*/ 2107 w 2633"/>
              <a:gd name="T37" fmla="*/ 1128 h 3459"/>
              <a:gd name="T38" fmla="*/ 2195 w 2633"/>
              <a:gd name="T39" fmla="*/ 1086 h 3459"/>
              <a:gd name="T40" fmla="*/ 2217 w 2633"/>
              <a:gd name="T41" fmla="*/ 989 h 3459"/>
              <a:gd name="T42" fmla="*/ 2156 w 2633"/>
              <a:gd name="T43" fmla="*/ 914 h 3459"/>
              <a:gd name="T44" fmla="*/ 414 w 2633"/>
              <a:gd name="T45" fmla="*/ 1429 h 3459"/>
              <a:gd name="T46" fmla="*/ 414 w 2633"/>
              <a:gd name="T47" fmla="*/ 1429 h 3459"/>
              <a:gd name="T48" fmla="*/ 1020 w 2633"/>
              <a:gd name="T49" fmla="*/ 1529 h 3459"/>
              <a:gd name="T50" fmla="*/ 978 w 2633"/>
              <a:gd name="T51" fmla="*/ 1617 h 3459"/>
              <a:gd name="T52" fmla="*/ 1020 w 2633"/>
              <a:gd name="T53" fmla="*/ 1704 h 3459"/>
              <a:gd name="T54" fmla="*/ 2107 w 2633"/>
              <a:gd name="T55" fmla="*/ 1730 h 3459"/>
              <a:gd name="T56" fmla="*/ 2195 w 2633"/>
              <a:gd name="T57" fmla="*/ 1688 h 3459"/>
              <a:gd name="T58" fmla="*/ 2217 w 2633"/>
              <a:gd name="T59" fmla="*/ 1591 h 3459"/>
              <a:gd name="T60" fmla="*/ 2156 w 2633"/>
              <a:gd name="T61" fmla="*/ 1515 h 3459"/>
              <a:gd name="T62" fmla="*/ 414 w 2633"/>
              <a:gd name="T63" fmla="*/ 2030 h 3459"/>
              <a:gd name="T64" fmla="*/ 414 w 2633"/>
              <a:gd name="T65" fmla="*/ 2030 h 3459"/>
              <a:gd name="T66" fmla="*/ 1020 w 2633"/>
              <a:gd name="T67" fmla="*/ 2131 h 3459"/>
              <a:gd name="T68" fmla="*/ 978 w 2633"/>
              <a:gd name="T69" fmla="*/ 2219 h 3459"/>
              <a:gd name="T70" fmla="*/ 1020 w 2633"/>
              <a:gd name="T71" fmla="*/ 2306 h 3459"/>
              <a:gd name="T72" fmla="*/ 2107 w 2633"/>
              <a:gd name="T73" fmla="*/ 2331 h 3459"/>
              <a:gd name="T74" fmla="*/ 2195 w 2633"/>
              <a:gd name="T75" fmla="*/ 2289 h 3459"/>
              <a:gd name="T76" fmla="*/ 2217 w 2633"/>
              <a:gd name="T77" fmla="*/ 2193 h 3459"/>
              <a:gd name="T78" fmla="*/ 2156 w 2633"/>
              <a:gd name="T79" fmla="*/ 2117 h 3459"/>
              <a:gd name="T80" fmla="*/ 414 w 2633"/>
              <a:gd name="T81" fmla="*/ 2631 h 3459"/>
              <a:gd name="T82" fmla="*/ 414 w 2633"/>
              <a:gd name="T83" fmla="*/ 2631 h 3459"/>
              <a:gd name="T84" fmla="*/ 1020 w 2633"/>
              <a:gd name="T85" fmla="*/ 2732 h 3459"/>
              <a:gd name="T86" fmla="*/ 978 w 2633"/>
              <a:gd name="T87" fmla="*/ 2819 h 3459"/>
              <a:gd name="T88" fmla="*/ 1020 w 2633"/>
              <a:gd name="T89" fmla="*/ 2908 h 3459"/>
              <a:gd name="T90" fmla="*/ 2107 w 2633"/>
              <a:gd name="T91" fmla="*/ 2933 h 3459"/>
              <a:gd name="T92" fmla="*/ 2195 w 2633"/>
              <a:gd name="T93" fmla="*/ 2891 h 3459"/>
              <a:gd name="T94" fmla="*/ 2217 w 2633"/>
              <a:gd name="T95" fmla="*/ 2794 h 3459"/>
              <a:gd name="T96" fmla="*/ 2156 w 2633"/>
              <a:gd name="T97" fmla="*/ 2719 h 34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633" h="3459">
                <a:moveTo>
                  <a:pt x="113" y="0"/>
                </a:moveTo>
                <a:lnTo>
                  <a:pt x="87" y="3"/>
                </a:lnTo>
                <a:lnTo>
                  <a:pt x="64" y="12"/>
                </a:lnTo>
                <a:lnTo>
                  <a:pt x="43" y="25"/>
                </a:lnTo>
                <a:lnTo>
                  <a:pt x="25" y="43"/>
                </a:lnTo>
                <a:lnTo>
                  <a:pt x="12" y="64"/>
                </a:lnTo>
                <a:lnTo>
                  <a:pt x="3" y="88"/>
                </a:lnTo>
                <a:lnTo>
                  <a:pt x="0" y="113"/>
                </a:lnTo>
                <a:lnTo>
                  <a:pt x="0" y="3347"/>
                </a:lnTo>
                <a:lnTo>
                  <a:pt x="2" y="3366"/>
                </a:lnTo>
                <a:lnTo>
                  <a:pt x="9" y="3386"/>
                </a:lnTo>
                <a:lnTo>
                  <a:pt x="18" y="3405"/>
                </a:lnTo>
                <a:lnTo>
                  <a:pt x="31" y="3422"/>
                </a:lnTo>
                <a:lnTo>
                  <a:pt x="46" y="3438"/>
                </a:lnTo>
                <a:lnTo>
                  <a:pt x="65" y="3449"/>
                </a:lnTo>
                <a:lnTo>
                  <a:pt x="87" y="3457"/>
                </a:lnTo>
                <a:lnTo>
                  <a:pt x="113" y="3459"/>
                </a:lnTo>
                <a:lnTo>
                  <a:pt x="2520" y="3459"/>
                </a:lnTo>
                <a:lnTo>
                  <a:pt x="2546" y="3456"/>
                </a:lnTo>
                <a:lnTo>
                  <a:pt x="2569" y="3447"/>
                </a:lnTo>
                <a:lnTo>
                  <a:pt x="2590" y="3434"/>
                </a:lnTo>
                <a:lnTo>
                  <a:pt x="2608" y="3416"/>
                </a:lnTo>
                <a:lnTo>
                  <a:pt x="2621" y="3395"/>
                </a:lnTo>
                <a:lnTo>
                  <a:pt x="2630" y="3371"/>
                </a:lnTo>
                <a:lnTo>
                  <a:pt x="2633" y="3347"/>
                </a:lnTo>
                <a:lnTo>
                  <a:pt x="2633" y="640"/>
                </a:lnTo>
                <a:lnTo>
                  <a:pt x="2631" y="618"/>
                </a:lnTo>
                <a:lnTo>
                  <a:pt x="2624" y="597"/>
                </a:lnTo>
                <a:lnTo>
                  <a:pt x="2614" y="578"/>
                </a:lnTo>
                <a:lnTo>
                  <a:pt x="2600" y="561"/>
                </a:lnTo>
                <a:lnTo>
                  <a:pt x="2074" y="34"/>
                </a:lnTo>
                <a:lnTo>
                  <a:pt x="2056" y="20"/>
                </a:lnTo>
                <a:lnTo>
                  <a:pt x="2037" y="10"/>
                </a:lnTo>
                <a:lnTo>
                  <a:pt x="2016" y="2"/>
                </a:lnTo>
                <a:lnTo>
                  <a:pt x="1994" y="0"/>
                </a:lnTo>
                <a:lnTo>
                  <a:pt x="113" y="0"/>
                </a:lnTo>
                <a:close/>
                <a:moveTo>
                  <a:pt x="226" y="226"/>
                </a:moveTo>
                <a:lnTo>
                  <a:pt x="1881" y="226"/>
                </a:lnTo>
                <a:lnTo>
                  <a:pt x="1881" y="640"/>
                </a:lnTo>
                <a:lnTo>
                  <a:pt x="1883" y="660"/>
                </a:lnTo>
                <a:lnTo>
                  <a:pt x="1889" y="681"/>
                </a:lnTo>
                <a:lnTo>
                  <a:pt x="1900" y="699"/>
                </a:lnTo>
                <a:lnTo>
                  <a:pt x="1913" y="716"/>
                </a:lnTo>
                <a:lnTo>
                  <a:pt x="1930" y="731"/>
                </a:lnTo>
                <a:lnTo>
                  <a:pt x="1949" y="743"/>
                </a:lnTo>
                <a:lnTo>
                  <a:pt x="1971" y="750"/>
                </a:lnTo>
                <a:lnTo>
                  <a:pt x="1994" y="752"/>
                </a:lnTo>
                <a:lnTo>
                  <a:pt x="2407" y="752"/>
                </a:lnTo>
                <a:lnTo>
                  <a:pt x="2407" y="3233"/>
                </a:lnTo>
                <a:lnTo>
                  <a:pt x="226" y="3233"/>
                </a:lnTo>
                <a:lnTo>
                  <a:pt x="226" y="226"/>
                </a:lnTo>
                <a:close/>
                <a:moveTo>
                  <a:pt x="2107" y="386"/>
                </a:moveTo>
                <a:lnTo>
                  <a:pt x="2247" y="526"/>
                </a:lnTo>
                <a:lnTo>
                  <a:pt x="2107" y="526"/>
                </a:lnTo>
                <a:lnTo>
                  <a:pt x="2107" y="386"/>
                </a:lnTo>
                <a:close/>
                <a:moveTo>
                  <a:pt x="414" y="828"/>
                </a:moveTo>
                <a:lnTo>
                  <a:pt x="414" y="1203"/>
                </a:lnTo>
                <a:lnTo>
                  <a:pt x="790" y="1203"/>
                </a:lnTo>
                <a:lnTo>
                  <a:pt x="790" y="828"/>
                </a:lnTo>
                <a:lnTo>
                  <a:pt x="414" y="828"/>
                </a:lnTo>
                <a:close/>
                <a:moveTo>
                  <a:pt x="1091" y="902"/>
                </a:moveTo>
                <a:lnTo>
                  <a:pt x="1065" y="905"/>
                </a:lnTo>
                <a:lnTo>
                  <a:pt x="1041" y="914"/>
                </a:lnTo>
                <a:lnTo>
                  <a:pt x="1020" y="927"/>
                </a:lnTo>
                <a:lnTo>
                  <a:pt x="1002" y="944"/>
                </a:lnTo>
                <a:lnTo>
                  <a:pt x="990" y="965"/>
                </a:lnTo>
                <a:lnTo>
                  <a:pt x="981" y="989"/>
                </a:lnTo>
                <a:lnTo>
                  <a:pt x="978" y="1016"/>
                </a:lnTo>
                <a:lnTo>
                  <a:pt x="981" y="1041"/>
                </a:lnTo>
                <a:lnTo>
                  <a:pt x="990" y="1065"/>
                </a:lnTo>
                <a:lnTo>
                  <a:pt x="1002" y="1086"/>
                </a:lnTo>
                <a:lnTo>
                  <a:pt x="1020" y="1103"/>
                </a:lnTo>
                <a:lnTo>
                  <a:pt x="1041" y="1116"/>
                </a:lnTo>
                <a:lnTo>
                  <a:pt x="1065" y="1125"/>
                </a:lnTo>
                <a:lnTo>
                  <a:pt x="1091" y="1128"/>
                </a:lnTo>
                <a:lnTo>
                  <a:pt x="2107" y="1128"/>
                </a:lnTo>
                <a:lnTo>
                  <a:pt x="2133" y="1125"/>
                </a:lnTo>
                <a:lnTo>
                  <a:pt x="2156" y="1116"/>
                </a:lnTo>
                <a:lnTo>
                  <a:pt x="2177" y="1103"/>
                </a:lnTo>
                <a:lnTo>
                  <a:pt x="2195" y="1086"/>
                </a:lnTo>
                <a:lnTo>
                  <a:pt x="2207" y="1065"/>
                </a:lnTo>
                <a:lnTo>
                  <a:pt x="2217" y="1041"/>
                </a:lnTo>
                <a:lnTo>
                  <a:pt x="2219" y="1016"/>
                </a:lnTo>
                <a:lnTo>
                  <a:pt x="2217" y="989"/>
                </a:lnTo>
                <a:lnTo>
                  <a:pt x="2207" y="965"/>
                </a:lnTo>
                <a:lnTo>
                  <a:pt x="2195" y="944"/>
                </a:lnTo>
                <a:lnTo>
                  <a:pt x="2177" y="927"/>
                </a:lnTo>
                <a:lnTo>
                  <a:pt x="2156" y="914"/>
                </a:lnTo>
                <a:lnTo>
                  <a:pt x="2133" y="905"/>
                </a:lnTo>
                <a:lnTo>
                  <a:pt x="2107" y="902"/>
                </a:lnTo>
                <a:lnTo>
                  <a:pt x="1091" y="902"/>
                </a:lnTo>
                <a:close/>
                <a:moveTo>
                  <a:pt x="414" y="1429"/>
                </a:moveTo>
                <a:lnTo>
                  <a:pt x="414" y="1805"/>
                </a:lnTo>
                <a:lnTo>
                  <a:pt x="790" y="1805"/>
                </a:lnTo>
                <a:lnTo>
                  <a:pt x="790" y="1429"/>
                </a:lnTo>
                <a:lnTo>
                  <a:pt x="414" y="1429"/>
                </a:lnTo>
                <a:close/>
                <a:moveTo>
                  <a:pt x="1091" y="1504"/>
                </a:moveTo>
                <a:lnTo>
                  <a:pt x="1065" y="1507"/>
                </a:lnTo>
                <a:lnTo>
                  <a:pt x="1041" y="1515"/>
                </a:lnTo>
                <a:lnTo>
                  <a:pt x="1020" y="1529"/>
                </a:lnTo>
                <a:lnTo>
                  <a:pt x="1002" y="1546"/>
                </a:lnTo>
                <a:lnTo>
                  <a:pt x="990" y="1567"/>
                </a:lnTo>
                <a:lnTo>
                  <a:pt x="981" y="1591"/>
                </a:lnTo>
                <a:lnTo>
                  <a:pt x="978" y="1617"/>
                </a:lnTo>
                <a:lnTo>
                  <a:pt x="981" y="1642"/>
                </a:lnTo>
                <a:lnTo>
                  <a:pt x="990" y="1667"/>
                </a:lnTo>
                <a:lnTo>
                  <a:pt x="1002" y="1688"/>
                </a:lnTo>
                <a:lnTo>
                  <a:pt x="1020" y="1704"/>
                </a:lnTo>
                <a:lnTo>
                  <a:pt x="1041" y="1718"/>
                </a:lnTo>
                <a:lnTo>
                  <a:pt x="1065" y="1726"/>
                </a:lnTo>
                <a:lnTo>
                  <a:pt x="1091" y="1730"/>
                </a:lnTo>
                <a:lnTo>
                  <a:pt x="2107" y="1730"/>
                </a:lnTo>
                <a:lnTo>
                  <a:pt x="2133" y="1726"/>
                </a:lnTo>
                <a:lnTo>
                  <a:pt x="2156" y="1718"/>
                </a:lnTo>
                <a:lnTo>
                  <a:pt x="2177" y="1704"/>
                </a:lnTo>
                <a:lnTo>
                  <a:pt x="2195" y="1688"/>
                </a:lnTo>
                <a:lnTo>
                  <a:pt x="2207" y="1667"/>
                </a:lnTo>
                <a:lnTo>
                  <a:pt x="2217" y="1642"/>
                </a:lnTo>
                <a:lnTo>
                  <a:pt x="2219" y="1617"/>
                </a:lnTo>
                <a:lnTo>
                  <a:pt x="2217" y="1591"/>
                </a:lnTo>
                <a:lnTo>
                  <a:pt x="2207" y="1567"/>
                </a:lnTo>
                <a:lnTo>
                  <a:pt x="2195" y="1546"/>
                </a:lnTo>
                <a:lnTo>
                  <a:pt x="2177" y="1529"/>
                </a:lnTo>
                <a:lnTo>
                  <a:pt x="2156" y="1515"/>
                </a:lnTo>
                <a:lnTo>
                  <a:pt x="2133" y="1507"/>
                </a:lnTo>
                <a:lnTo>
                  <a:pt x="2107" y="1504"/>
                </a:lnTo>
                <a:lnTo>
                  <a:pt x="1091" y="1504"/>
                </a:lnTo>
                <a:close/>
                <a:moveTo>
                  <a:pt x="414" y="2030"/>
                </a:moveTo>
                <a:lnTo>
                  <a:pt x="414" y="2407"/>
                </a:lnTo>
                <a:lnTo>
                  <a:pt x="790" y="2407"/>
                </a:lnTo>
                <a:lnTo>
                  <a:pt x="790" y="2030"/>
                </a:lnTo>
                <a:lnTo>
                  <a:pt x="414" y="2030"/>
                </a:lnTo>
                <a:close/>
                <a:moveTo>
                  <a:pt x="1091" y="2105"/>
                </a:moveTo>
                <a:lnTo>
                  <a:pt x="1065" y="2109"/>
                </a:lnTo>
                <a:lnTo>
                  <a:pt x="1041" y="2117"/>
                </a:lnTo>
                <a:lnTo>
                  <a:pt x="1020" y="2131"/>
                </a:lnTo>
                <a:lnTo>
                  <a:pt x="1002" y="2147"/>
                </a:lnTo>
                <a:lnTo>
                  <a:pt x="990" y="2168"/>
                </a:lnTo>
                <a:lnTo>
                  <a:pt x="981" y="2193"/>
                </a:lnTo>
                <a:lnTo>
                  <a:pt x="978" y="2219"/>
                </a:lnTo>
                <a:lnTo>
                  <a:pt x="981" y="2244"/>
                </a:lnTo>
                <a:lnTo>
                  <a:pt x="990" y="2268"/>
                </a:lnTo>
                <a:lnTo>
                  <a:pt x="1002" y="2289"/>
                </a:lnTo>
                <a:lnTo>
                  <a:pt x="1020" y="2306"/>
                </a:lnTo>
                <a:lnTo>
                  <a:pt x="1041" y="2320"/>
                </a:lnTo>
                <a:lnTo>
                  <a:pt x="1065" y="2328"/>
                </a:lnTo>
                <a:lnTo>
                  <a:pt x="1091" y="2331"/>
                </a:lnTo>
                <a:lnTo>
                  <a:pt x="2107" y="2331"/>
                </a:lnTo>
                <a:lnTo>
                  <a:pt x="2133" y="2328"/>
                </a:lnTo>
                <a:lnTo>
                  <a:pt x="2156" y="2320"/>
                </a:lnTo>
                <a:lnTo>
                  <a:pt x="2177" y="2306"/>
                </a:lnTo>
                <a:lnTo>
                  <a:pt x="2195" y="2289"/>
                </a:lnTo>
                <a:lnTo>
                  <a:pt x="2207" y="2268"/>
                </a:lnTo>
                <a:lnTo>
                  <a:pt x="2217" y="2244"/>
                </a:lnTo>
                <a:lnTo>
                  <a:pt x="2219" y="2219"/>
                </a:lnTo>
                <a:lnTo>
                  <a:pt x="2217" y="2193"/>
                </a:lnTo>
                <a:lnTo>
                  <a:pt x="2207" y="2168"/>
                </a:lnTo>
                <a:lnTo>
                  <a:pt x="2195" y="2147"/>
                </a:lnTo>
                <a:lnTo>
                  <a:pt x="2177" y="2131"/>
                </a:lnTo>
                <a:lnTo>
                  <a:pt x="2156" y="2117"/>
                </a:lnTo>
                <a:lnTo>
                  <a:pt x="2133" y="2109"/>
                </a:lnTo>
                <a:lnTo>
                  <a:pt x="2107" y="2105"/>
                </a:lnTo>
                <a:lnTo>
                  <a:pt x="1091" y="2105"/>
                </a:lnTo>
                <a:close/>
                <a:moveTo>
                  <a:pt x="414" y="2631"/>
                </a:moveTo>
                <a:lnTo>
                  <a:pt x="414" y="3007"/>
                </a:lnTo>
                <a:lnTo>
                  <a:pt x="790" y="3007"/>
                </a:lnTo>
                <a:lnTo>
                  <a:pt x="790" y="2631"/>
                </a:lnTo>
                <a:lnTo>
                  <a:pt x="414" y="2631"/>
                </a:lnTo>
                <a:close/>
                <a:moveTo>
                  <a:pt x="1091" y="2707"/>
                </a:moveTo>
                <a:lnTo>
                  <a:pt x="1065" y="2710"/>
                </a:lnTo>
                <a:lnTo>
                  <a:pt x="1041" y="2719"/>
                </a:lnTo>
                <a:lnTo>
                  <a:pt x="1020" y="2732"/>
                </a:lnTo>
                <a:lnTo>
                  <a:pt x="1002" y="2749"/>
                </a:lnTo>
                <a:lnTo>
                  <a:pt x="990" y="2770"/>
                </a:lnTo>
                <a:lnTo>
                  <a:pt x="981" y="2794"/>
                </a:lnTo>
                <a:lnTo>
                  <a:pt x="978" y="2819"/>
                </a:lnTo>
                <a:lnTo>
                  <a:pt x="981" y="2846"/>
                </a:lnTo>
                <a:lnTo>
                  <a:pt x="990" y="2870"/>
                </a:lnTo>
                <a:lnTo>
                  <a:pt x="1002" y="2891"/>
                </a:lnTo>
                <a:lnTo>
                  <a:pt x="1020" y="2908"/>
                </a:lnTo>
                <a:lnTo>
                  <a:pt x="1041" y="2921"/>
                </a:lnTo>
                <a:lnTo>
                  <a:pt x="1065" y="2930"/>
                </a:lnTo>
                <a:lnTo>
                  <a:pt x="1091" y="2933"/>
                </a:lnTo>
                <a:lnTo>
                  <a:pt x="2107" y="2933"/>
                </a:lnTo>
                <a:lnTo>
                  <a:pt x="2133" y="2930"/>
                </a:lnTo>
                <a:lnTo>
                  <a:pt x="2156" y="2921"/>
                </a:lnTo>
                <a:lnTo>
                  <a:pt x="2177" y="2908"/>
                </a:lnTo>
                <a:lnTo>
                  <a:pt x="2195" y="2891"/>
                </a:lnTo>
                <a:lnTo>
                  <a:pt x="2207" y="2870"/>
                </a:lnTo>
                <a:lnTo>
                  <a:pt x="2217" y="2846"/>
                </a:lnTo>
                <a:lnTo>
                  <a:pt x="2219" y="2819"/>
                </a:lnTo>
                <a:lnTo>
                  <a:pt x="2217" y="2794"/>
                </a:lnTo>
                <a:lnTo>
                  <a:pt x="2207" y="2770"/>
                </a:lnTo>
                <a:lnTo>
                  <a:pt x="2195" y="2749"/>
                </a:lnTo>
                <a:lnTo>
                  <a:pt x="2177" y="2732"/>
                </a:lnTo>
                <a:lnTo>
                  <a:pt x="2156" y="2719"/>
                </a:lnTo>
                <a:lnTo>
                  <a:pt x="2133" y="2710"/>
                </a:lnTo>
                <a:lnTo>
                  <a:pt x="2107" y="2707"/>
                </a:lnTo>
                <a:lnTo>
                  <a:pt x="1091" y="2707"/>
                </a:lnTo>
                <a:close/>
              </a:path>
            </a:pathLst>
          </a:custGeom>
          <a:solidFill>
            <a:srgbClr val="00569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9" name="Group 9"/>
          <p:cNvGrpSpPr>
            <a:grpSpLocks noChangeAspect="1"/>
          </p:cNvGrpSpPr>
          <p:nvPr/>
        </p:nvGrpSpPr>
        <p:grpSpPr bwMode="auto">
          <a:xfrm>
            <a:off x="823913" y="4133850"/>
            <a:ext cx="549275" cy="549275"/>
            <a:chOff x="519" y="2604"/>
            <a:chExt cx="346" cy="346"/>
          </a:xfrm>
          <a:solidFill>
            <a:srgbClr val="00569B"/>
          </a:solidFill>
        </p:grpSpPr>
        <p:sp>
          <p:nvSpPr>
            <p:cNvPr id="42" name="Freeform 11"/>
            <p:cNvSpPr>
              <a:spLocks noEditPoints="1"/>
            </p:cNvSpPr>
            <p:nvPr/>
          </p:nvSpPr>
          <p:spPr bwMode="auto">
            <a:xfrm>
              <a:off x="726" y="2816"/>
              <a:ext cx="139" cy="134"/>
            </a:xfrm>
            <a:custGeom>
              <a:avLst/>
              <a:gdLst>
                <a:gd name="T0" fmla="*/ 629 w 1390"/>
                <a:gd name="T1" fmla="*/ 3 h 1337"/>
                <a:gd name="T2" fmla="*/ 500 w 1390"/>
                <a:gd name="T3" fmla="*/ 26 h 1337"/>
                <a:gd name="T4" fmla="*/ 381 w 1390"/>
                <a:gd name="T5" fmla="*/ 71 h 1337"/>
                <a:gd name="T6" fmla="*/ 274 w 1390"/>
                <a:gd name="T7" fmla="*/ 136 h 1337"/>
                <a:gd name="T8" fmla="*/ 182 w 1390"/>
                <a:gd name="T9" fmla="*/ 217 h 1337"/>
                <a:gd name="T10" fmla="*/ 105 w 1390"/>
                <a:gd name="T11" fmla="*/ 314 h 1337"/>
                <a:gd name="T12" fmla="*/ 49 w 1390"/>
                <a:gd name="T13" fmla="*/ 422 h 1337"/>
                <a:gd name="T14" fmla="*/ 12 w 1390"/>
                <a:gd name="T15" fmla="*/ 542 h 1337"/>
                <a:gd name="T16" fmla="*/ 0 w 1390"/>
                <a:gd name="T17" fmla="*/ 668 h 1337"/>
                <a:gd name="T18" fmla="*/ 12 w 1390"/>
                <a:gd name="T19" fmla="*/ 795 h 1337"/>
                <a:gd name="T20" fmla="*/ 49 w 1390"/>
                <a:gd name="T21" fmla="*/ 915 h 1337"/>
                <a:gd name="T22" fmla="*/ 105 w 1390"/>
                <a:gd name="T23" fmla="*/ 1023 h 1337"/>
                <a:gd name="T24" fmla="*/ 182 w 1390"/>
                <a:gd name="T25" fmla="*/ 1120 h 1337"/>
                <a:gd name="T26" fmla="*/ 274 w 1390"/>
                <a:gd name="T27" fmla="*/ 1200 h 1337"/>
                <a:gd name="T28" fmla="*/ 381 w 1390"/>
                <a:gd name="T29" fmla="*/ 1266 h 1337"/>
                <a:gd name="T30" fmla="*/ 500 w 1390"/>
                <a:gd name="T31" fmla="*/ 1311 h 1337"/>
                <a:gd name="T32" fmla="*/ 629 w 1390"/>
                <a:gd name="T33" fmla="*/ 1334 h 1337"/>
                <a:gd name="T34" fmla="*/ 762 w 1390"/>
                <a:gd name="T35" fmla="*/ 1334 h 1337"/>
                <a:gd name="T36" fmla="*/ 890 w 1390"/>
                <a:gd name="T37" fmla="*/ 1311 h 1337"/>
                <a:gd name="T38" fmla="*/ 1008 w 1390"/>
                <a:gd name="T39" fmla="*/ 1266 h 1337"/>
                <a:gd name="T40" fmla="*/ 1115 w 1390"/>
                <a:gd name="T41" fmla="*/ 1200 h 1337"/>
                <a:gd name="T42" fmla="*/ 1208 w 1390"/>
                <a:gd name="T43" fmla="*/ 1120 h 1337"/>
                <a:gd name="T44" fmla="*/ 1284 w 1390"/>
                <a:gd name="T45" fmla="*/ 1023 h 1337"/>
                <a:gd name="T46" fmla="*/ 1342 w 1390"/>
                <a:gd name="T47" fmla="*/ 915 h 1337"/>
                <a:gd name="T48" fmla="*/ 1377 w 1390"/>
                <a:gd name="T49" fmla="*/ 795 h 1337"/>
                <a:gd name="T50" fmla="*/ 1390 w 1390"/>
                <a:gd name="T51" fmla="*/ 669 h 1337"/>
                <a:gd name="T52" fmla="*/ 1377 w 1390"/>
                <a:gd name="T53" fmla="*/ 542 h 1337"/>
                <a:gd name="T54" fmla="*/ 1342 w 1390"/>
                <a:gd name="T55" fmla="*/ 423 h 1337"/>
                <a:gd name="T56" fmla="*/ 1284 w 1390"/>
                <a:gd name="T57" fmla="*/ 314 h 1337"/>
                <a:gd name="T58" fmla="*/ 1208 w 1390"/>
                <a:gd name="T59" fmla="*/ 217 h 1337"/>
                <a:gd name="T60" fmla="*/ 1115 w 1390"/>
                <a:gd name="T61" fmla="*/ 136 h 1337"/>
                <a:gd name="T62" fmla="*/ 1008 w 1390"/>
                <a:gd name="T63" fmla="*/ 71 h 1337"/>
                <a:gd name="T64" fmla="*/ 890 w 1390"/>
                <a:gd name="T65" fmla="*/ 26 h 1337"/>
                <a:gd name="T66" fmla="*/ 762 w 1390"/>
                <a:gd name="T67" fmla="*/ 3 h 1337"/>
                <a:gd name="T68" fmla="*/ 983 w 1390"/>
                <a:gd name="T69" fmla="*/ 852 h 1337"/>
                <a:gd name="T70" fmla="*/ 1003 w 1390"/>
                <a:gd name="T71" fmla="*/ 885 h 1337"/>
                <a:gd name="T72" fmla="*/ 1003 w 1390"/>
                <a:gd name="T73" fmla="*/ 922 h 1337"/>
                <a:gd name="T74" fmla="*/ 984 w 1390"/>
                <a:gd name="T75" fmla="*/ 956 h 1337"/>
                <a:gd name="T76" fmla="*/ 950 w 1390"/>
                <a:gd name="T77" fmla="*/ 975 h 1337"/>
                <a:gd name="T78" fmla="*/ 913 w 1390"/>
                <a:gd name="T79" fmla="*/ 975 h 1337"/>
                <a:gd name="T80" fmla="*/ 879 w 1390"/>
                <a:gd name="T81" fmla="*/ 956 h 1337"/>
                <a:gd name="T82" fmla="*/ 510 w 1390"/>
                <a:gd name="T83" fmla="*/ 956 h 1337"/>
                <a:gd name="T84" fmla="*/ 478 w 1390"/>
                <a:gd name="T85" fmla="*/ 975 h 1337"/>
                <a:gd name="T86" fmla="*/ 440 w 1390"/>
                <a:gd name="T87" fmla="*/ 975 h 1337"/>
                <a:gd name="T88" fmla="*/ 406 w 1390"/>
                <a:gd name="T89" fmla="*/ 956 h 1337"/>
                <a:gd name="T90" fmla="*/ 387 w 1390"/>
                <a:gd name="T91" fmla="*/ 922 h 1337"/>
                <a:gd name="T92" fmla="*/ 387 w 1390"/>
                <a:gd name="T93" fmla="*/ 885 h 1337"/>
                <a:gd name="T94" fmla="*/ 406 w 1390"/>
                <a:gd name="T95" fmla="*/ 852 h 1337"/>
                <a:gd name="T96" fmla="*/ 406 w 1390"/>
                <a:gd name="T97" fmla="*/ 485 h 1337"/>
                <a:gd name="T98" fmla="*/ 387 w 1390"/>
                <a:gd name="T99" fmla="*/ 453 h 1337"/>
                <a:gd name="T100" fmla="*/ 387 w 1390"/>
                <a:gd name="T101" fmla="*/ 415 h 1337"/>
                <a:gd name="T102" fmla="*/ 406 w 1390"/>
                <a:gd name="T103" fmla="*/ 381 h 1337"/>
                <a:gd name="T104" fmla="*/ 440 w 1390"/>
                <a:gd name="T105" fmla="*/ 362 h 1337"/>
                <a:gd name="T106" fmla="*/ 477 w 1390"/>
                <a:gd name="T107" fmla="*/ 362 h 1337"/>
                <a:gd name="T108" fmla="*/ 510 w 1390"/>
                <a:gd name="T109" fmla="*/ 381 h 1337"/>
                <a:gd name="T110" fmla="*/ 879 w 1390"/>
                <a:gd name="T111" fmla="*/ 381 h 1337"/>
                <a:gd name="T112" fmla="*/ 913 w 1390"/>
                <a:gd name="T113" fmla="*/ 362 h 1337"/>
                <a:gd name="T114" fmla="*/ 950 w 1390"/>
                <a:gd name="T115" fmla="*/ 362 h 1337"/>
                <a:gd name="T116" fmla="*/ 983 w 1390"/>
                <a:gd name="T117" fmla="*/ 381 h 1337"/>
                <a:gd name="T118" fmla="*/ 1003 w 1390"/>
                <a:gd name="T119" fmla="*/ 415 h 1337"/>
                <a:gd name="T120" fmla="*/ 1002 w 1390"/>
                <a:gd name="T121" fmla="*/ 453 h 1337"/>
                <a:gd name="T122" fmla="*/ 983 w 1390"/>
                <a:gd name="T123" fmla="*/ 485 h 1337"/>
                <a:gd name="T124" fmla="*/ 983 w 1390"/>
                <a:gd name="T125" fmla="*/ 852 h 1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90" h="1337">
                  <a:moveTo>
                    <a:pt x="695" y="0"/>
                  </a:moveTo>
                  <a:lnTo>
                    <a:pt x="629" y="3"/>
                  </a:lnTo>
                  <a:lnTo>
                    <a:pt x="564" y="11"/>
                  </a:lnTo>
                  <a:lnTo>
                    <a:pt x="500" y="26"/>
                  </a:lnTo>
                  <a:lnTo>
                    <a:pt x="440" y="47"/>
                  </a:lnTo>
                  <a:lnTo>
                    <a:pt x="381" y="71"/>
                  </a:lnTo>
                  <a:lnTo>
                    <a:pt x="327" y="102"/>
                  </a:lnTo>
                  <a:lnTo>
                    <a:pt x="274" y="136"/>
                  </a:lnTo>
                  <a:lnTo>
                    <a:pt x="226" y="175"/>
                  </a:lnTo>
                  <a:lnTo>
                    <a:pt x="182" y="217"/>
                  </a:lnTo>
                  <a:lnTo>
                    <a:pt x="142" y="265"/>
                  </a:lnTo>
                  <a:lnTo>
                    <a:pt x="105" y="314"/>
                  </a:lnTo>
                  <a:lnTo>
                    <a:pt x="75" y="366"/>
                  </a:lnTo>
                  <a:lnTo>
                    <a:pt x="49" y="422"/>
                  </a:lnTo>
                  <a:lnTo>
                    <a:pt x="28" y="481"/>
                  </a:lnTo>
                  <a:lnTo>
                    <a:pt x="12" y="542"/>
                  </a:lnTo>
                  <a:lnTo>
                    <a:pt x="3" y="604"/>
                  </a:lnTo>
                  <a:lnTo>
                    <a:pt x="0" y="668"/>
                  </a:lnTo>
                  <a:lnTo>
                    <a:pt x="3" y="733"/>
                  </a:lnTo>
                  <a:lnTo>
                    <a:pt x="12" y="795"/>
                  </a:lnTo>
                  <a:lnTo>
                    <a:pt x="28" y="856"/>
                  </a:lnTo>
                  <a:lnTo>
                    <a:pt x="49" y="915"/>
                  </a:lnTo>
                  <a:lnTo>
                    <a:pt x="75" y="970"/>
                  </a:lnTo>
                  <a:lnTo>
                    <a:pt x="105" y="1023"/>
                  </a:lnTo>
                  <a:lnTo>
                    <a:pt x="142" y="1073"/>
                  </a:lnTo>
                  <a:lnTo>
                    <a:pt x="182" y="1120"/>
                  </a:lnTo>
                  <a:lnTo>
                    <a:pt x="226" y="1162"/>
                  </a:lnTo>
                  <a:lnTo>
                    <a:pt x="274" y="1200"/>
                  </a:lnTo>
                  <a:lnTo>
                    <a:pt x="327" y="1235"/>
                  </a:lnTo>
                  <a:lnTo>
                    <a:pt x="381" y="1266"/>
                  </a:lnTo>
                  <a:lnTo>
                    <a:pt x="440" y="1291"/>
                  </a:lnTo>
                  <a:lnTo>
                    <a:pt x="500" y="1311"/>
                  </a:lnTo>
                  <a:lnTo>
                    <a:pt x="564" y="1325"/>
                  </a:lnTo>
                  <a:lnTo>
                    <a:pt x="629" y="1334"/>
                  </a:lnTo>
                  <a:lnTo>
                    <a:pt x="695" y="1337"/>
                  </a:lnTo>
                  <a:lnTo>
                    <a:pt x="762" y="1334"/>
                  </a:lnTo>
                  <a:lnTo>
                    <a:pt x="827" y="1325"/>
                  </a:lnTo>
                  <a:lnTo>
                    <a:pt x="890" y="1311"/>
                  </a:lnTo>
                  <a:lnTo>
                    <a:pt x="950" y="1291"/>
                  </a:lnTo>
                  <a:lnTo>
                    <a:pt x="1008" y="1266"/>
                  </a:lnTo>
                  <a:lnTo>
                    <a:pt x="1064" y="1235"/>
                  </a:lnTo>
                  <a:lnTo>
                    <a:pt x="1115" y="1200"/>
                  </a:lnTo>
                  <a:lnTo>
                    <a:pt x="1163" y="1162"/>
                  </a:lnTo>
                  <a:lnTo>
                    <a:pt x="1208" y="1120"/>
                  </a:lnTo>
                  <a:lnTo>
                    <a:pt x="1248" y="1073"/>
                  </a:lnTo>
                  <a:lnTo>
                    <a:pt x="1284" y="1023"/>
                  </a:lnTo>
                  <a:lnTo>
                    <a:pt x="1315" y="970"/>
                  </a:lnTo>
                  <a:lnTo>
                    <a:pt x="1342" y="915"/>
                  </a:lnTo>
                  <a:lnTo>
                    <a:pt x="1363" y="856"/>
                  </a:lnTo>
                  <a:lnTo>
                    <a:pt x="1377" y="795"/>
                  </a:lnTo>
                  <a:lnTo>
                    <a:pt x="1387" y="733"/>
                  </a:lnTo>
                  <a:lnTo>
                    <a:pt x="1390" y="669"/>
                  </a:lnTo>
                  <a:lnTo>
                    <a:pt x="1387" y="604"/>
                  </a:lnTo>
                  <a:lnTo>
                    <a:pt x="1377" y="542"/>
                  </a:lnTo>
                  <a:lnTo>
                    <a:pt x="1363" y="481"/>
                  </a:lnTo>
                  <a:lnTo>
                    <a:pt x="1342" y="423"/>
                  </a:lnTo>
                  <a:lnTo>
                    <a:pt x="1315" y="366"/>
                  </a:lnTo>
                  <a:lnTo>
                    <a:pt x="1284" y="314"/>
                  </a:lnTo>
                  <a:lnTo>
                    <a:pt x="1248" y="265"/>
                  </a:lnTo>
                  <a:lnTo>
                    <a:pt x="1208" y="217"/>
                  </a:lnTo>
                  <a:lnTo>
                    <a:pt x="1163" y="175"/>
                  </a:lnTo>
                  <a:lnTo>
                    <a:pt x="1115" y="136"/>
                  </a:lnTo>
                  <a:lnTo>
                    <a:pt x="1064" y="102"/>
                  </a:lnTo>
                  <a:lnTo>
                    <a:pt x="1008" y="71"/>
                  </a:lnTo>
                  <a:lnTo>
                    <a:pt x="950" y="47"/>
                  </a:lnTo>
                  <a:lnTo>
                    <a:pt x="890" y="26"/>
                  </a:lnTo>
                  <a:lnTo>
                    <a:pt x="827" y="11"/>
                  </a:lnTo>
                  <a:lnTo>
                    <a:pt x="762" y="3"/>
                  </a:lnTo>
                  <a:lnTo>
                    <a:pt x="695" y="0"/>
                  </a:lnTo>
                  <a:close/>
                  <a:moveTo>
                    <a:pt x="983" y="852"/>
                  </a:moveTo>
                  <a:lnTo>
                    <a:pt x="996" y="867"/>
                  </a:lnTo>
                  <a:lnTo>
                    <a:pt x="1003" y="885"/>
                  </a:lnTo>
                  <a:lnTo>
                    <a:pt x="1005" y="903"/>
                  </a:lnTo>
                  <a:lnTo>
                    <a:pt x="1003" y="922"/>
                  </a:lnTo>
                  <a:lnTo>
                    <a:pt x="996" y="940"/>
                  </a:lnTo>
                  <a:lnTo>
                    <a:pt x="984" y="956"/>
                  </a:lnTo>
                  <a:lnTo>
                    <a:pt x="968" y="967"/>
                  </a:lnTo>
                  <a:lnTo>
                    <a:pt x="950" y="975"/>
                  </a:lnTo>
                  <a:lnTo>
                    <a:pt x="932" y="978"/>
                  </a:lnTo>
                  <a:lnTo>
                    <a:pt x="913" y="975"/>
                  </a:lnTo>
                  <a:lnTo>
                    <a:pt x="895" y="968"/>
                  </a:lnTo>
                  <a:lnTo>
                    <a:pt x="879" y="956"/>
                  </a:lnTo>
                  <a:lnTo>
                    <a:pt x="695" y="772"/>
                  </a:lnTo>
                  <a:lnTo>
                    <a:pt x="510" y="956"/>
                  </a:lnTo>
                  <a:lnTo>
                    <a:pt x="494" y="968"/>
                  </a:lnTo>
                  <a:lnTo>
                    <a:pt x="478" y="975"/>
                  </a:lnTo>
                  <a:lnTo>
                    <a:pt x="459" y="978"/>
                  </a:lnTo>
                  <a:lnTo>
                    <a:pt x="440" y="975"/>
                  </a:lnTo>
                  <a:lnTo>
                    <a:pt x="422" y="967"/>
                  </a:lnTo>
                  <a:lnTo>
                    <a:pt x="406" y="956"/>
                  </a:lnTo>
                  <a:lnTo>
                    <a:pt x="395" y="940"/>
                  </a:lnTo>
                  <a:lnTo>
                    <a:pt x="387" y="922"/>
                  </a:lnTo>
                  <a:lnTo>
                    <a:pt x="385" y="903"/>
                  </a:lnTo>
                  <a:lnTo>
                    <a:pt x="387" y="885"/>
                  </a:lnTo>
                  <a:lnTo>
                    <a:pt x="395" y="867"/>
                  </a:lnTo>
                  <a:lnTo>
                    <a:pt x="406" y="852"/>
                  </a:lnTo>
                  <a:lnTo>
                    <a:pt x="591" y="669"/>
                  </a:lnTo>
                  <a:lnTo>
                    <a:pt x="406" y="485"/>
                  </a:lnTo>
                  <a:lnTo>
                    <a:pt x="395" y="469"/>
                  </a:lnTo>
                  <a:lnTo>
                    <a:pt x="387" y="453"/>
                  </a:lnTo>
                  <a:lnTo>
                    <a:pt x="385" y="434"/>
                  </a:lnTo>
                  <a:lnTo>
                    <a:pt x="387" y="415"/>
                  </a:lnTo>
                  <a:lnTo>
                    <a:pt x="395" y="397"/>
                  </a:lnTo>
                  <a:lnTo>
                    <a:pt x="406" y="381"/>
                  </a:lnTo>
                  <a:lnTo>
                    <a:pt x="422" y="370"/>
                  </a:lnTo>
                  <a:lnTo>
                    <a:pt x="440" y="362"/>
                  </a:lnTo>
                  <a:lnTo>
                    <a:pt x="459" y="360"/>
                  </a:lnTo>
                  <a:lnTo>
                    <a:pt x="477" y="362"/>
                  </a:lnTo>
                  <a:lnTo>
                    <a:pt x="494" y="370"/>
                  </a:lnTo>
                  <a:lnTo>
                    <a:pt x="510" y="381"/>
                  </a:lnTo>
                  <a:lnTo>
                    <a:pt x="695" y="565"/>
                  </a:lnTo>
                  <a:lnTo>
                    <a:pt x="879" y="381"/>
                  </a:lnTo>
                  <a:lnTo>
                    <a:pt x="895" y="370"/>
                  </a:lnTo>
                  <a:lnTo>
                    <a:pt x="913" y="362"/>
                  </a:lnTo>
                  <a:lnTo>
                    <a:pt x="932" y="360"/>
                  </a:lnTo>
                  <a:lnTo>
                    <a:pt x="950" y="362"/>
                  </a:lnTo>
                  <a:lnTo>
                    <a:pt x="967" y="370"/>
                  </a:lnTo>
                  <a:lnTo>
                    <a:pt x="983" y="381"/>
                  </a:lnTo>
                  <a:lnTo>
                    <a:pt x="996" y="397"/>
                  </a:lnTo>
                  <a:lnTo>
                    <a:pt x="1003" y="415"/>
                  </a:lnTo>
                  <a:lnTo>
                    <a:pt x="1005" y="434"/>
                  </a:lnTo>
                  <a:lnTo>
                    <a:pt x="1002" y="453"/>
                  </a:lnTo>
                  <a:lnTo>
                    <a:pt x="996" y="469"/>
                  </a:lnTo>
                  <a:lnTo>
                    <a:pt x="983" y="485"/>
                  </a:lnTo>
                  <a:lnTo>
                    <a:pt x="800" y="669"/>
                  </a:lnTo>
                  <a:lnTo>
                    <a:pt x="983" y="85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2"/>
            <p:cNvSpPr>
              <a:spLocks noEditPoints="1"/>
            </p:cNvSpPr>
            <p:nvPr/>
          </p:nvSpPr>
          <p:spPr bwMode="auto">
            <a:xfrm>
              <a:off x="519" y="2604"/>
              <a:ext cx="240" cy="310"/>
            </a:xfrm>
            <a:custGeom>
              <a:avLst/>
              <a:gdLst>
                <a:gd name="T0" fmla="*/ 1929 w 2401"/>
                <a:gd name="T1" fmla="*/ 2655 h 3104"/>
                <a:gd name="T2" fmla="*/ 1988 w 2401"/>
                <a:gd name="T3" fmla="*/ 2464 h 3104"/>
                <a:gd name="T4" fmla="*/ 2091 w 2401"/>
                <a:gd name="T5" fmla="*/ 2297 h 3104"/>
                <a:gd name="T6" fmla="*/ 2230 w 2401"/>
                <a:gd name="T7" fmla="*/ 2158 h 3104"/>
                <a:gd name="T8" fmla="*/ 2401 w 2401"/>
                <a:gd name="T9" fmla="*/ 2055 h 3104"/>
                <a:gd name="T10" fmla="*/ 2392 w 2401"/>
                <a:gd name="T11" fmla="*/ 2 h 3104"/>
                <a:gd name="T12" fmla="*/ 8 w 2401"/>
                <a:gd name="T13" fmla="*/ 2 h 3104"/>
                <a:gd name="T14" fmla="*/ 0 w 2401"/>
                <a:gd name="T15" fmla="*/ 3086 h 3104"/>
                <a:gd name="T16" fmla="*/ 18 w 2401"/>
                <a:gd name="T17" fmla="*/ 3104 h 3104"/>
                <a:gd name="T18" fmla="*/ 1941 w 2401"/>
                <a:gd name="T19" fmla="*/ 2984 h 3104"/>
                <a:gd name="T20" fmla="*/ 1917 w 2401"/>
                <a:gd name="T21" fmla="*/ 2792 h 3104"/>
                <a:gd name="T22" fmla="*/ 1877 w 2401"/>
                <a:gd name="T23" fmla="*/ 510 h 3104"/>
                <a:gd name="T24" fmla="*/ 1921 w 2401"/>
                <a:gd name="T25" fmla="*/ 545 h 3104"/>
                <a:gd name="T26" fmla="*/ 1928 w 2401"/>
                <a:gd name="T27" fmla="*/ 602 h 3104"/>
                <a:gd name="T28" fmla="*/ 1894 w 2401"/>
                <a:gd name="T29" fmla="*/ 646 h 3104"/>
                <a:gd name="T30" fmla="*/ 543 w 2401"/>
                <a:gd name="T31" fmla="*/ 655 h 3104"/>
                <a:gd name="T32" fmla="*/ 492 w 2401"/>
                <a:gd name="T33" fmla="*/ 634 h 3104"/>
                <a:gd name="T34" fmla="*/ 470 w 2401"/>
                <a:gd name="T35" fmla="*/ 582 h 3104"/>
                <a:gd name="T36" fmla="*/ 492 w 2401"/>
                <a:gd name="T37" fmla="*/ 530 h 3104"/>
                <a:gd name="T38" fmla="*/ 543 w 2401"/>
                <a:gd name="T39" fmla="*/ 508 h 3104"/>
                <a:gd name="T40" fmla="*/ 1877 w 2401"/>
                <a:gd name="T41" fmla="*/ 996 h 3104"/>
                <a:gd name="T42" fmla="*/ 1921 w 2401"/>
                <a:gd name="T43" fmla="*/ 1029 h 3104"/>
                <a:gd name="T44" fmla="*/ 1928 w 2401"/>
                <a:gd name="T45" fmla="*/ 1086 h 3104"/>
                <a:gd name="T46" fmla="*/ 1894 w 2401"/>
                <a:gd name="T47" fmla="*/ 1130 h 3104"/>
                <a:gd name="T48" fmla="*/ 543 w 2401"/>
                <a:gd name="T49" fmla="*/ 1141 h 3104"/>
                <a:gd name="T50" fmla="*/ 492 w 2401"/>
                <a:gd name="T51" fmla="*/ 1119 h 3104"/>
                <a:gd name="T52" fmla="*/ 470 w 2401"/>
                <a:gd name="T53" fmla="*/ 1067 h 3104"/>
                <a:gd name="T54" fmla="*/ 492 w 2401"/>
                <a:gd name="T55" fmla="*/ 1015 h 3104"/>
                <a:gd name="T56" fmla="*/ 543 w 2401"/>
                <a:gd name="T57" fmla="*/ 994 h 3104"/>
                <a:gd name="T58" fmla="*/ 1877 w 2401"/>
                <a:gd name="T59" fmla="*/ 1481 h 3104"/>
                <a:gd name="T60" fmla="*/ 1921 w 2401"/>
                <a:gd name="T61" fmla="*/ 1515 h 3104"/>
                <a:gd name="T62" fmla="*/ 1928 w 2401"/>
                <a:gd name="T63" fmla="*/ 1571 h 3104"/>
                <a:gd name="T64" fmla="*/ 1894 w 2401"/>
                <a:gd name="T65" fmla="*/ 1616 h 3104"/>
                <a:gd name="T66" fmla="*/ 543 w 2401"/>
                <a:gd name="T67" fmla="*/ 1626 h 3104"/>
                <a:gd name="T68" fmla="*/ 492 w 2401"/>
                <a:gd name="T69" fmla="*/ 1604 h 3104"/>
                <a:gd name="T70" fmla="*/ 470 w 2401"/>
                <a:gd name="T71" fmla="*/ 1551 h 3104"/>
                <a:gd name="T72" fmla="*/ 492 w 2401"/>
                <a:gd name="T73" fmla="*/ 1500 h 3104"/>
                <a:gd name="T74" fmla="*/ 543 w 2401"/>
                <a:gd name="T75" fmla="*/ 1478 h 3104"/>
                <a:gd name="T76" fmla="*/ 1877 w 2401"/>
                <a:gd name="T77" fmla="*/ 1966 h 3104"/>
                <a:gd name="T78" fmla="*/ 1921 w 2401"/>
                <a:gd name="T79" fmla="*/ 2000 h 3104"/>
                <a:gd name="T80" fmla="*/ 1928 w 2401"/>
                <a:gd name="T81" fmla="*/ 2057 h 3104"/>
                <a:gd name="T82" fmla="*/ 1894 w 2401"/>
                <a:gd name="T83" fmla="*/ 2101 h 3104"/>
                <a:gd name="T84" fmla="*/ 543 w 2401"/>
                <a:gd name="T85" fmla="*/ 2110 h 3104"/>
                <a:gd name="T86" fmla="*/ 492 w 2401"/>
                <a:gd name="T87" fmla="*/ 2089 h 3104"/>
                <a:gd name="T88" fmla="*/ 470 w 2401"/>
                <a:gd name="T89" fmla="*/ 2037 h 3104"/>
                <a:gd name="T90" fmla="*/ 492 w 2401"/>
                <a:gd name="T91" fmla="*/ 1985 h 3104"/>
                <a:gd name="T92" fmla="*/ 543 w 2401"/>
                <a:gd name="T93" fmla="*/ 1963 h 3104"/>
                <a:gd name="T94" fmla="*/ 524 w 2401"/>
                <a:gd name="T95" fmla="*/ 2592 h 3104"/>
                <a:gd name="T96" fmla="*/ 480 w 2401"/>
                <a:gd name="T97" fmla="*/ 2559 h 3104"/>
                <a:gd name="T98" fmla="*/ 473 w 2401"/>
                <a:gd name="T99" fmla="*/ 2502 h 3104"/>
                <a:gd name="T100" fmla="*/ 507 w 2401"/>
                <a:gd name="T101" fmla="*/ 2458 h 3104"/>
                <a:gd name="T102" fmla="*/ 1857 w 2401"/>
                <a:gd name="T103" fmla="*/ 2448 h 3104"/>
                <a:gd name="T104" fmla="*/ 1909 w 2401"/>
                <a:gd name="T105" fmla="*/ 2469 h 3104"/>
                <a:gd name="T106" fmla="*/ 1930 w 2401"/>
                <a:gd name="T107" fmla="*/ 2522 h 3104"/>
                <a:gd name="T108" fmla="*/ 1909 w 2401"/>
                <a:gd name="T109" fmla="*/ 2573 h 3104"/>
                <a:gd name="T110" fmla="*/ 1857 w 2401"/>
                <a:gd name="T111" fmla="*/ 2596 h 3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01" h="3104">
                  <a:moveTo>
                    <a:pt x="1917" y="2792"/>
                  </a:moveTo>
                  <a:lnTo>
                    <a:pt x="1920" y="2723"/>
                  </a:lnTo>
                  <a:lnTo>
                    <a:pt x="1929" y="2655"/>
                  </a:lnTo>
                  <a:lnTo>
                    <a:pt x="1943" y="2589"/>
                  </a:lnTo>
                  <a:lnTo>
                    <a:pt x="1963" y="2526"/>
                  </a:lnTo>
                  <a:lnTo>
                    <a:pt x="1988" y="2464"/>
                  </a:lnTo>
                  <a:lnTo>
                    <a:pt x="2017" y="2405"/>
                  </a:lnTo>
                  <a:lnTo>
                    <a:pt x="2052" y="2350"/>
                  </a:lnTo>
                  <a:lnTo>
                    <a:pt x="2091" y="2297"/>
                  </a:lnTo>
                  <a:lnTo>
                    <a:pt x="2134" y="2247"/>
                  </a:lnTo>
                  <a:lnTo>
                    <a:pt x="2180" y="2201"/>
                  </a:lnTo>
                  <a:lnTo>
                    <a:pt x="2230" y="2158"/>
                  </a:lnTo>
                  <a:lnTo>
                    <a:pt x="2284" y="2119"/>
                  </a:lnTo>
                  <a:lnTo>
                    <a:pt x="2341" y="2084"/>
                  </a:lnTo>
                  <a:lnTo>
                    <a:pt x="2401" y="2055"/>
                  </a:lnTo>
                  <a:lnTo>
                    <a:pt x="2401" y="18"/>
                  </a:lnTo>
                  <a:lnTo>
                    <a:pt x="2398" y="8"/>
                  </a:lnTo>
                  <a:lnTo>
                    <a:pt x="2392" y="2"/>
                  </a:lnTo>
                  <a:lnTo>
                    <a:pt x="2382" y="0"/>
                  </a:lnTo>
                  <a:lnTo>
                    <a:pt x="18" y="0"/>
                  </a:lnTo>
                  <a:lnTo>
                    <a:pt x="8" y="2"/>
                  </a:lnTo>
                  <a:lnTo>
                    <a:pt x="2" y="8"/>
                  </a:lnTo>
                  <a:lnTo>
                    <a:pt x="0" y="18"/>
                  </a:lnTo>
                  <a:lnTo>
                    <a:pt x="0" y="3086"/>
                  </a:lnTo>
                  <a:lnTo>
                    <a:pt x="2" y="3096"/>
                  </a:lnTo>
                  <a:lnTo>
                    <a:pt x="8" y="3102"/>
                  </a:lnTo>
                  <a:lnTo>
                    <a:pt x="18" y="3104"/>
                  </a:lnTo>
                  <a:lnTo>
                    <a:pt x="1982" y="3104"/>
                  </a:lnTo>
                  <a:lnTo>
                    <a:pt x="1959" y="3045"/>
                  </a:lnTo>
                  <a:lnTo>
                    <a:pt x="1941" y="2984"/>
                  </a:lnTo>
                  <a:lnTo>
                    <a:pt x="1928" y="2922"/>
                  </a:lnTo>
                  <a:lnTo>
                    <a:pt x="1920" y="2857"/>
                  </a:lnTo>
                  <a:lnTo>
                    <a:pt x="1917" y="2792"/>
                  </a:lnTo>
                  <a:close/>
                  <a:moveTo>
                    <a:pt x="543" y="508"/>
                  </a:moveTo>
                  <a:lnTo>
                    <a:pt x="1857" y="508"/>
                  </a:lnTo>
                  <a:lnTo>
                    <a:pt x="1877" y="510"/>
                  </a:lnTo>
                  <a:lnTo>
                    <a:pt x="1894" y="519"/>
                  </a:lnTo>
                  <a:lnTo>
                    <a:pt x="1909" y="529"/>
                  </a:lnTo>
                  <a:lnTo>
                    <a:pt x="1921" y="545"/>
                  </a:lnTo>
                  <a:lnTo>
                    <a:pt x="1928" y="562"/>
                  </a:lnTo>
                  <a:lnTo>
                    <a:pt x="1930" y="582"/>
                  </a:lnTo>
                  <a:lnTo>
                    <a:pt x="1928" y="602"/>
                  </a:lnTo>
                  <a:lnTo>
                    <a:pt x="1921" y="619"/>
                  </a:lnTo>
                  <a:lnTo>
                    <a:pt x="1909" y="634"/>
                  </a:lnTo>
                  <a:lnTo>
                    <a:pt x="1894" y="646"/>
                  </a:lnTo>
                  <a:lnTo>
                    <a:pt x="1877" y="653"/>
                  </a:lnTo>
                  <a:lnTo>
                    <a:pt x="1857" y="655"/>
                  </a:lnTo>
                  <a:lnTo>
                    <a:pt x="543" y="655"/>
                  </a:lnTo>
                  <a:lnTo>
                    <a:pt x="524" y="653"/>
                  </a:lnTo>
                  <a:lnTo>
                    <a:pt x="507" y="646"/>
                  </a:lnTo>
                  <a:lnTo>
                    <a:pt x="492" y="634"/>
                  </a:lnTo>
                  <a:lnTo>
                    <a:pt x="480" y="619"/>
                  </a:lnTo>
                  <a:lnTo>
                    <a:pt x="473" y="602"/>
                  </a:lnTo>
                  <a:lnTo>
                    <a:pt x="470" y="582"/>
                  </a:lnTo>
                  <a:lnTo>
                    <a:pt x="473" y="562"/>
                  </a:lnTo>
                  <a:lnTo>
                    <a:pt x="480" y="545"/>
                  </a:lnTo>
                  <a:lnTo>
                    <a:pt x="492" y="530"/>
                  </a:lnTo>
                  <a:lnTo>
                    <a:pt x="507" y="519"/>
                  </a:lnTo>
                  <a:lnTo>
                    <a:pt x="524" y="512"/>
                  </a:lnTo>
                  <a:lnTo>
                    <a:pt x="543" y="508"/>
                  </a:lnTo>
                  <a:close/>
                  <a:moveTo>
                    <a:pt x="543" y="994"/>
                  </a:moveTo>
                  <a:lnTo>
                    <a:pt x="1857" y="994"/>
                  </a:lnTo>
                  <a:lnTo>
                    <a:pt x="1877" y="996"/>
                  </a:lnTo>
                  <a:lnTo>
                    <a:pt x="1894" y="1003"/>
                  </a:lnTo>
                  <a:lnTo>
                    <a:pt x="1909" y="1015"/>
                  </a:lnTo>
                  <a:lnTo>
                    <a:pt x="1921" y="1029"/>
                  </a:lnTo>
                  <a:lnTo>
                    <a:pt x="1928" y="1047"/>
                  </a:lnTo>
                  <a:lnTo>
                    <a:pt x="1930" y="1067"/>
                  </a:lnTo>
                  <a:lnTo>
                    <a:pt x="1928" y="1086"/>
                  </a:lnTo>
                  <a:lnTo>
                    <a:pt x="1921" y="1104"/>
                  </a:lnTo>
                  <a:lnTo>
                    <a:pt x="1909" y="1119"/>
                  </a:lnTo>
                  <a:lnTo>
                    <a:pt x="1894" y="1130"/>
                  </a:lnTo>
                  <a:lnTo>
                    <a:pt x="1877" y="1138"/>
                  </a:lnTo>
                  <a:lnTo>
                    <a:pt x="1857" y="1141"/>
                  </a:lnTo>
                  <a:lnTo>
                    <a:pt x="543" y="1141"/>
                  </a:lnTo>
                  <a:lnTo>
                    <a:pt x="524" y="1138"/>
                  </a:lnTo>
                  <a:lnTo>
                    <a:pt x="507" y="1130"/>
                  </a:lnTo>
                  <a:lnTo>
                    <a:pt x="492" y="1119"/>
                  </a:lnTo>
                  <a:lnTo>
                    <a:pt x="480" y="1104"/>
                  </a:lnTo>
                  <a:lnTo>
                    <a:pt x="473" y="1086"/>
                  </a:lnTo>
                  <a:lnTo>
                    <a:pt x="470" y="1067"/>
                  </a:lnTo>
                  <a:lnTo>
                    <a:pt x="473" y="1047"/>
                  </a:lnTo>
                  <a:lnTo>
                    <a:pt x="480" y="1029"/>
                  </a:lnTo>
                  <a:lnTo>
                    <a:pt x="492" y="1015"/>
                  </a:lnTo>
                  <a:lnTo>
                    <a:pt x="507" y="1003"/>
                  </a:lnTo>
                  <a:lnTo>
                    <a:pt x="524" y="996"/>
                  </a:lnTo>
                  <a:lnTo>
                    <a:pt x="543" y="994"/>
                  </a:lnTo>
                  <a:close/>
                  <a:moveTo>
                    <a:pt x="543" y="1478"/>
                  </a:moveTo>
                  <a:lnTo>
                    <a:pt x="1857" y="1478"/>
                  </a:lnTo>
                  <a:lnTo>
                    <a:pt x="1877" y="1481"/>
                  </a:lnTo>
                  <a:lnTo>
                    <a:pt x="1894" y="1488"/>
                  </a:lnTo>
                  <a:lnTo>
                    <a:pt x="1909" y="1500"/>
                  </a:lnTo>
                  <a:lnTo>
                    <a:pt x="1921" y="1515"/>
                  </a:lnTo>
                  <a:lnTo>
                    <a:pt x="1928" y="1533"/>
                  </a:lnTo>
                  <a:lnTo>
                    <a:pt x="1930" y="1551"/>
                  </a:lnTo>
                  <a:lnTo>
                    <a:pt x="1928" y="1571"/>
                  </a:lnTo>
                  <a:lnTo>
                    <a:pt x="1921" y="1589"/>
                  </a:lnTo>
                  <a:lnTo>
                    <a:pt x="1909" y="1604"/>
                  </a:lnTo>
                  <a:lnTo>
                    <a:pt x="1894" y="1616"/>
                  </a:lnTo>
                  <a:lnTo>
                    <a:pt x="1877" y="1623"/>
                  </a:lnTo>
                  <a:lnTo>
                    <a:pt x="1857" y="1626"/>
                  </a:lnTo>
                  <a:lnTo>
                    <a:pt x="543" y="1626"/>
                  </a:lnTo>
                  <a:lnTo>
                    <a:pt x="524" y="1623"/>
                  </a:lnTo>
                  <a:lnTo>
                    <a:pt x="507" y="1616"/>
                  </a:lnTo>
                  <a:lnTo>
                    <a:pt x="492" y="1604"/>
                  </a:lnTo>
                  <a:lnTo>
                    <a:pt x="480" y="1589"/>
                  </a:lnTo>
                  <a:lnTo>
                    <a:pt x="473" y="1571"/>
                  </a:lnTo>
                  <a:lnTo>
                    <a:pt x="470" y="1551"/>
                  </a:lnTo>
                  <a:lnTo>
                    <a:pt x="473" y="1533"/>
                  </a:lnTo>
                  <a:lnTo>
                    <a:pt x="480" y="1515"/>
                  </a:lnTo>
                  <a:lnTo>
                    <a:pt x="492" y="1500"/>
                  </a:lnTo>
                  <a:lnTo>
                    <a:pt x="507" y="1488"/>
                  </a:lnTo>
                  <a:lnTo>
                    <a:pt x="524" y="1481"/>
                  </a:lnTo>
                  <a:lnTo>
                    <a:pt x="543" y="1478"/>
                  </a:lnTo>
                  <a:close/>
                  <a:moveTo>
                    <a:pt x="543" y="1963"/>
                  </a:moveTo>
                  <a:lnTo>
                    <a:pt x="1857" y="1963"/>
                  </a:lnTo>
                  <a:lnTo>
                    <a:pt x="1877" y="1966"/>
                  </a:lnTo>
                  <a:lnTo>
                    <a:pt x="1894" y="1974"/>
                  </a:lnTo>
                  <a:lnTo>
                    <a:pt x="1909" y="1985"/>
                  </a:lnTo>
                  <a:lnTo>
                    <a:pt x="1921" y="2000"/>
                  </a:lnTo>
                  <a:lnTo>
                    <a:pt x="1928" y="2017"/>
                  </a:lnTo>
                  <a:lnTo>
                    <a:pt x="1930" y="2037"/>
                  </a:lnTo>
                  <a:lnTo>
                    <a:pt x="1928" y="2057"/>
                  </a:lnTo>
                  <a:lnTo>
                    <a:pt x="1921" y="2073"/>
                  </a:lnTo>
                  <a:lnTo>
                    <a:pt x="1909" y="2089"/>
                  </a:lnTo>
                  <a:lnTo>
                    <a:pt x="1894" y="2101"/>
                  </a:lnTo>
                  <a:lnTo>
                    <a:pt x="1877" y="2108"/>
                  </a:lnTo>
                  <a:lnTo>
                    <a:pt x="1857" y="2110"/>
                  </a:lnTo>
                  <a:lnTo>
                    <a:pt x="543" y="2110"/>
                  </a:lnTo>
                  <a:lnTo>
                    <a:pt x="524" y="2108"/>
                  </a:lnTo>
                  <a:lnTo>
                    <a:pt x="507" y="2101"/>
                  </a:lnTo>
                  <a:lnTo>
                    <a:pt x="492" y="2089"/>
                  </a:lnTo>
                  <a:lnTo>
                    <a:pt x="480" y="2073"/>
                  </a:lnTo>
                  <a:lnTo>
                    <a:pt x="473" y="2057"/>
                  </a:lnTo>
                  <a:lnTo>
                    <a:pt x="470" y="2037"/>
                  </a:lnTo>
                  <a:lnTo>
                    <a:pt x="473" y="2017"/>
                  </a:lnTo>
                  <a:lnTo>
                    <a:pt x="480" y="2000"/>
                  </a:lnTo>
                  <a:lnTo>
                    <a:pt x="492" y="1985"/>
                  </a:lnTo>
                  <a:lnTo>
                    <a:pt x="507" y="1974"/>
                  </a:lnTo>
                  <a:lnTo>
                    <a:pt x="524" y="1966"/>
                  </a:lnTo>
                  <a:lnTo>
                    <a:pt x="543" y="1963"/>
                  </a:lnTo>
                  <a:close/>
                  <a:moveTo>
                    <a:pt x="1857" y="2596"/>
                  </a:moveTo>
                  <a:lnTo>
                    <a:pt x="543" y="2596"/>
                  </a:lnTo>
                  <a:lnTo>
                    <a:pt x="524" y="2592"/>
                  </a:lnTo>
                  <a:lnTo>
                    <a:pt x="507" y="2585"/>
                  </a:lnTo>
                  <a:lnTo>
                    <a:pt x="492" y="2573"/>
                  </a:lnTo>
                  <a:lnTo>
                    <a:pt x="480" y="2559"/>
                  </a:lnTo>
                  <a:lnTo>
                    <a:pt x="473" y="2542"/>
                  </a:lnTo>
                  <a:lnTo>
                    <a:pt x="470" y="2522"/>
                  </a:lnTo>
                  <a:lnTo>
                    <a:pt x="473" y="2502"/>
                  </a:lnTo>
                  <a:lnTo>
                    <a:pt x="480" y="2485"/>
                  </a:lnTo>
                  <a:lnTo>
                    <a:pt x="492" y="2469"/>
                  </a:lnTo>
                  <a:lnTo>
                    <a:pt x="507" y="2458"/>
                  </a:lnTo>
                  <a:lnTo>
                    <a:pt x="524" y="2451"/>
                  </a:lnTo>
                  <a:lnTo>
                    <a:pt x="543" y="2448"/>
                  </a:lnTo>
                  <a:lnTo>
                    <a:pt x="1857" y="2448"/>
                  </a:lnTo>
                  <a:lnTo>
                    <a:pt x="1877" y="2451"/>
                  </a:lnTo>
                  <a:lnTo>
                    <a:pt x="1894" y="2458"/>
                  </a:lnTo>
                  <a:lnTo>
                    <a:pt x="1909" y="2469"/>
                  </a:lnTo>
                  <a:lnTo>
                    <a:pt x="1921" y="2485"/>
                  </a:lnTo>
                  <a:lnTo>
                    <a:pt x="1928" y="2502"/>
                  </a:lnTo>
                  <a:lnTo>
                    <a:pt x="1930" y="2522"/>
                  </a:lnTo>
                  <a:lnTo>
                    <a:pt x="1928" y="2542"/>
                  </a:lnTo>
                  <a:lnTo>
                    <a:pt x="1921" y="2559"/>
                  </a:lnTo>
                  <a:lnTo>
                    <a:pt x="1909" y="2573"/>
                  </a:lnTo>
                  <a:lnTo>
                    <a:pt x="1894" y="2585"/>
                  </a:lnTo>
                  <a:lnTo>
                    <a:pt x="1877" y="2592"/>
                  </a:lnTo>
                  <a:lnTo>
                    <a:pt x="1857" y="259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746977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1690688"/>
          </a:xfrm>
        </p:spPr>
        <p:txBody>
          <a:bodyPr/>
          <a:lstStyle/>
          <a:p>
            <a:r>
              <a:rPr lang="en-US" dirty="0"/>
              <a:t>BENEFIT 4: TRANSFER BY WRITTEN ASSIGNMENT-NOT DE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13</a:t>
            </a:fld>
            <a:endParaRPr lang="en-US"/>
          </a:p>
        </p:txBody>
      </p:sp>
      <p:sp>
        <p:nvSpPr>
          <p:cNvPr id="5" name="Rectangle 4"/>
          <p:cNvSpPr/>
          <p:nvPr/>
        </p:nvSpPr>
        <p:spPr bwMode="gray">
          <a:xfrm>
            <a:off x="1237784" y="1476029"/>
            <a:ext cx="10344616" cy="941922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400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dirty="0"/>
              <a:t>Tie up property and move forward with a deed of trust before all details of Land Trust agreement have been decided.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xmlns="" id="{E8CEFFF2-0095-434C-ADD6-FA2002F84E3E}"/>
              </a:ext>
            </a:extLst>
          </p:cNvPr>
          <p:cNvSpPr/>
          <p:nvPr/>
        </p:nvSpPr>
        <p:spPr bwMode="gray">
          <a:xfrm>
            <a:off x="609600" y="1455784"/>
            <a:ext cx="978408" cy="982413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00569B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7" name="Rectangle 6"/>
          <p:cNvSpPr/>
          <p:nvPr/>
        </p:nvSpPr>
        <p:spPr bwMode="gray">
          <a:xfrm>
            <a:off x="1237784" y="2706874"/>
            <a:ext cx="10344616" cy="2296325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400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dirty="0"/>
              <a:t>Avoid title insurance, escrow and transfer fees.</a:t>
            </a:r>
          </a:p>
          <a:p>
            <a:r>
              <a:rPr lang="en-US" sz="2400" dirty="0"/>
              <a:t>Curtail property tax elevation</a:t>
            </a:r>
          </a:p>
          <a:p>
            <a:r>
              <a:rPr lang="en-US" sz="2400" dirty="0"/>
              <a:t>Curtail creditor garnishment.</a:t>
            </a:r>
          </a:p>
          <a:p>
            <a:r>
              <a:rPr lang="en-US" sz="2400" dirty="0"/>
              <a:t>Shorten 30 and 60 day closings</a:t>
            </a:r>
          </a:p>
          <a:p>
            <a:endParaRPr lang="en-US" sz="240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E8CEFFF2-0095-434C-ADD6-FA2002F84E3E}"/>
              </a:ext>
            </a:extLst>
          </p:cNvPr>
          <p:cNvSpPr/>
          <p:nvPr/>
        </p:nvSpPr>
        <p:spPr bwMode="gray">
          <a:xfrm>
            <a:off x="609600" y="2686630"/>
            <a:ext cx="978408" cy="982413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00569B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E8CEFFF2-0095-434C-ADD6-FA2002F84E3E}"/>
              </a:ext>
            </a:extLst>
          </p:cNvPr>
          <p:cNvSpPr/>
          <p:nvPr/>
        </p:nvSpPr>
        <p:spPr bwMode="gray">
          <a:xfrm>
            <a:off x="609600" y="3917476"/>
            <a:ext cx="978408" cy="982413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00569B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1" name="Rectangle 10"/>
          <p:cNvSpPr/>
          <p:nvPr/>
        </p:nvSpPr>
        <p:spPr bwMode="gray">
          <a:xfrm>
            <a:off x="1237784" y="5168567"/>
            <a:ext cx="10344616" cy="941922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400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dirty="0"/>
              <a:t> .The advantages of confidentiality are being preserved.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E8CEFFF2-0095-434C-ADD6-FA2002F84E3E}"/>
              </a:ext>
            </a:extLst>
          </p:cNvPr>
          <p:cNvSpPr/>
          <p:nvPr/>
        </p:nvSpPr>
        <p:spPr bwMode="gray">
          <a:xfrm>
            <a:off x="609600" y="5148322"/>
            <a:ext cx="978408" cy="982413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00569B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grpSp>
        <p:nvGrpSpPr>
          <p:cNvPr id="13" name="Group 4"/>
          <p:cNvGrpSpPr>
            <a:grpSpLocks noChangeAspect="1"/>
          </p:cNvGrpSpPr>
          <p:nvPr/>
        </p:nvGrpSpPr>
        <p:grpSpPr bwMode="auto">
          <a:xfrm>
            <a:off x="814381" y="1685002"/>
            <a:ext cx="568846" cy="523976"/>
            <a:chOff x="-413" y="1979"/>
            <a:chExt cx="393" cy="362"/>
          </a:xfrm>
          <a:solidFill>
            <a:srgbClr val="00569B"/>
          </a:solidFill>
        </p:grpSpPr>
        <p:sp>
          <p:nvSpPr>
            <p:cNvPr id="14" name="Rectangle 6"/>
            <p:cNvSpPr>
              <a:spLocks noChangeArrowheads="1"/>
            </p:cNvSpPr>
            <p:nvPr/>
          </p:nvSpPr>
          <p:spPr bwMode="auto">
            <a:xfrm>
              <a:off x="-389" y="2104"/>
              <a:ext cx="17" cy="4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7"/>
            <p:cNvSpPr>
              <a:spLocks noChangeArrowheads="1"/>
            </p:cNvSpPr>
            <p:nvPr/>
          </p:nvSpPr>
          <p:spPr bwMode="auto">
            <a:xfrm>
              <a:off x="-389" y="2176"/>
              <a:ext cx="17" cy="4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-389" y="1979"/>
              <a:ext cx="305" cy="153"/>
            </a:xfrm>
            <a:custGeom>
              <a:avLst/>
              <a:gdLst>
                <a:gd name="T0" fmla="*/ 2746 w 2746"/>
                <a:gd name="T1" fmla="*/ 942 h 1381"/>
                <a:gd name="T2" fmla="*/ 2746 w 2746"/>
                <a:gd name="T3" fmla="*/ 1225 h 1381"/>
                <a:gd name="T4" fmla="*/ 2589 w 2746"/>
                <a:gd name="T5" fmla="*/ 1381 h 1381"/>
                <a:gd name="T6" fmla="*/ 2589 w 2746"/>
                <a:gd name="T7" fmla="*/ 287 h 1381"/>
                <a:gd name="T8" fmla="*/ 2586 w 2746"/>
                <a:gd name="T9" fmla="*/ 260 h 1381"/>
                <a:gd name="T10" fmla="*/ 2579 w 2746"/>
                <a:gd name="T11" fmla="*/ 236 h 1381"/>
                <a:gd name="T12" fmla="*/ 2567 w 2746"/>
                <a:gd name="T13" fmla="*/ 214 h 1381"/>
                <a:gd name="T14" fmla="*/ 2551 w 2746"/>
                <a:gd name="T15" fmla="*/ 195 h 1381"/>
                <a:gd name="T16" fmla="*/ 2531 w 2746"/>
                <a:gd name="T17" fmla="*/ 179 h 1381"/>
                <a:gd name="T18" fmla="*/ 2509 w 2746"/>
                <a:gd name="T19" fmla="*/ 166 h 1381"/>
                <a:gd name="T20" fmla="*/ 2484 w 2746"/>
                <a:gd name="T21" fmla="*/ 159 h 1381"/>
                <a:gd name="T22" fmla="*/ 2458 w 2746"/>
                <a:gd name="T23" fmla="*/ 156 h 1381"/>
                <a:gd name="T24" fmla="*/ 287 w 2746"/>
                <a:gd name="T25" fmla="*/ 156 h 1381"/>
                <a:gd name="T26" fmla="*/ 261 w 2746"/>
                <a:gd name="T27" fmla="*/ 159 h 1381"/>
                <a:gd name="T28" fmla="*/ 236 w 2746"/>
                <a:gd name="T29" fmla="*/ 166 h 1381"/>
                <a:gd name="T30" fmla="*/ 214 w 2746"/>
                <a:gd name="T31" fmla="*/ 179 h 1381"/>
                <a:gd name="T32" fmla="*/ 194 w 2746"/>
                <a:gd name="T33" fmla="*/ 195 h 1381"/>
                <a:gd name="T34" fmla="*/ 178 w 2746"/>
                <a:gd name="T35" fmla="*/ 214 h 1381"/>
                <a:gd name="T36" fmla="*/ 166 w 2746"/>
                <a:gd name="T37" fmla="*/ 236 h 1381"/>
                <a:gd name="T38" fmla="*/ 159 w 2746"/>
                <a:gd name="T39" fmla="*/ 260 h 1381"/>
                <a:gd name="T40" fmla="*/ 156 w 2746"/>
                <a:gd name="T41" fmla="*/ 287 h 1381"/>
                <a:gd name="T42" fmla="*/ 156 w 2746"/>
                <a:gd name="T43" fmla="*/ 832 h 1381"/>
                <a:gd name="T44" fmla="*/ 0 w 2746"/>
                <a:gd name="T45" fmla="*/ 832 h 1381"/>
                <a:gd name="T46" fmla="*/ 0 w 2746"/>
                <a:gd name="T47" fmla="*/ 287 h 1381"/>
                <a:gd name="T48" fmla="*/ 3 w 2746"/>
                <a:gd name="T49" fmla="*/ 244 h 1381"/>
                <a:gd name="T50" fmla="*/ 12 w 2746"/>
                <a:gd name="T51" fmla="*/ 205 h 1381"/>
                <a:gd name="T52" fmla="*/ 27 w 2746"/>
                <a:gd name="T53" fmla="*/ 166 h 1381"/>
                <a:gd name="T54" fmla="*/ 46 w 2746"/>
                <a:gd name="T55" fmla="*/ 131 h 1381"/>
                <a:gd name="T56" fmla="*/ 70 w 2746"/>
                <a:gd name="T57" fmla="*/ 99 h 1381"/>
                <a:gd name="T58" fmla="*/ 99 w 2746"/>
                <a:gd name="T59" fmla="*/ 71 h 1381"/>
                <a:gd name="T60" fmla="*/ 131 w 2746"/>
                <a:gd name="T61" fmla="*/ 46 h 1381"/>
                <a:gd name="T62" fmla="*/ 165 w 2746"/>
                <a:gd name="T63" fmla="*/ 27 h 1381"/>
                <a:gd name="T64" fmla="*/ 204 w 2746"/>
                <a:gd name="T65" fmla="*/ 13 h 1381"/>
                <a:gd name="T66" fmla="*/ 245 w 2746"/>
                <a:gd name="T67" fmla="*/ 3 h 1381"/>
                <a:gd name="T68" fmla="*/ 287 w 2746"/>
                <a:gd name="T69" fmla="*/ 0 h 1381"/>
                <a:gd name="T70" fmla="*/ 2458 w 2746"/>
                <a:gd name="T71" fmla="*/ 0 h 1381"/>
                <a:gd name="T72" fmla="*/ 2500 w 2746"/>
                <a:gd name="T73" fmla="*/ 3 h 1381"/>
                <a:gd name="T74" fmla="*/ 2541 w 2746"/>
                <a:gd name="T75" fmla="*/ 13 h 1381"/>
                <a:gd name="T76" fmla="*/ 2579 w 2746"/>
                <a:gd name="T77" fmla="*/ 27 h 1381"/>
                <a:gd name="T78" fmla="*/ 2614 w 2746"/>
                <a:gd name="T79" fmla="*/ 46 h 1381"/>
                <a:gd name="T80" fmla="*/ 2646 w 2746"/>
                <a:gd name="T81" fmla="*/ 71 h 1381"/>
                <a:gd name="T82" fmla="*/ 2674 w 2746"/>
                <a:gd name="T83" fmla="*/ 99 h 1381"/>
                <a:gd name="T84" fmla="*/ 2699 w 2746"/>
                <a:gd name="T85" fmla="*/ 131 h 1381"/>
                <a:gd name="T86" fmla="*/ 2718 w 2746"/>
                <a:gd name="T87" fmla="*/ 166 h 1381"/>
                <a:gd name="T88" fmla="*/ 2733 w 2746"/>
                <a:gd name="T89" fmla="*/ 205 h 1381"/>
                <a:gd name="T90" fmla="*/ 2742 w 2746"/>
                <a:gd name="T91" fmla="*/ 244 h 1381"/>
                <a:gd name="T92" fmla="*/ 2745 w 2746"/>
                <a:gd name="T93" fmla="*/ 287 h 1381"/>
                <a:gd name="T94" fmla="*/ 2745 w 2746"/>
                <a:gd name="T95" fmla="*/ 942 h 1381"/>
                <a:gd name="T96" fmla="*/ 2746 w 2746"/>
                <a:gd name="T97" fmla="*/ 942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46" h="1381">
                  <a:moveTo>
                    <a:pt x="2746" y="942"/>
                  </a:moveTo>
                  <a:lnTo>
                    <a:pt x="2746" y="1225"/>
                  </a:lnTo>
                  <a:lnTo>
                    <a:pt x="2589" y="1381"/>
                  </a:lnTo>
                  <a:lnTo>
                    <a:pt x="2589" y="287"/>
                  </a:lnTo>
                  <a:lnTo>
                    <a:pt x="2586" y="260"/>
                  </a:lnTo>
                  <a:lnTo>
                    <a:pt x="2579" y="236"/>
                  </a:lnTo>
                  <a:lnTo>
                    <a:pt x="2567" y="214"/>
                  </a:lnTo>
                  <a:lnTo>
                    <a:pt x="2551" y="195"/>
                  </a:lnTo>
                  <a:lnTo>
                    <a:pt x="2531" y="179"/>
                  </a:lnTo>
                  <a:lnTo>
                    <a:pt x="2509" y="166"/>
                  </a:lnTo>
                  <a:lnTo>
                    <a:pt x="2484" y="159"/>
                  </a:lnTo>
                  <a:lnTo>
                    <a:pt x="2458" y="156"/>
                  </a:lnTo>
                  <a:lnTo>
                    <a:pt x="287" y="156"/>
                  </a:lnTo>
                  <a:lnTo>
                    <a:pt x="261" y="159"/>
                  </a:lnTo>
                  <a:lnTo>
                    <a:pt x="236" y="166"/>
                  </a:lnTo>
                  <a:lnTo>
                    <a:pt x="214" y="179"/>
                  </a:lnTo>
                  <a:lnTo>
                    <a:pt x="194" y="195"/>
                  </a:lnTo>
                  <a:lnTo>
                    <a:pt x="178" y="214"/>
                  </a:lnTo>
                  <a:lnTo>
                    <a:pt x="166" y="236"/>
                  </a:lnTo>
                  <a:lnTo>
                    <a:pt x="159" y="260"/>
                  </a:lnTo>
                  <a:lnTo>
                    <a:pt x="156" y="287"/>
                  </a:lnTo>
                  <a:lnTo>
                    <a:pt x="156" y="832"/>
                  </a:lnTo>
                  <a:lnTo>
                    <a:pt x="0" y="832"/>
                  </a:lnTo>
                  <a:lnTo>
                    <a:pt x="0" y="287"/>
                  </a:lnTo>
                  <a:lnTo>
                    <a:pt x="3" y="244"/>
                  </a:lnTo>
                  <a:lnTo>
                    <a:pt x="12" y="205"/>
                  </a:lnTo>
                  <a:lnTo>
                    <a:pt x="27" y="166"/>
                  </a:lnTo>
                  <a:lnTo>
                    <a:pt x="46" y="131"/>
                  </a:lnTo>
                  <a:lnTo>
                    <a:pt x="70" y="99"/>
                  </a:lnTo>
                  <a:lnTo>
                    <a:pt x="99" y="71"/>
                  </a:lnTo>
                  <a:lnTo>
                    <a:pt x="131" y="46"/>
                  </a:lnTo>
                  <a:lnTo>
                    <a:pt x="165" y="27"/>
                  </a:lnTo>
                  <a:lnTo>
                    <a:pt x="204" y="13"/>
                  </a:lnTo>
                  <a:lnTo>
                    <a:pt x="245" y="3"/>
                  </a:lnTo>
                  <a:lnTo>
                    <a:pt x="287" y="0"/>
                  </a:lnTo>
                  <a:lnTo>
                    <a:pt x="2458" y="0"/>
                  </a:lnTo>
                  <a:lnTo>
                    <a:pt x="2500" y="3"/>
                  </a:lnTo>
                  <a:lnTo>
                    <a:pt x="2541" y="13"/>
                  </a:lnTo>
                  <a:lnTo>
                    <a:pt x="2579" y="27"/>
                  </a:lnTo>
                  <a:lnTo>
                    <a:pt x="2614" y="46"/>
                  </a:lnTo>
                  <a:lnTo>
                    <a:pt x="2646" y="71"/>
                  </a:lnTo>
                  <a:lnTo>
                    <a:pt x="2674" y="99"/>
                  </a:lnTo>
                  <a:lnTo>
                    <a:pt x="2699" y="131"/>
                  </a:lnTo>
                  <a:lnTo>
                    <a:pt x="2718" y="166"/>
                  </a:lnTo>
                  <a:lnTo>
                    <a:pt x="2733" y="205"/>
                  </a:lnTo>
                  <a:lnTo>
                    <a:pt x="2742" y="244"/>
                  </a:lnTo>
                  <a:lnTo>
                    <a:pt x="2745" y="287"/>
                  </a:lnTo>
                  <a:lnTo>
                    <a:pt x="2745" y="942"/>
                  </a:lnTo>
                  <a:lnTo>
                    <a:pt x="2746" y="9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-389" y="2235"/>
              <a:ext cx="305" cy="106"/>
            </a:xfrm>
            <a:custGeom>
              <a:avLst/>
              <a:gdLst>
                <a:gd name="T0" fmla="*/ 2662 w 2746"/>
                <a:gd name="T1" fmla="*/ 53 h 954"/>
                <a:gd name="T2" fmla="*/ 2689 w 2746"/>
                <a:gd name="T3" fmla="*/ 66 h 954"/>
                <a:gd name="T4" fmla="*/ 2717 w 2746"/>
                <a:gd name="T5" fmla="*/ 74 h 954"/>
                <a:gd name="T6" fmla="*/ 2746 w 2746"/>
                <a:gd name="T7" fmla="*/ 78 h 954"/>
                <a:gd name="T8" fmla="*/ 2746 w 2746"/>
                <a:gd name="T9" fmla="*/ 667 h 954"/>
                <a:gd name="T10" fmla="*/ 2743 w 2746"/>
                <a:gd name="T11" fmla="*/ 710 h 954"/>
                <a:gd name="T12" fmla="*/ 2733 w 2746"/>
                <a:gd name="T13" fmla="*/ 749 h 954"/>
                <a:gd name="T14" fmla="*/ 2719 w 2746"/>
                <a:gd name="T15" fmla="*/ 788 h 954"/>
                <a:gd name="T16" fmla="*/ 2699 w 2746"/>
                <a:gd name="T17" fmla="*/ 823 h 954"/>
                <a:gd name="T18" fmla="*/ 2675 w 2746"/>
                <a:gd name="T19" fmla="*/ 854 h 954"/>
                <a:gd name="T20" fmla="*/ 2646 w 2746"/>
                <a:gd name="T21" fmla="*/ 883 h 954"/>
                <a:gd name="T22" fmla="*/ 2614 w 2746"/>
                <a:gd name="T23" fmla="*/ 907 h 954"/>
                <a:gd name="T24" fmla="*/ 2579 w 2746"/>
                <a:gd name="T25" fmla="*/ 927 h 954"/>
                <a:gd name="T26" fmla="*/ 2541 w 2746"/>
                <a:gd name="T27" fmla="*/ 941 h 954"/>
                <a:gd name="T28" fmla="*/ 2500 w 2746"/>
                <a:gd name="T29" fmla="*/ 951 h 954"/>
                <a:gd name="T30" fmla="*/ 2458 w 2746"/>
                <a:gd name="T31" fmla="*/ 954 h 954"/>
                <a:gd name="T32" fmla="*/ 287 w 2746"/>
                <a:gd name="T33" fmla="*/ 954 h 954"/>
                <a:gd name="T34" fmla="*/ 245 w 2746"/>
                <a:gd name="T35" fmla="*/ 951 h 954"/>
                <a:gd name="T36" fmla="*/ 204 w 2746"/>
                <a:gd name="T37" fmla="*/ 941 h 954"/>
                <a:gd name="T38" fmla="*/ 165 w 2746"/>
                <a:gd name="T39" fmla="*/ 927 h 954"/>
                <a:gd name="T40" fmla="*/ 131 w 2746"/>
                <a:gd name="T41" fmla="*/ 907 h 954"/>
                <a:gd name="T42" fmla="*/ 99 w 2746"/>
                <a:gd name="T43" fmla="*/ 883 h 954"/>
                <a:gd name="T44" fmla="*/ 70 w 2746"/>
                <a:gd name="T45" fmla="*/ 854 h 954"/>
                <a:gd name="T46" fmla="*/ 46 w 2746"/>
                <a:gd name="T47" fmla="*/ 823 h 954"/>
                <a:gd name="T48" fmla="*/ 27 w 2746"/>
                <a:gd name="T49" fmla="*/ 788 h 954"/>
                <a:gd name="T50" fmla="*/ 12 w 2746"/>
                <a:gd name="T51" fmla="*/ 749 h 954"/>
                <a:gd name="T52" fmla="*/ 3 w 2746"/>
                <a:gd name="T53" fmla="*/ 710 h 954"/>
                <a:gd name="T54" fmla="*/ 0 w 2746"/>
                <a:gd name="T55" fmla="*/ 667 h 954"/>
                <a:gd name="T56" fmla="*/ 0 w 2746"/>
                <a:gd name="T57" fmla="*/ 123 h 954"/>
                <a:gd name="T58" fmla="*/ 156 w 2746"/>
                <a:gd name="T59" fmla="*/ 123 h 954"/>
                <a:gd name="T60" fmla="*/ 156 w 2746"/>
                <a:gd name="T61" fmla="*/ 667 h 954"/>
                <a:gd name="T62" fmla="*/ 159 w 2746"/>
                <a:gd name="T63" fmla="*/ 694 h 954"/>
                <a:gd name="T64" fmla="*/ 166 w 2746"/>
                <a:gd name="T65" fmla="*/ 718 h 954"/>
                <a:gd name="T66" fmla="*/ 178 w 2746"/>
                <a:gd name="T67" fmla="*/ 740 h 954"/>
                <a:gd name="T68" fmla="*/ 194 w 2746"/>
                <a:gd name="T69" fmla="*/ 759 h 954"/>
                <a:gd name="T70" fmla="*/ 214 w 2746"/>
                <a:gd name="T71" fmla="*/ 775 h 954"/>
                <a:gd name="T72" fmla="*/ 236 w 2746"/>
                <a:gd name="T73" fmla="*/ 788 h 954"/>
                <a:gd name="T74" fmla="*/ 261 w 2746"/>
                <a:gd name="T75" fmla="*/ 795 h 954"/>
                <a:gd name="T76" fmla="*/ 287 w 2746"/>
                <a:gd name="T77" fmla="*/ 798 h 954"/>
                <a:gd name="T78" fmla="*/ 2458 w 2746"/>
                <a:gd name="T79" fmla="*/ 798 h 954"/>
                <a:gd name="T80" fmla="*/ 2484 w 2746"/>
                <a:gd name="T81" fmla="*/ 795 h 954"/>
                <a:gd name="T82" fmla="*/ 2509 w 2746"/>
                <a:gd name="T83" fmla="*/ 788 h 954"/>
                <a:gd name="T84" fmla="*/ 2531 w 2746"/>
                <a:gd name="T85" fmla="*/ 775 h 954"/>
                <a:gd name="T86" fmla="*/ 2551 w 2746"/>
                <a:gd name="T87" fmla="*/ 759 h 954"/>
                <a:gd name="T88" fmla="*/ 2567 w 2746"/>
                <a:gd name="T89" fmla="*/ 740 h 954"/>
                <a:gd name="T90" fmla="*/ 2579 w 2746"/>
                <a:gd name="T91" fmla="*/ 718 h 954"/>
                <a:gd name="T92" fmla="*/ 2587 w 2746"/>
                <a:gd name="T93" fmla="*/ 694 h 954"/>
                <a:gd name="T94" fmla="*/ 2589 w 2746"/>
                <a:gd name="T95" fmla="*/ 667 h 954"/>
                <a:gd name="T96" fmla="*/ 2589 w 2746"/>
                <a:gd name="T97" fmla="*/ 181 h 954"/>
                <a:gd name="T98" fmla="*/ 2589 w 2746"/>
                <a:gd name="T99" fmla="*/ 181 h 954"/>
                <a:gd name="T100" fmla="*/ 2589 w 2746"/>
                <a:gd name="T101" fmla="*/ 9 h 954"/>
                <a:gd name="T102" fmla="*/ 2599 w 2746"/>
                <a:gd name="T103" fmla="*/ 0 h 954"/>
                <a:gd name="T104" fmla="*/ 2617 w 2746"/>
                <a:gd name="T105" fmla="*/ 20 h 954"/>
                <a:gd name="T106" fmla="*/ 2639 w 2746"/>
                <a:gd name="T107" fmla="*/ 38 h 954"/>
                <a:gd name="T108" fmla="*/ 2662 w 2746"/>
                <a:gd name="T109" fmla="*/ 53 h 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46" h="954">
                  <a:moveTo>
                    <a:pt x="2662" y="53"/>
                  </a:moveTo>
                  <a:lnTo>
                    <a:pt x="2689" y="66"/>
                  </a:lnTo>
                  <a:lnTo>
                    <a:pt x="2717" y="74"/>
                  </a:lnTo>
                  <a:lnTo>
                    <a:pt x="2746" y="78"/>
                  </a:lnTo>
                  <a:lnTo>
                    <a:pt x="2746" y="667"/>
                  </a:lnTo>
                  <a:lnTo>
                    <a:pt x="2743" y="710"/>
                  </a:lnTo>
                  <a:lnTo>
                    <a:pt x="2733" y="749"/>
                  </a:lnTo>
                  <a:lnTo>
                    <a:pt x="2719" y="788"/>
                  </a:lnTo>
                  <a:lnTo>
                    <a:pt x="2699" y="823"/>
                  </a:lnTo>
                  <a:lnTo>
                    <a:pt x="2675" y="854"/>
                  </a:lnTo>
                  <a:lnTo>
                    <a:pt x="2646" y="883"/>
                  </a:lnTo>
                  <a:lnTo>
                    <a:pt x="2614" y="907"/>
                  </a:lnTo>
                  <a:lnTo>
                    <a:pt x="2579" y="927"/>
                  </a:lnTo>
                  <a:lnTo>
                    <a:pt x="2541" y="941"/>
                  </a:lnTo>
                  <a:lnTo>
                    <a:pt x="2500" y="951"/>
                  </a:lnTo>
                  <a:lnTo>
                    <a:pt x="2458" y="954"/>
                  </a:lnTo>
                  <a:lnTo>
                    <a:pt x="287" y="954"/>
                  </a:lnTo>
                  <a:lnTo>
                    <a:pt x="245" y="951"/>
                  </a:lnTo>
                  <a:lnTo>
                    <a:pt x="204" y="941"/>
                  </a:lnTo>
                  <a:lnTo>
                    <a:pt x="165" y="927"/>
                  </a:lnTo>
                  <a:lnTo>
                    <a:pt x="131" y="907"/>
                  </a:lnTo>
                  <a:lnTo>
                    <a:pt x="99" y="883"/>
                  </a:lnTo>
                  <a:lnTo>
                    <a:pt x="70" y="854"/>
                  </a:lnTo>
                  <a:lnTo>
                    <a:pt x="46" y="823"/>
                  </a:lnTo>
                  <a:lnTo>
                    <a:pt x="27" y="788"/>
                  </a:lnTo>
                  <a:lnTo>
                    <a:pt x="12" y="749"/>
                  </a:lnTo>
                  <a:lnTo>
                    <a:pt x="3" y="710"/>
                  </a:lnTo>
                  <a:lnTo>
                    <a:pt x="0" y="667"/>
                  </a:lnTo>
                  <a:lnTo>
                    <a:pt x="0" y="123"/>
                  </a:lnTo>
                  <a:lnTo>
                    <a:pt x="156" y="123"/>
                  </a:lnTo>
                  <a:lnTo>
                    <a:pt x="156" y="667"/>
                  </a:lnTo>
                  <a:lnTo>
                    <a:pt x="159" y="694"/>
                  </a:lnTo>
                  <a:lnTo>
                    <a:pt x="166" y="718"/>
                  </a:lnTo>
                  <a:lnTo>
                    <a:pt x="178" y="740"/>
                  </a:lnTo>
                  <a:lnTo>
                    <a:pt x="194" y="759"/>
                  </a:lnTo>
                  <a:lnTo>
                    <a:pt x="214" y="775"/>
                  </a:lnTo>
                  <a:lnTo>
                    <a:pt x="236" y="788"/>
                  </a:lnTo>
                  <a:lnTo>
                    <a:pt x="261" y="795"/>
                  </a:lnTo>
                  <a:lnTo>
                    <a:pt x="287" y="798"/>
                  </a:lnTo>
                  <a:lnTo>
                    <a:pt x="2458" y="798"/>
                  </a:lnTo>
                  <a:lnTo>
                    <a:pt x="2484" y="795"/>
                  </a:lnTo>
                  <a:lnTo>
                    <a:pt x="2509" y="788"/>
                  </a:lnTo>
                  <a:lnTo>
                    <a:pt x="2531" y="775"/>
                  </a:lnTo>
                  <a:lnTo>
                    <a:pt x="2551" y="759"/>
                  </a:lnTo>
                  <a:lnTo>
                    <a:pt x="2567" y="740"/>
                  </a:lnTo>
                  <a:lnTo>
                    <a:pt x="2579" y="718"/>
                  </a:lnTo>
                  <a:lnTo>
                    <a:pt x="2587" y="694"/>
                  </a:lnTo>
                  <a:lnTo>
                    <a:pt x="2589" y="667"/>
                  </a:lnTo>
                  <a:lnTo>
                    <a:pt x="2589" y="181"/>
                  </a:lnTo>
                  <a:lnTo>
                    <a:pt x="2589" y="181"/>
                  </a:lnTo>
                  <a:lnTo>
                    <a:pt x="2589" y="9"/>
                  </a:lnTo>
                  <a:lnTo>
                    <a:pt x="2599" y="0"/>
                  </a:lnTo>
                  <a:lnTo>
                    <a:pt x="2617" y="20"/>
                  </a:lnTo>
                  <a:lnTo>
                    <a:pt x="2639" y="38"/>
                  </a:lnTo>
                  <a:lnTo>
                    <a:pt x="2662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-413" y="2218"/>
              <a:ext cx="72" cy="29"/>
            </a:xfrm>
            <a:custGeom>
              <a:avLst/>
              <a:gdLst>
                <a:gd name="T0" fmla="*/ 400 w 647"/>
                <a:gd name="T1" fmla="*/ 64 h 264"/>
                <a:gd name="T2" fmla="*/ 68 w 647"/>
                <a:gd name="T3" fmla="*/ 64 h 264"/>
                <a:gd name="T4" fmla="*/ 51 w 647"/>
                <a:gd name="T5" fmla="*/ 67 h 264"/>
                <a:gd name="T6" fmla="*/ 35 w 647"/>
                <a:gd name="T7" fmla="*/ 73 h 264"/>
                <a:gd name="T8" fmla="*/ 21 w 647"/>
                <a:gd name="T9" fmla="*/ 84 h 264"/>
                <a:gd name="T10" fmla="*/ 10 w 647"/>
                <a:gd name="T11" fmla="*/ 97 h 264"/>
                <a:gd name="T12" fmla="*/ 4 w 647"/>
                <a:gd name="T13" fmla="*/ 114 h 264"/>
                <a:gd name="T14" fmla="*/ 0 w 647"/>
                <a:gd name="T15" fmla="*/ 131 h 264"/>
                <a:gd name="T16" fmla="*/ 4 w 647"/>
                <a:gd name="T17" fmla="*/ 149 h 264"/>
                <a:gd name="T18" fmla="*/ 10 w 647"/>
                <a:gd name="T19" fmla="*/ 166 h 264"/>
                <a:gd name="T20" fmla="*/ 21 w 647"/>
                <a:gd name="T21" fmla="*/ 179 h 264"/>
                <a:gd name="T22" fmla="*/ 35 w 647"/>
                <a:gd name="T23" fmla="*/ 190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0 h 264"/>
                <a:gd name="T32" fmla="*/ 437 w 647"/>
                <a:gd name="T33" fmla="*/ 238 h 264"/>
                <a:gd name="T34" fmla="*/ 459 w 647"/>
                <a:gd name="T35" fmla="*/ 252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1 h 264"/>
                <a:gd name="T42" fmla="*/ 566 w 647"/>
                <a:gd name="T43" fmla="*/ 253 h 264"/>
                <a:gd name="T44" fmla="*/ 588 w 647"/>
                <a:gd name="T45" fmla="*/ 242 h 264"/>
                <a:gd name="T46" fmla="*/ 607 w 647"/>
                <a:gd name="T47" fmla="*/ 224 h 264"/>
                <a:gd name="T48" fmla="*/ 624 w 647"/>
                <a:gd name="T49" fmla="*/ 205 h 264"/>
                <a:gd name="T50" fmla="*/ 636 w 647"/>
                <a:gd name="T51" fmla="*/ 183 h 264"/>
                <a:gd name="T52" fmla="*/ 644 w 647"/>
                <a:gd name="T53" fmla="*/ 158 h 264"/>
                <a:gd name="T54" fmla="*/ 647 w 647"/>
                <a:gd name="T55" fmla="*/ 131 h 264"/>
                <a:gd name="T56" fmla="*/ 644 w 647"/>
                <a:gd name="T57" fmla="*/ 104 h 264"/>
                <a:gd name="T58" fmla="*/ 636 w 647"/>
                <a:gd name="T59" fmla="*/ 80 h 264"/>
                <a:gd name="T60" fmla="*/ 624 w 647"/>
                <a:gd name="T61" fmla="*/ 57 h 264"/>
                <a:gd name="T62" fmla="*/ 607 w 647"/>
                <a:gd name="T63" fmla="*/ 38 h 264"/>
                <a:gd name="T64" fmla="*/ 588 w 647"/>
                <a:gd name="T65" fmla="*/ 22 h 264"/>
                <a:gd name="T66" fmla="*/ 566 w 647"/>
                <a:gd name="T67" fmla="*/ 9 h 264"/>
                <a:gd name="T68" fmla="*/ 541 w 647"/>
                <a:gd name="T69" fmla="*/ 2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1 h 264"/>
                <a:gd name="T76" fmla="*/ 437 w 647"/>
                <a:gd name="T77" fmla="*/ 24 h 264"/>
                <a:gd name="T78" fmla="*/ 416 w 647"/>
                <a:gd name="T79" fmla="*/ 42 h 264"/>
                <a:gd name="T80" fmla="*/ 400 w 647"/>
                <a:gd name="T81" fmla="*/ 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4"/>
                  </a:moveTo>
                  <a:lnTo>
                    <a:pt x="68" y="64"/>
                  </a:lnTo>
                  <a:lnTo>
                    <a:pt x="51" y="67"/>
                  </a:lnTo>
                  <a:lnTo>
                    <a:pt x="35" y="73"/>
                  </a:lnTo>
                  <a:lnTo>
                    <a:pt x="21" y="84"/>
                  </a:lnTo>
                  <a:lnTo>
                    <a:pt x="10" y="97"/>
                  </a:lnTo>
                  <a:lnTo>
                    <a:pt x="4" y="114"/>
                  </a:lnTo>
                  <a:lnTo>
                    <a:pt x="0" y="131"/>
                  </a:lnTo>
                  <a:lnTo>
                    <a:pt x="4" y="149"/>
                  </a:lnTo>
                  <a:lnTo>
                    <a:pt x="10" y="166"/>
                  </a:lnTo>
                  <a:lnTo>
                    <a:pt x="21" y="179"/>
                  </a:lnTo>
                  <a:lnTo>
                    <a:pt x="35" y="190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0"/>
                  </a:lnTo>
                  <a:lnTo>
                    <a:pt x="437" y="238"/>
                  </a:lnTo>
                  <a:lnTo>
                    <a:pt x="459" y="252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1"/>
                  </a:lnTo>
                  <a:lnTo>
                    <a:pt x="566" y="253"/>
                  </a:lnTo>
                  <a:lnTo>
                    <a:pt x="588" y="242"/>
                  </a:lnTo>
                  <a:lnTo>
                    <a:pt x="607" y="224"/>
                  </a:lnTo>
                  <a:lnTo>
                    <a:pt x="624" y="205"/>
                  </a:lnTo>
                  <a:lnTo>
                    <a:pt x="636" y="183"/>
                  </a:lnTo>
                  <a:lnTo>
                    <a:pt x="644" y="158"/>
                  </a:lnTo>
                  <a:lnTo>
                    <a:pt x="647" y="131"/>
                  </a:lnTo>
                  <a:lnTo>
                    <a:pt x="644" y="104"/>
                  </a:lnTo>
                  <a:lnTo>
                    <a:pt x="636" y="80"/>
                  </a:lnTo>
                  <a:lnTo>
                    <a:pt x="624" y="57"/>
                  </a:lnTo>
                  <a:lnTo>
                    <a:pt x="607" y="38"/>
                  </a:lnTo>
                  <a:lnTo>
                    <a:pt x="588" y="22"/>
                  </a:lnTo>
                  <a:lnTo>
                    <a:pt x="566" y="9"/>
                  </a:lnTo>
                  <a:lnTo>
                    <a:pt x="541" y="2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1"/>
                  </a:lnTo>
                  <a:lnTo>
                    <a:pt x="437" y="24"/>
                  </a:lnTo>
                  <a:lnTo>
                    <a:pt x="416" y="42"/>
                  </a:lnTo>
                  <a:lnTo>
                    <a:pt x="400" y="6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-413" y="2145"/>
              <a:ext cx="72" cy="30"/>
            </a:xfrm>
            <a:custGeom>
              <a:avLst/>
              <a:gdLst>
                <a:gd name="T0" fmla="*/ 400 w 647"/>
                <a:gd name="T1" fmla="*/ 66 h 265"/>
                <a:gd name="T2" fmla="*/ 68 w 647"/>
                <a:gd name="T3" fmla="*/ 66 h 265"/>
                <a:gd name="T4" fmla="*/ 51 w 647"/>
                <a:gd name="T5" fmla="*/ 68 h 265"/>
                <a:gd name="T6" fmla="*/ 35 w 647"/>
                <a:gd name="T7" fmla="*/ 74 h 265"/>
                <a:gd name="T8" fmla="*/ 21 w 647"/>
                <a:gd name="T9" fmla="*/ 85 h 265"/>
                <a:gd name="T10" fmla="*/ 10 w 647"/>
                <a:gd name="T11" fmla="*/ 99 h 265"/>
                <a:gd name="T12" fmla="*/ 4 w 647"/>
                <a:gd name="T13" fmla="*/ 115 h 265"/>
                <a:gd name="T14" fmla="*/ 0 w 647"/>
                <a:gd name="T15" fmla="*/ 132 h 265"/>
                <a:gd name="T16" fmla="*/ 4 w 647"/>
                <a:gd name="T17" fmla="*/ 151 h 265"/>
                <a:gd name="T18" fmla="*/ 10 w 647"/>
                <a:gd name="T19" fmla="*/ 167 h 265"/>
                <a:gd name="T20" fmla="*/ 21 w 647"/>
                <a:gd name="T21" fmla="*/ 181 h 265"/>
                <a:gd name="T22" fmla="*/ 35 w 647"/>
                <a:gd name="T23" fmla="*/ 191 h 265"/>
                <a:gd name="T24" fmla="*/ 51 w 647"/>
                <a:gd name="T25" fmla="*/ 198 h 265"/>
                <a:gd name="T26" fmla="*/ 68 w 647"/>
                <a:gd name="T27" fmla="*/ 200 h 265"/>
                <a:gd name="T28" fmla="*/ 400 w 647"/>
                <a:gd name="T29" fmla="*/ 200 h 265"/>
                <a:gd name="T30" fmla="*/ 416 w 647"/>
                <a:gd name="T31" fmla="*/ 222 h 265"/>
                <a:gd name="T32" fmla="*/ 437 w 647"/>
                <a:gd name="T33" fmla="*/ 240 h 265"/>
                <a:gd name="T34" fmla="*/ 460 w 647"/>
                <a:gd name="T35" fmla="*/ 253 h 265"/>
                <a:gd name="T36" fmla="*/ 486 w 647"/>
                <a:gd name="T37" fmla="*/ 262 h 265"/>
                <a:gd name="T38" fmla="*/ 514 w 647"/>
                <a:gd name="T39" fmla="*/ 265 h 265"/>
                <a:gd name="T40" fmla="*/ 541 w 647"/>
                <a:gd name="T41" fmla="*/ 263 h 265"/>
                <a:gd name="T42" fmla="*/ 566 w 647"/>
                <a:gd name="T43" fmla="*/ 255 h 265"/>
                <a:gd name="T44" fmla="*/ 588 w 647"/>
                <a:gd name="T45" fmla="*/ 242 h 265"/>
                <a:gd name="T46" fmla="*/ 607 w 647"/>
                <a:gd name="T47" fmla="*/ 226 h 265"/>
                <a:gd name="T48" fmla="*/ 624 w 647"/>
                <a:gd name="T49" fmla="*/ 207 h 265"/>
                <a:gd name="T50" fmla="*/ 636 w 647"/>
                <a:gd name="T51" fmla="*/ 184 h 265"/>
                <a:gd name="T52" fmla="*/ 644 w 647"/>
                <a:gd name="T53" fmla="*/ 160 h 265"/>
                <a:gd name="T54" fmla="*/ 647 w 647"/>
                <a:gd name="T55" fmla="*/ 132 h 265"/>
                <a:gd name="T56" fmla="*/ 644 w 647"/>
                <a:gd name="T57" fmla="*/ 106 h 265"/>
                <a:gd name="T58" fmla="*/ 636 w 647"/>
                <a:gd name="T59" fmla="*/ 82 h 265"/>
                <a:gd name="T60" fmla="*/ 624 w 647"/>
                <a:gd name="T61" fmla="*/ 59 h 265"/>
                <a:gd name="T62" fmla="*/ 607 w 647"/>
                <a:gd name="T63" fmla="*/ 40 h 265"/>
                <a:gd name="T64" fmla="*/ 588 w 647"/>
                <a:gd name="T65" fmla="*/ 24 h 265"/>
                <a:gd name="T66" fmla="*/ 566 w 647"/>
                <a:gd name="T67" fmla="*/ 11 h 265"/>
                <a:gd name="T68" fmla="*/ 541 w 647"/>
                <a:gd name="T69" fmla="*/ 3 h 265"/>
                <a:gd name="T70" fmla="*/ 514 w 647"/>
                <a:gd name="T71" fmla="*/ 0 h 265"/>
                <a:gd name="T72" fmla="*/ 486 w 647"/>
                <a:gd name="T73" fmla="*/ 3 h 265"/>
                <a:gd name="T74" fmla="*/ 460 w 647"/>
                <a:gd name="T75" fmla="*/ 12 h 265"/>
                <a:gd name="T76" fmla="*/ 437 w 647"/>
                <a:gd name="T77" fmla="*/ 26 h 265"/>
                <a:gd name="T78" fmla="*/ 416 w 647"/>
                <a:gd name="T79" fmla="*/ 44 h 265"/>
                <a:gd name="T80" fmla="*/ 400 w 647"/>
                <a:gd name="T81" fmla="*/ 66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5">
                  <a:moveTo>
                    <a:pt x="400" y="66"/>
                  </a:moveTo>
                  <a:lnTo>
                    <a:pt x="68" y="66"/>
                  </a:lnTo>
                  <a:lnTo>
                    <a:pt x="51" y="68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9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1"/>
                  </a:lnTo>
                  <a:lnTo>
                    <a:pt x="10" y="167"/>
                  </a:lnTo>
                  <a:lnTo>
                    <a:pt x="21" y="181"/>
                  </a:lnTo>
                  <a:lnTo>
                    <a:pt x="35" y="191"/>
                  </a:lnTo>
                  <a:lnTo>
                    <a:pt x="51" y="198"/>
                  </a:lnTo>
                  <a:lnTo>
                    <a:pt x="68" y="200"/>
                  </a:lnTo>
                  <a:lnTo>
                    <a:pt x="400" y="200"/>
                  </a:lnTo>
                  <a:lnTo>
                    <a:pt x="416" y="222"/>
                  </a:lnTo>
                  <a:lnTo>
                    <a:pt x="437" y="240"/>
                  </a:lnTo>
                  <a:lnTo>
                    <a:pt x="460" y="253"/>
                  </a:lnTo>
                  <a:lnTo>
                    <a:pt x="486" y="262"/>
                  </a:lnTo>
                  <a:lnTo>
                    <a:pt x="514" y="265"/>
                  </a:lnTo>
                  <a:lnTo>
                    <a:pt x="541" y="263"/>
                  </a:lnTo>
                  <a:lnTo>
                    <a:pt x="566" y="255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2"/>
                  </a:lnTo>
                  <a:lnTo>
                    <a:pt x="644" y="106"/>
                  </a:lnTo>
                  <a:lnTo>
                    <a:pt x="636" y="82"/>
                  </a:lnTo>
                  <a:lnTo>
                    <a:pt x="624" y="59"/>
                  </a:lnTo>
                  <a:lnTo>
                    <a:pt x="607" y="40"/>
                  </a:lnTo>
                  <a:lnTo>
                    <a:pt x="588" y="24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60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auto">
            <a:xfrm>
              <a:off x="-413" y="2073"/>
              <a:ext cx="72" cy="29"/>
            </a:xfrm>
            <a:custGeom>
              <a:avLst/>
              <a:gdLst>
                <a:gd name="T0" fmla="*/ 400 w 647"/>
                <a:gd name="T1" fmla="*/ 65 h 264"/>
                <a:gd name="T2" fmla="*/ 68 w 647"/>
                <a:gd name="T3" fmla="*/ 65 h 264"/>
                <a:gd name="T4" fmla="*/ 51 w 647"/>
                <a:gd name="T5" fmla="*/ 67 h 264"/>
                <a:gd name="T6" fmla="*/ 35 w 647"/>
                <a:gd name="T7" fmla="*/ 74 h 264"/>
                <a:gd name="T8" fmla="*/ 21 w 647"/>
                <a:gd name="T9" fmla="*/ 85 h 264"/>
                <a:gd name="T10" fmla="*/ 10 w 647"/>
                <a:gd name="T11" fmla="*/ 98 h 264"/>
                <a:gd name="T12" fmla="*/ 4 w 647"/>
                <a:gd name="T13" fmla="*/ 115 h 264"/>
                <a:gd name="T14" fmla="*/ 0 w 647"/>
                <a:gd name="T15" fmla="*/ 132 h 264"/>
                <a:gd name="T16" fmla="*/ 4 w 647"/>
                <a:gd name="T17" fmla="*/ 150 h 264"/>
                <a:gd name="T18" fmla="*/ 10 w 647"/>
                <a:gd name="T19" fmla="*/ 166 h 264"/>
                <a:gd name="T20" fmla="*/ 21 w 647"/>
                <a:gd name="T21" fmla="*/ 180 h 264"/>
                <a:gd name="T22" fmla="*/ 35 w 647"/>
                <a:gd name="T23" fmla="*/ 191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2 h 264"/>
                <a:gd name="T32" fmla="*/ 437 w 647"/>
                <a:gd name="T33" fmla="*/ 239 h 264"/>
                <a:gd name="T34" fmla="*/ 459 w 647"/>
                <a:gd name="T35" fmla="*/ 253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2 h 264"/>
                <a:gd name="T42" fmla="*/ 566 w 647"/>
                <a:gd name="T43" fmla="*/ 254 h 264"/>
                <a:gd name="T44" fmla="*/ 588 w 647"/>
                <a:gd name="T45" fmla="*/ 242 h 264"/>
                <a:gd name="T46" fmla="*/ 607 w 647"/>
                <a:gd name="T47" fmla="*/ 226 h 264"/>
                <a:gd name="T48" fmla="*/ 624 w 647"/>
                <a:gd name="T49" fmla="*/ 207 h 264"/>
                <a:gd name="T50" fmla="*/ 636 w 647"/>
                <a:gd name="T51" fmla="*/ 184 h 264"/>
                <a:gd name="T52" fmla="*/ 644 w 647"/>
                <a:gd name="T53" fmla="*/ 160 h 264"/>
                <a:gd name="T54" fmla="*/ 647 w 647"/>
                <a:gd name="T55" fmla="*/ 133 h 264"/>
                <a:gd name="T56" fmla="*/ 644 w 647"/>
                <a:gd name="T57" fmla="*/ 106 h 264"/>
                <a:gd name="T58" fmla="*/ 636 w 647"/>
                <a:gd name="T59" fmla="*/ 81 h 264"/>
                <a:gd name="T60" fmla="*/ 624 w 647"/>
                <a:gd name="T61" fmla="*/ 59 h 264"/>
                <a:gd name="T62" fmla="*/ 607 w 647"/>
                <a:gd name="T63" fmla="*/ 39 h 264"/>
                <a:gd name="T64" fmla="*/ 588 w 647"/>
                <a:gd name="T65" fmla="*/ 22 h 264"/>
                <a:gd name="T66" fmla="*/ 566 w 647"/>
                <a:gd name="T67" fmla="*/ 11 h 264"/>
                <a:gd name="T68" fmla="*/ 541 w 647"/>
                <a:gd name="T69" fmla="*/ 3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2 h 264"/>
                <a:gd name="T76" fmla="*/ 437 w 647"/>
                <a:gd name="T77" fmla="*/ 26 h 264"/>
                <a:gd name="T78" fmla="*/ 416 w 647"/>
                <a:gd name="T79" fmla="*/ 44 h 264"/>
                <a:gd name="T80" fmla="*/ 400 w 647"/>
                <a:gd name="T81" fmla="*/ 65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5"/>
                  </a:moveTo>
                  <a:lnTo>
                    <a:pt x="68" y="65"/>
                  </a:lnTo>
                  <a:lnTo>
                    <a:pt x="51" y="67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8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0"/>
                  </a:lnTo>
                  <a:lnTo>
                    <a:pt x="10" y="166"/>
                  </a:lnTo>
                  <a:lnTo>
                    <a:pt x="21" y="180"/>
                  </a:lnTo>
                  <a:lnTo>
                    <a:pt x="35" y="191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2"/>
                  </a:lnTo>
                  <a:lnTo>
                    <a:pt x="437" y="239"/>
                  </a:lnTo>
                  <a:lnTo>
                    <a:pt x="459" y="253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2"/>
                  </a:lnTo>
                  <a:lnTo>
                    <a:pt x="566" y="254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3"/>
                  </a:lnTo>
                  <a:lnTo>
                    <a:pt x="644" y="106"/>
                  </a:lnTo>
                  <a:lnTo>
                    <a:pt x="636" y="81"/>
                  </a:lnTo>
                  <a:lnTo>
                    <a:pt x="624" y="59"/>
                  </a:lnTo>
                  <a:lnTo>
                    <a:pt x="607" y="39"/>
                  </a:lnTo>
                  <a:lnTo>
                    <a:pt x="588" y="22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-118" y="2110"/>
              <a:ext cx="91" cy="90"/>
            </a:xfrm>
            <a:custGeom>
              <a:avLst/>
              <a:gdLst>
                <a:gd name="T0" fmla="*/ 537 w 816"/>
                <a:gd name="T1" fmla="*/ 547 h 805"/>
                <a:gd name="T2" fmla="*/ 497 w 816"/>
                <a:gd name="T3" fmla="*/ 587 h 805"/>
                <a:gd name="T4" fmla="*/ 468 w 816"/>
                <a:gd name="T5" fmla="*/ 616 h 805"/>
                <a:gd name="T6" fmla="*/ 447 w 816"/>
                <a:gd name="T7" fmla="*/ 636 h 805"/>
                <a:gd name="T8" fmla="*/ 433 w 816"/>
                <a:gd name="T9" fmla="*/ 650 h 805"/>
                <a:gd name="T10" fmla="*/ 421 w 816"/>
                <a:gd name="T11" fmla="*/ 662 h 805"/>
                <a:gd name="T12" fmla="*/ 410 w 816"/>
                <a:gd name="T13" fmla="*/ 673 h 805"/>
                <a:gd name="T14" fmla="*/ 395 w 816"/>
                <a:gd name="T15" fmla="*/ 688 h 805"/>
                <a:gd name="T16" fmla="*/ 374 w 816"/>
                <a:gd name="T17" fmla="*/ 708 h 805"/>
                <a:gd name="T18" fmla="*/ 345 w 816"/>
                <a:gd name="T19" fmla="*/ 737 h 805"/>
                <a:gd name="T20" fmla="*/ 303 w 816"/>
                <a:gd name="T21" fmla="*/ 779 h 805"/>
                <a:gd name="T22" fmla="*/ 208 w 816"/>
                <a:gd name="T23" fmla="*/ 736 h 805"/>
                <a:gd name="T24" fmla="*/ 68 w 816"/>
                <a:gd name="T25" fmla="*/ 607 h 805"/>
                <a:gd name="T26" fmla="*/ 0 w 816"/>
                <a:gd name="T27" fmla="*/ 538 h 805"/>
                <a:gd name="T28" fmla="*/ 2 w 816"/>
                <a:gd name="T29" fmla="*/ 535 h 805"/>
                <a:gd name="T30" fmla="*/ 37 w 816"/>
                <a:gd name="T31" fmla="*/ 499 h 805"/>
                <a:gd name="T32" fmla="*/ 92 w 816"/>
                <a:gd name="T33" fmla="*/ 446 h 805"/>
                <a:gd name="T34" fmla="*/ 135 w 816"/>
                <a:gd name="T35" fmla="*/ 403 h 805"/>
                <a:gd name="T36" fmla="*/ 169 w 816"/>
                <a:gd name="T37" fmla="*/ 369 h 805"/>
                <a:gd name="T38" fmla="*/ 197 w 816"/>
                <a:gd name="T39" fmla="*/ 341 h 805"/>
                <a:gd name="T40" fmla="*/ 223 w 816"/>
                <a:gd name="T41" fmla="*/ 315 h 805"/>
                <a:gd name="T42" fmla="*/ 248 w 816"/>
                <a:gd name="T43" fmla="*/ 291 h 805"/>
                <a:gd name="T44" fmla="*/ 277 w 816"/>
                <a:gd name="T45" fmla="*/ 263 h 805"/>
                <a:gd name="T46" fmla="*/ 312 w 816"/>
                <a:gd name="T47" fmla="*/ 228 h 805"/>
                <a:gd name="T48" fmla="*/ 356 w 816"/>
                <a:gd name="T49" fmla="*/ 187 h 805"/>
                <a:gd name="T50" fmla="*/ 411 w 816"/>
                <a:gd name="T51" fmla="*/ 133 h 805"/>
                <a:gd name="T52" fmla="*/ 473 w 816"/>
                <a:gd name="T53" fmla="*/ 75 h 805"/>
                <a:gd name="T54" fmla="*/ 540 w 816"/>
                <a:gd name="T55" fmla="*/ 31 h 805"/>
                <a:gd name="T56" fmla="*/ 602 w 816"/>
                <a:gd name="T57" fmla="*/ 4 h 805"/>
                <a:gd name="T58" fmla="*/ 657 w 816"/>
                <a:gd name="T59" fmla="*/ 1 h 805"/>
                <a:gd name="T60" fmla="*/ 709 w 816"/>
                <a:gd name="T61" fmla="*/ 22 h 805"/>
                <a:gd name="T62" fmla="*/ 759 w 816"/>
                <a:gd name="T63" fmla="*/ 60 h 805"/>
                <a:gd name="T64" fmla="*/ 796 w 816"/>
                <a:gd name="T65" fmla="*/ 108 h 805"/>
                <a:gd name="T66" fmla="*/ 815 w 816"/>
                <a:gd name="T67" fmla="*/ 161 h 805"/>
                <a:gd name="T68" fmla="*/ 810 w 816"/>
                <a:gd name="T69" fmla="*/ 217 h 805"/>
                <a:gd name="T70" fmla="*/ 773 w 816"/>
                <a:gd name="T71" fmla="*/ 283 h 805"/>
                <a:gd name="T72" fmla="*/ 717 w 816"/>
                <a:gd name="T73" fmla="*/ 354 h 805"/>
                <a:gd name="T74" fmla="*/ 681 w 816"/>
                <a:gd name="T75" fmla="*/ 398 h 805"/>
                <a:gd name="T76" fmla="*/ 656 w 816"/>
                <a:gd name="T77" fmla="*/ 424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6" h="805">
                  <a:moveTo>
                    <a:pt x="563" y="521"/>
                  </a:moveTo>
                  <a:lnTo>
                    <a:pt x="537" y="547"/>
                  </a:lnTo>
                  <a:lnTo>
                    <a:pt x="516" y="569"/>
                  </a:lnTo>
                  <a:lnTo>
                    <a:pt x="497" y="587"/>
                  </a:lnTo>
                  <a:lnTo>
                    <a:pt x="482" y="603"/>
                  </a:lnTo>
                  <a:lnTo>
                    <a:pt x="468" y="616"/>
                  </a:lnTo>
                  <a:lnTo>
                    <a:pt x="457" y="627"/>
                  </a:lnTo>
                  <a:lnTo>
                    <a:pt x="447" y="636"/>
                  </a:lnTo>
                  <a:lnTo>
                    <a:pt x="440" y="644"/>
                  </a:lnTo>
                  <a:lnTo>
                    <a:pt x="433" y="650"/>
                  </a:lnTo>
                  <a:lnTo>
                    <a:pt x="427" y="657"/>
                  </a:lnTo>
                  <a:lnTo>
                    <a:pt x="421" y="662"/>
                  </a:lnTo>
                  <a:lnTo>
                    <a:pt x="416" y="668"/>
                  </a:lnTo>
                  <a:lnTo>
                    <a:pt x="410" y="673"/>
                  </a:lnTo>
                  <a:lnTo>
                    <a:pt x="403" y="679"/>
                  </a:lnTo>
                  <a:lnTo>
                    <a:pt x="395" y="688"/>
                  </a:lnTo>
                  <a:lnTo>
                    <a:pt x="386" y="696"/>
                  </a:lnTo>
                  <a:lnTo>
                    <a:pt x="374" y="708"/>
                  </a:lnTo>
                  <a:lnTo>
                    <a:pt x="361" y="721"/>
                  </a:lnTo>
                  <a:lnTo>
                    <a:pt x="345" y="737"/>
                  </a:lnTo>
                  <a:lnTo>
                    <a:pt x="326" y="756"/>
                  </a:lnTo>
                  <a:lnTo>
                    <a:pt x="303" y="779"/>
                  </a:lnTo>
                  <a:lnTo>
                    <a:pt x="277" y="805"/>
                  </a:lnTo>
                  <a:lnTo>
                    <a:pt x="208" y="736"/>
                  </a:lnTo>
                  <a:lnTo>
                    <a:pt x="138" y="671"/>
                  </a:lnTo>
                  <a:lnTo>
                    <a:pt x="68" y="607"/>
                  </a:lnTo>
                  <a:lnTo>
                    <a:pt x="0" y="539"/>
                  </a:lnTo>
                  <a:lnTo>
                    <a:pt x="0" y="538"/>
                  </a:lnTo>
                  <a:lnTo>
                    <a:pt x="1" y="537"/>
                  </a:lnTo>
                  <a:lnTo>
                    <a:pt x="2" y="535"/>
                  </a:lnTo>
                  <a:lnTo>
                    <a:pt x="3" y="533"/>
                  </a:lnTo>
                  <a:lnTo>
                    <a:pt x="37" y="499"/>
                  </a:lnTo>
                  <a:lnTo>
                    <a:pt x="66" y="472"/>
                  </a:lnTo>
                  <a:lnTo>
                    <a:pt x="92" y="446"/>
                  </a:lnTo>
                  <a:lnTo>
                    <a:pt x="114" y="423"/>
                  </a:lnTo>
                  <a:lnTo>
                    <a:pt x="135" y="403"/>
                  </a:lnTo>
                  <a:lnTo>
                    <a:pt x="152" y="385"/>
                  </a:lnTo>
                  <a:lnTo>
                    <a:pt x="169" y="369"/>
                  </a:lnTo>
                  <a:lnTo>
                    <a:pt x="183" y="355"/>
                  </a:lnTo>
                  <a:lnTo>
                    <a:pt x="197" y="341"/>
                  </a:lnTo>
                  <a:lnTo>
                    <a:pt x="210" y="328"/>
                  </a:lnTo>
                  <a:lnTo>
                    <a:pt x="223" y="315"/>
                  </a:lnTo>
                  <a:lnTo>
                    <a:pt x="236" y="303"/>
                  </a:lnTo>
                  <a:lnTo>
                    <a:pt x="248" y="291"/>
                  </a:lnTo>
                  <a:lnTo>
                    <a:pt x="262" y="277"/>
                  </a:lnTo>
                  <a:lnTo>
                    <a:pt x="277" y="263"/>
                  </a:lnTo>
                  <a:lnTo>
                    <a:pt x="294" y="247"/>
                  </a:lnTo>
                  <a:lnTo>
                    <a:pt x="312" y="228"/>
                  </a:lnTo>
                  <a:lnTo>
                    <a:pt x="332" y="209"/>
                  </a:lnTo>
                  <a:lnTo>
                    <a:pt x="356" y="187"/>
                  </a:lnTo>
                  <a:lnTo>
                    <a:pt x="382" y="161"/>
                  </a:lnTo>
                  <a:lnTo>
                    <a:pt x="411" y="133"/>
                  </a:lnTo>
                  <a:lnTo>
                    <a:pt x="443" y="101"/>
                  </a:lnTo>
                  <a:lnTo>
                    <a:pt x="473" y="75"/>
                  </a:lnTo>
                  <a:lnTo>
                    <a:pt x="505" y="52"/>
                  </a:lnTo>
                  <a:lnTo>
                    <a:pt x="540" y="31"/>
                  </a:lnTo>
                  <a:lnTo>
                    <a:pt x="574" y="14"/>
                  </a:lnTo>
                  <a:lnTo>
                    <a:pt x="602" y="4"/>
                  </a:lnTo>
                  <a:lnTo>
                    <a:pt x="630" y="0"/>
                  </a:lnTo>
                  <a:lnTo>
                    <a:pt x="657" y="1"/>
                  </a:lnTo>
                  <a:lnTo>
                    <a:pt x="684" y="9"/>
                  </a:lnTo>
                  <a:lnTo>
                    <a:pt x="709" y="22"/>
                  </a:lnTo>
                  <a:lnTo>
                    <a:pt x="734" y="39"/>
                  </a:lnTo>
                  <a:lnTo>
                    <a:pt x="759" y="60"/>
                  </a:lnTo>
                  <a:lnTo>
                    <a:pt x="780" y="84"/>
                  </a:lnTo>
                  <a:lnTo>
                    <a:pt x="796" y="108"/>
                  </a:lnTo>
                  <a:lnTo>
                    <a:pt x="808" y="134"/>
                  </a:lnTo>
                  <a:lnTo>
                    <a:pt x="815" y="161"/>
                  </a:lnTo>
                  <a:lnTo>
                    <a:pt x="816" y="188"/>
                  </a:lnTo>
                  <a:lnTo>
                    <a:pt x="810" y="217"/>
                  </a:lnTo>
                  <a:lnTo>
                    <a:pt x="798" y="246"/>
                  </a:lnTo>
                  <a:lnTo>
                    <a:pt x="773" y="283"/>
                  </a:lnTo>
                  <a:lnTo>
                    <a:pt x="746" y="319"/>
                  </a:lnTo>
                  <a:lnTo>
                    <a:pt x="717" y="354"/>
                  </a:lnTo>
                  <a:lnTo>
                    <a:pt x="689" y="389"/>
                  </a:lnTo>
                  <a:lnTo>
                    <a:pt x="681" y="398"/>
                  </a:lnTo>
                  <a:lnTo>
                    <a:pt x="674" y="407"/>
                  </a:lnTo>
                  <a:lnTo>
                    <a:pt x="656" y="424"/>
                  </a:lnTo>
                  <a:lnTo>
                    <a:pt x="563" y="52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-89" y="2158"/>
              <a:ext cx="69" cy="70"/>
            </a:xfrm>
            <a:custGeom>
              <a:avLst/>
              <a:gdLst>
                <a:gd name="T0" fmla="*/ 606 w 629"/>
                <a:gd name="T1" fmla="*/ 105 h 630"/>
                <a:gd name="T2" fmla="*/ 517 w 629"/>
                <a:gd name="T3" fmla="*/ 196 h 630"/>
                <a:gd name="T4" fmla="*/ 427 w 629"/>
                <a:gd name="T5" fmla="*/ 286 h 630"/>
                <a:gd name="T6" fmla="*/ 106 w 629"/>
                <a:gd name="T7" fmla="*/ 605 h 630"/>
                <a:gd name="T8" fmla="*/ 94 w 629"/>
                <a:gd name="T9" fmla="*/ 618 h 630"/>
                <a:gd name="T10" fmla="*/ 78 w 629"/>
                <a:gd name="T11" fmla="*/ 625 h 630"/>
                <a:gd name="T12" fmla="*/ 63 w 629"/>
                <a:gd name="T13" fmla="*/ 630 h 630"/>
                <a:gd name="T14" fmla="*/ 47 w 629"/>
                <a:gd name="T15" fmla="*/ 630 h 630"/>
                <a:gd name="T16" fmla="*/ 30 w 629"/>
                <a:gd name="T17" fmla="*/ 622 h 630"/>
                <a:gd name="T18" fmla="*/ 16 w 629"/>
                <a:gd name="T19" fmla="*/ 613 h 630"/>
                <a:gd name="T20" fmla="*/ 6 w 629"/>
                <a:gd name="T21" fmla="*/ 601 h 630"/>
                <a:gd name="T22" fmla="*/ 1 w 629"/>
                <a:gd name="T23" fmla="*/ 588 h 630"/>
                <a:gd name="T24" fmla="*/ 0 w 629"/>
                <a:gd name="T25" fmla="*/ 573 h 630"/>
                <a:gd name="T26" fmla="*/ 3 w 629"/>
                <a:gd name="T27" fmla="*/ 557 h 630"/>
                <a:gd name="T28" fmla="*/ 10 w 629"/>
                <a:gd name="T29" fmla="*/ 543 h 630"/>
                <a:gd name="T30" fmla="*/ 20 w 629"/>
                <a:gd name="T31" fmla="*/ 530 h 630"/>
                <a:gd name="T32" fmla="*/ 32 w 629"/>
                <a:gd name="T33" fmla="*/ 517 h 630"/>
                <a:gd name="T34" fmla="*/ 48 w 629"/>
                <a:gd name="T35" fmla="*/ 501 h 630"/>
                <a:gd name="T36" fmla="*/ 68 w 629"/>
                <a:gd name="T37" fmla="*/ 482 h 630"/>
                <a:gd name="T38" fmla="*/ 88 w 629"/>
                <a:gd name="T39" fmla="*/ 461 h 630"/>
                <a:gd name="T40" fmla="*/ 112 w 629"/>
                <a:gd name="T41" fmla="*/ 438 h 630"/>
                <a:gd name="T42" fmla="*/ 136 w 629"/>
                <a:gd name="T43" fmla="*/ 413 h 630"/>
                <a:gd name="T44" fmla="*/ 162 w 629"/>
                <a:gd name="T45" fmla="*/ 387 h 630"/>
                <a:gd name="T46" fmla="*/ 189 w 629"/>
                <a:gd name="T47" fmla="*/ 360 h 630"/>
                <a:gd name="T48" fmla="*/ 217 w 629"/>
                <a:gd name="T49" fmla="*/ 332 h 630"/>
                <a:gd name="T50" fmla="*/ 246 w 629"/>
                <a:gd name="T51" fmla="*/ 303 h 630"/>
                <a:gd name="T52" fmla="*/ 275 w 629"/>
                <a:gd name="T53" fmla="*/ 274 h 630"/>
                <a:gd name="T54" fmla="*/ 303 w 629"/>
                <a:gd name="T55" fmla="*/ 246 h 630"/>
                <a:gd name="T56" fmla="*/ 331 w 629"/>
                <a:gd name="T57" fmla="*/ 217 h 630"/>
                <a:gd name="T58" fmla="*/ 359 w 629"/>
                <a:gd name="T59" fmla="*/ 191 h 630"/>
                <a:gd name="T60" fmla="*/ 385 w 629"/>
                <a:gd name="T61" fmla="*/ 164 h 630"/>
                <a:gd name="T62" fmla="*/ 409 w 629"/>
                <a:gd name="T63" fmla="*/ 139 h 630"/>
                <a:gd name="T64" fmla="*/ 433 w 629"/>
                <a:gd name="T65" fmla="*/ 116 h 630"/>
                <a:gd name="T66" fmla="*/ 455 w 629"/>
                <a:gd name="T67" fmla="*/ 94 h 630"/>
                <a:gd name="T68" fmla="*/ 474 w 629"/>
                <a:gd name="T69" fmla="*/ 75 h 630"/>
                <a:gd name="T70" fmla="*/ 491 w 629"/>
                <a:gd name="T71" fmla="*/ 59 h 630"/>
                <a:gd name="T72" fmla="*/ 505 w 629"/>
                <a:gd name="T73" fmla="*/ 45 h 630"/>
                <a:gd name="T74" fmla="*/ 516 w 629"/>
                <a:gd name="T75" fmla="*/ 34 h 630"/>
                <a:gd name="T76" fmla="*/ 523 w 629"/>
                <a:gd name="T77" fmla="*/ 27 h 630"/>
                <a:gd name="T78" fmla="*/ 527 w 629"/>
                <a:gd name="T79" fmla="*/ 22 h 630"/>
                <a:gd name="T80" fmla="*/ 546 w 629"/>
                <a:gd name="T81" fmla="*/ 9 h 630"/>
                <a:gd name="T82" fmla="*/ 564 w 629"/>
                <a:gd name="T83" fmla="*/ 1 h 630"/>
                <a:gd name="T84" fmla="*/ 581 w 629"/>
                <a:gd name="T85" fmla="*/ 0 h 630"/>
                <a:gd name="T86" fmla="*/ 599 w 629"/>
                <a:gd name="T87" fmla="*/ 6 h 630"/>
                <a:gd name="T88" fmla="*/ 615 w 629"/>
                <a:gd name="T89" fmla="*/ 19 h 630"/>
                <a:gd name="T90" fmla="*/ 623 w 629"/>
                <a:gd name="T91" fmla="*/ 31 h 630"/>
                <a:gd name="T92" fmla="*/ 629 w 629"/>
                <a:gd name="T93" fmla="*/ 45 h 630"/>
                <a:gd name="T94" fmla="*/ 629 w 629"/>
                <a:gd name="T95" fmla="*/ 60 h 630"/>
                <a:gd name="T96" fmla="*/ 625 w 629"/>
                <a:gd name="T97" fmla="*/ 75 h 630"/>
                <a:gd name="T98" fmla="*/ 618 w 629"/>
                <a:gd name="T99" fmla="*/ 90 h 630"/>
                <a:gd name="T100" fmla="*/ 606 w 629"/>
                <a:gd name="T101" fmla="*/ 105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9" h="630">
                  <a:moveTo>
                    <a:pt x="606" y="105"/>
                  </a:moveTo>
                  <a:lnTo>
                    <a:pt x="517" y="196"/>
                  </a:lnTo>
                  <a:lnTo>
                    <a:pt x="427" y="286"/>
                  </a:lnTo>
                  <a:lnTo>
                    <a:pt x="106" y="605"/>
                  </a:lnTo>
                  <a:lnTo>
                    <a:pt x="94" y="618"/>
                  </a:lnTo>
                  <a:lnTo>
                    <a:pt x="78" y="625"/>
                  </a:lnTo>
                  <a:lnTo>
                    <a:pt x="63" y="630"/>
                  </a:lnTo>
                  <a:lnTo>
                    <a:pt x="47" y="630"/>
                  </a:lnTo>
                  <a:lnTo>
                    <a:pt x="30" y="622"/>
                  </a:lnTo>
                  <a:lnTo>
                    <a:pt x="16" y="613"/>
                  </a:lnTo>
                  <a:lnTo>
                    <a:pt x="6" y="601"/>
                  </a:lnTo>
                  <a:lnTo>
                    <a:pt x="1" y="588"/>
                  </a:lnTo>
                  <a:lnTo>
                    <a:pt x="0" y="573"/>
                  </a:lnTo>
                  <a:lnTo>
                    <a:pt x="3" y="557"/>
                  </a:lnTo>
                  <a:lnTo>
                    <a:pt x="10" y="543"/>
                  </a:lnTo>
                  <a:lnTo>
                    <a:pt x="20" y="530"/>
                  </a:lnTo>
                  <a:lnTo>
                    <a:pt x="32" y="517"/>
                  </a:lnTo>
                  <a:lnTo>
                    <a:pt x="48" y="501"/>
                  </a:lnTo>
                  <a:lnTo>
                    <a:pt x="68" y="482"/>
                  </a:lnTo>
                  <a:lnTo>
                    <a:pt x="88" y="461"/>
                  </a:lnTo>
                  <a:lnTo>
                    <a:pt x="112" y="438"/>
                  </a:lnTo>
                  <a:lnTo>
                    <a:pt x="136" y="413"/>
                  </a:lnTo>
                  <a:lnTo>
                    <a:pt x="162" y="387"/>
                  </a:lnTo>
                  <a:lnTo>
                    <a:pt x="189" y="360"/>
                  </a:lnTo>
                  <a:lnTo>
                    <a:pt x="217" y="332"/>
                  </a:lnTo>
                  <a:lnTo>
                    <a:pt x="246" y="303"/>
                  </a:lnTo>
                  <a:lnTo>
                    <a:pt x="275" y="274"/>
                  </a:lnTo>
                  <a:lnTo>
                    <a:pt x="303" y="246"/>
                  </a:lnTo>
                  <a:lnTo>
                    <a:pt x="331" y="217"/>
                  </a:lnTo>
                  <a:lnTo>
                    <a:pt x="359" y="191"/>
                  </a:lnTo>
                  <a:lnTo>
                    <a:pt x="385" y="164"/>
                  </a:lnTo>
                  <a:lnTo>
                    <a:pt x="409" y="139"/>
                  </a:lnTo>
                  <a:lnTo>
                    <a:pt x="433" y="116"/>
                  </a:lnTo>
                  <a:lnTo>
                    <a:pt x="455" y="94"/>
                  </a:lnTo>
                  <a:lnTo>
                    <a:pt x="474" y="75"/>
                  </a:lnTo>
                  <a:lnTo>
                    <a:pt x="491" y="59"/>
                  </a:lnTo>
                  <a:lnTo>
                    <a:pt x="505" y="45"/>
                  </a:lnTo>
                  <a:lnTo>
                    <a:pt x="516" y="34"/>
                  </a:lnTo>
                  <a:lnTo>
                    <a:pt x="523" y="27"/>
                  </a:lnTo>
                  <a:lnTo>
                    <a:pt x="527" y="22"/>
                  </a:lnTo>
                  <a:lnTo>
                    <a:pt x="546" y="9"/>
                  </a:lnTo>
                  <a:lnTo>
                    <a:pt x="564" y="1"/>
                  </a:lnTo>
                  <a:lnTo>
                    <a:pt x="581" y="0"/>
                  </a:lnTo>
                  <a:lnTo>
                    <a:pt x="599" y="6"/>
                  </a:lnTo>
                  <a:lnTo>
                    <a:pt x="615" y="19"/>
                  </a:lnTo>
                  <a:lnTo>
                    <a:pt x="623" y="31"/>
                  </a:lnTo>
                  <a:lnTo>
                    <a:pt x="629" y="45"/>
                  </a:lnTo>
                  <a:lnTo>
                    <a:pt x="629" y="60"/>
                  </a:lnTo>
                  <a:lnTo>
                    <a:pt x="625" y="75"/>
                  </a:lnTo>
                  <a:lnTo>
                    <a:pt x="618" y="90"/>
                  </a:lnTo>
                  <a:lnTo>
                    <a:pt x="606" y="1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-312" y="2031"/>
              <a:ext cx="180" cy="13"/>
            </a:xfrm>
            <a:custGeom>
              <a:avLst/>
              <a:gdLst>
                <a:gd name="T0" fmla="*/ 1615 w 1615"/>
                <a:gd name="T1" fmla="*/ 61 h 123"/>
                <a:gd name="T2" fmla="*/ 1612 w 1615"/>
                <a:gd name="T3" fmla="*/ 81 h 123"/>
                <a:gd name="T4" fmla="*/ 1603 w 1615"/>
                <a:gd name="T5" fmla="*/ 98 h 123"/>
                <a:gd name="T6" fmla="*/ 1590 w 1615"/>
                <a:gd name="T7" fmla="*/ 111 h 123"/>
                <a:gd name="T8" fmla="*/ 1573 w 1615"/>
                <a:gd name="T9" fmla="*/ 120 h 123"/>
                <a:gd name="T10" fmla="*/ 1554 w 1615"/>
                <a:gd name="T11" fmla="*/ 123 h 123"/>
                <a:gd name="T12" fmla="*/ 61 w 1615"/>
                <a:gd name="T13" fmla="*/ 123 h 123"/>
                <a:gd name="T14" fmla="*/ 42 w 1615"/>
                <a:gd name="T15" fmla="*/ 120 h 123"/>
                <a:gd name="T16" fmla="*/ 25 w 1615"/>
                <a:gd name="T17" fmla="*/ 111 h 123"/>
                <a:gd name="T18" fmla="*/ 12 w 1615"/>
                <a:gd name="T19" fmla="*/ 98 h 123"/>
                <a:gd name="T20" fmla="*/ 3 w 1615"/>
                <a:gd name="T21" fmla="*/ 81 h 123"/>
                <a:gd name="T22" fmla="*/ 0 w 1615"/>
                <a:gd name="T23" fmla="*/ 61 h 123"/>
                <a:gd name="T24" fmla="*/ 3 w 1615"/>
                <a:gd name="T25" fmla="*/ 42 h 123"/>
                <a:gd name="T26" fmla="*/ 12 w 1615"/>
                <a:gd name="T27" fmla="*/ 25 h 123"/>
                <a:gd name="T28" fmla="*/ 25 w 1615"/>
                <a:gd name="T29" fmla="*/ 12 h 123"/>
                <a:gd name="T30" fmla="*/ 42 w 1615"/>
                <a:gd name="T31" fmla="*/ 3 h 123"/>
                <a:gd name="T32" fmla="*/ 61 w 1615"/>
                <a:gd name="T33" fmla="*/ 0 h 123"/>
                <a:gd name="T34" fmla="*/ 1554 w 1615"/>
                <a:gd name="T35" fmla="*/ 0 h 123"/>
                <a:gd name="T36" fmla="*/ 1573 w 1615"/>
                <a:gd name="T37" fmla="*/ 3 h 123"/>
                <a:gd name="T38" fmla="*/ 1590 w 1615"/>
                <a:gd name="T39" fmla="*/ 12 h 123"/>
                <a:gd name="T40" fmla="*/ 1603 w 1615"/>
                <a:gd name="T41" fmla="*/ 25 h 123"/>
                <a:gd name="T42" fmla="*/ 1612 w 1615"/>
                <a:gd name="T43" fmla="*/ 42 h 123"/>
                <a:gd name="T44" fmla="*/ 1615 w 1615"/>
                <a:gd name="T45" fmla="*/ 6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3">
                  <a:moveTo>
                    <a:pt x="1615" y="61"/>
                  </a:moveTo>
                  <a:lnTo>
                    <a:pt x="1612" y="81"/>
                  </a:lnTo>
                  <a:lnTo>
                    <a:pt x="1603" y="98"/>
                  </a:lnTo>
                  <a:lnTo>
                    <a:pt x="1590" y="111"/>
                  </a:lnTo>
                  <a:lnTo>
                    <a:pt x="1573" y="120"/>
                  </a:lnTo>
                  <a:lnTo>
                    <a:pt x="1554" y="123"/>
                  </a:lnTo>
                  <a:lnTo>
                    <a:pt x="61" y="123"/>
                  </a:lnTo>
                  <a:lnTo>
                    <a:pt x="42" y="120"/>
                  </a:lnTo>
                  <a:lnTo>
                    <a:pt x="25" y="111"/>
                  </a:lnTo>
                  <a:lnTo>
                    <a:pt x="12" y="98"/>
                  </a:lnTo>
                  <a:lnTo>
                    <a:pt x="3" y="81"/>
                  </a:lnTo>
                  <a:lnTo>
                    <a:pt x="0" y="61"/>
                  </a:lnTo>
                  <a:lnTo>
                    <a:pt x="3" y="42"/>
                  </a:lnTo>
                  <a:lnTo>
                    <a:pt x="12" y="25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3"/>
                  </a:lnTo>
                  <a:lnTo>
                    <a:pt x="1590" y="12"/>
                  </a:lnTo>
                  <a:lnTo>
                    <a:pt x="1603" y="25"/>
                  </a:lnTo>
                  <a:lnTo>
                    <a:pt x="1612" y="42"/>
                  </a:lnTo>
                  <a:lnTo>
                    <a:pt x="161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-312" y="2092"/>
              <a:ext cx="180" cy="14"/>
            </a:xfrm>
            <a:custGeom>
              <a:avLst/>
              <a:gdLst>
                <a:gd name="T0" fmla="*/ 1615 w 1615"/>
                <a:gd name="T1" fmla="*/ 63 h 124"/>
                <a:gd name="T2" fmla="*/ 1612 w 1615"/>
                <a:gd name="T3" fmla="*/ 82 h 124"/>
                <a:gd name="T4" fmla="*/ 1603 w 1615"/>
                <a:gd name="T5" fmla="*/ 99 h 124"/>
                <a:gd name="T6" fmla="*/ 1590 w 1615"/>
                <a:gd name="T7" fmla="*/ 112 h 124"/>
                <a:gd name="T8" fmla="*/ 1573 w 1615"/>
                <a:gd name="T9" fmla="*/ 120 h 124"/>
                <a:gd name="T10" fmla="*/ 1554 w 1615"/>
                <a:gd name="T11" fmla="*/ 124 h 124"/>
                <a:gd name="T12" fmla="*/ 61 w 1615"/>
                <a:gd name="T13" fmla="*/ 124 h 124"/>
                <a:gd name="T14" fmla="*/ 42 w 1615"/>
                <a:gd name="T15" fmla="*/ 120 h 124"/>
                <a:gd name="T16" fmla="*/ 25 w 1615"/>
                <a:gd name="T17" fmla="*/ 112 h 124"/>
                <a:gd name="T18" fmla="*/ 12 w 1615"/>
                <a:gd name="T19" fmla="*/ 99 h 124"/>
                <a:gd name="T20" fmla="*/ 3 w 1615"/>
                <a:gd name="T21" fmla="*/ 82 h 124"/>
                <a:gd name="T22" fmla="*/ 0 w 1615"/>
                <a:gd name="T23" fmla="*/ 63 h 124"/>
                <a:gd name="T24" fmla="*/ 3 w 1615"/>
                <a:gd name="T25" fmla="*/ 43 h 124"/>
                <a:gd name="T26" fmla="*/ 12 w 1615"/>
                <a:gd name="T27" fmla="*/ 26 h 124"/>
                <a:gd name="T28" fmla="*/ 25 w 1615"/>
                <a:gd name="T29" fmla="*/ 12 h 124"/>
                <a:gd name="T30" fmla="*/ 42 w 1615"/>
                <a:gd name="T31" fmla="*/ 4 h 124"/>
                <a:gd name="T32" fmla="*/ 61 w 1615"/>
                <a:gd name="T33" fmla="*/ 0 h 124"/>
                <a:gd name="T34" fmla="*/ 1554 w 1615"/>
                <a:gd name="T35" fmla="*/ 0 h 124"/>
                <a:gd name="T36" fmla="*/ 1573 w 1615"/>
                <a:gd name="T37" fmla="*/ 4 h 124"/>
                <a:gd name="T38" fmla="*/ 1590 w 1615"/>
                <a:gd name="T39" fmla="*/ 12 h 124"/>
                <a:gd name="T40" fmla="*/ 1603 w 1615"/>
                <a:gd name="T41" fmla="*/ 26 h 124"/>
                <a:gd name="T42" fmla="*/ 1612 w 1615"/>
                <a:gd name="T43" fmla="*/ 43 h 124"/>
                <a:gd name="T44" fmla="*/ 1615 w 1615"/>
                <a:gd name="T45" fmla="*/ 6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4">
                  <a:moveTo>
                    <a:pt x="1615" y="63"/>
                  </a:moveTo>
                  <a:lnTo>
                    <a:pt x="1612" y="82"/>
                  </a:lnTo>
                  <a:lnTo>
                    <a:pt x="1603" y="99"/>
                  </a:lnTo>
                  <a:lnTo>
                    <a:pt x="1590" y="112"/>
                  </a:lnTo>
                  <a:lnTo>
                    <a:pt x="1573" y="120"/>
                  </a:lnTo>
                  <a:lnTo>
                    <a:pt x="1554" y="124"/>
                  </a:lnTo>
                  <a:lnTo>
                    <a:pt x="61" y="124"/>
                  </a:lnTo>
                  <a:lnTo>
                    <a:pt x="42" y="120"/>
                  </a:lnTo>
                  <a:lnTo>
                    <a:pt x="25" y="112"/>
                  </a:lnTo>
                  <a:lnTo>
                    <a:pt x="12" y="99"/>
                  </a:lnTo>
                  <a:lnTo>
                    <a:pt x="3" y="82"/>
                  </a:lnTo>
                  <a:lnTo>
                    <a:pt x="0" y="63"/>
                  </a:lnTo>
                  <a:lnTo>
                    <a:pt x="3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4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4"/>
                  </a:lnTo>
                  <a:lnTo>
                    <a:pt x="1590" y="12"/>
                  </a:lnTo>
                  <a:lnTo>
                    <a:pt x="1603" y="26"/>
                  </a:lnTo>
                  <a:lnTo>
                    <a:pt x="1612" y="43"/>
                  </a:lnTo>
                  <a:lnTo>
                    <a:pt x="1615" y="6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-312" y="2153"/>
              <a:ext cx="179" cy="14"/>
            </a:xfrm>
            <a:custGeom>
              <a:avLst/>
              <a:gdLst>
                <a:gd name="T0" fmla="*/ 1614 w 1614"/>
                <a:gd name="T1" fmla="*/ 49 h 124"/>
                <a:gd name="T2" fmla="*/ 1540 w 1614"/>
                <a:gd name="T3" fmla="*/ 124 h 124"/>
                <a:gd name="T4" fmla="*/ 61 w 1614"/>
                <a:gd name="T5" fmla="*/ 124 h 124"/>
                <a:gd name="T6" fmla="*/ 42 w 1614"/>
                <a:gd name="T7" fmla="*/ 121 h 124"/>
                <a:gd name="T8" fmla="*/ 25 w 1614"/>
                <a:gd name="T9" fmla="*/ 112 h 124"/>
                <a:gd name="T10" fmla="*/ 12 w 1614"/>
                <a:gd name="T11" fmla="*/ 98 h 124"/>
                <a:gd name="T12" fmla="*/ 2 w 1614"/>
                <a:gd name="T13" fmla="*/ 81 h 124"/>
                <a:gd name="T14" fmla="*/ 0 w 1614"/>
                <a:gd name="T15" fmla="*/ 62 h 124"/>
                <a:gd name="T16" fmla="*/ 2 w 1614"/>
                <a:gd name="T17" fmla="*/ 43 h 124"/>
                <a:gd name="T18" fmla="*/ 12 w 1614"/>
                <a:gd name="T19" fmla="*/ 26 h 124"/>
                <a:gd name="T20" fmla="*/ 25 w 1614"/>
                <a:gd name="T21" fmla="*/ 12 h 124"/>
                <a:gd name="T22" fmla="*/ 42 w 1614"/>
                <a:gd name="T23" fmla="*/ 3 h 124"/>
                <a:gd name="T24" fmla="*/ 61 w 1614"/>
                <a:gd name="T25" fmla="*/ 0 h 124"/>
                <a:gd name="T26" fmla="*/ 1554 w 1614"/>
                <a:gd name="T27" fmla="*/ 0 h 124"/>
                <a:gd name="T28" fmla="*/ 1571 w 1614"/>
                <a:gd name="T29" fmla="*/ 3 h 124"/>
                <a:gd name="T30" fmla="*/ 1586 w 1614"/>
                <a:gd name="T31" fmla="*/ 10 h 124"/>
                <a:gd name="T32" fmla="*/ 1599 w 1614"/>
                <a:gd name="T33" fmla="*/ 20 h 124"/>
                <a:gd name="T34" fmla="*/ 1609 w 1614"/>
                <a:gd name="T35" fmla="*/ 33 h 124"/>
                <a:gd name="T36" fmla="*/ 1614 w 1614"/>
                <a:gd name="T37" fmla="*/ 49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14" h="124">
                  <a:moveTo>
                    <a:pt x="1614" y="49"/>
                  </a:moveTo>
                  <a:lnTo>
                    <a:pt x="1540" y="124"/>
                  </a:lnTo>
                  <a:lnTo>
                    <a:pt x="61" y="124"/>
                  </a:lnTo>
                  <a:lnTo>
                    <a:pt x="42" y="121"/>
                  </a:lnTo>
                  <a:lnTo>
                    <a:pt x="25" y="112"/>
                  </a:lnTo>
                  <a:lnTo>
                    <a:pt x="12" y="98"/>
                  </a:lnTo>
                  <a:lnTo>
                    <a:pt x="2" y="81"/>
                  </a:lnTo>
                  <a:lnTo>
                    <a:pt x="0" y="62"/>
                  </a:lnTo>
                  <a:lnTo>
                    <a:pt x="2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1" y="3"/>
                  </a:lnTo>
                  <a:lnTo>
                    <a:pt x="1586" y="10"/>
                  </a:lnTo>
                  <a:lnTo>
                    <a:pt x="1599" y="20"/>
                  </a:lnTo>
                  <a:lnTo>
                    <a:pt x="1609" y="33"/>
                  </a:lnTo>
                  <a:lnTo>
                    <a:pt x="1614" y="4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-224" y="2177"/>
              <a:ext cx="129" cy="132"/>
            </a:xfrm>
            <a:custGeom>
              <a:avLst/>
              <a:gdLst>
                <a:gd name="T0" fmla="*/ 1155 w 1157"/>
                <a:gd name="T1" fmla="*/ 280 h 1183"/>
                <a:gd name="T2" fmla="*/ 1140 w 1157"/>
                <a:gd name="T3" fmla="*/ 296 h 1183"/>
                <a:gd name="T4" fmla="*/ 1111 w 1157"/>
                <a:gd name="T5" fmla="*/ 325 h 1183"/>
                <a:gd name="T6" fmla="*/ 1070 w 1157"/>
                <a:gd name="T7" fmla="*/ 367 h 1183"/>
                <a:gd name="T8" fmla="*/ 1020 w 1157"/>
                <a:gd name="T9" fmla="*/ 417 h 1183"/>
                <a:gd name="T10" fmla="*/ 963 w 1157"/>
                <a:gd name="T11" fmla="*/ 475 h 1183"/>
                <a:gd name="T12" fmla="*/ 899 w 1157"/>
                <a:gd name="T13" fmla="*/ 537 h 1183"/>
                <a:gd name="T14" fmla="*/ 833 w 1157"/>
                <a:gd name="T15" fmla="*/ 603 h 1183"/>
                <a:gd name="T16" fmla="*/ 765 w 1157"/>
                <a:gd name="T17" fmla="*/ 670 h 1183"/>
                <a:gd name="T18" fmla="*/ 697 w 1157"/>
                <a:gd name="T19" fmla="*/ 736 h 1183"/>
                <a:gd name="T20" fmla="*/ 633 w 1157"/>
                <a:gd name="T21" fmla="*/ 798 h 1183"/>
                <a:gd name="T22" fmla="*/ 573 w 1157"/>
                <a:gd name="T23" fmla="*/ 855 h 1183"/>
                <a:gd name="T24" fmla="*/ 520 w 1157"/>
                <a:gd name="T25" fmla="*/ 904 h 1183"/>
                <a:gd name="T26" fmla="*/ 475 w 1157"/>
                <a:gd name="T27" fmla="*/ 945 h 1183"/>
                <a:gd name="T28" fmla="*/ 442 w 1157"/>
                <a:gd name="T29" fmla="*/ 973 h 1183"/>
                <a:gd name="T30" fmla="*/ 427 w 1157"/>
                <a:gd name="T31" fmla="*/ 983 h 1183"/>
                <a:gd name="T32" fmla="*/ 409 w 1157"/>
                <a:gd name="T33" fmla="*/ 995 h 1183"/>
                <a:gd name="T34" fmla="*/ 378 w 1157"/>
                <a:gd name="T35" fmla="*/ 1017 h 1183"/>
                <a:gd name="T36" fmla="*/ 336 w 1157"/>
                <a:gd name="T37" fmla="*/ 1042 h 1183"/>
                <a:gd name="T38" fmla="*/ 287 w 1157"/>
                <a:gd name="T39" fmla="*/ 1071 h 1183"/>
                <a:gd name="T40" fmla="*/ 234 w 1157"/>
                <a:gd name="T41" fmla="*/ 1099 h 1183"/>
                <a:gd name="T42" fmla="*/ 181 w 1157"/>
                <a:gd name="T43" fmla="*/ 1123 h 1183"/>
                <a:gd name="T44" fmla="*/ 129 w 1157"/>
                <a:gd name="T45" fmla="*/ 1139 h 1183"/>
                <a:gd name="T46" fmla="*/ 84 w 1157"/>
                <a:gd name="T47" fmla="*/ 1143 h 1183"/>
                <a:gd name="T48" fmla="*/ 78 w 1157"/>
                <a:gd name="T49" fmla="*/ 1144 h 1183"/>
                <a:gd name="T50" fmla="*/ 47 w 1157"/>
                <a:gd name="T51" fmla="*/ 1174 h 1183"/>
                <a:gd name="T52" fmla="*/ 27 w 1157"/>
                <a:gd name="T53" fmla="*/ 1183 h 1183"/>
                <a:gd name="T54" fmla="*/ 9 w 1157"/>
                <a:gd name="T55" fmla="*/ 1176 h 1183"/>
                <a:gd name="T56" fmla="*/ 0 w 1157"/>
                <a:gd name="T57" fmla="*/ 1157 h 1183"/>
                <a:gd name="T58" fmla="*/ 6 w 1157"/>
                <a:gd name="T59" fmla="*/ 1137 h 1183"/>
                <a:gd name="T60" fmla="*/ 29 w 1157"/>
                <a:gd name="T61" fmla="*/ 1091 h 1183"/>
                <a:gd name="T62" fmla="*/ 32 w 1157"/>
                <a:gd name="T63" fmla="*/ 1046 h 1183"/>
                <a:gd name="T64" fmla="*/ 46 w 1157"/>
                <a:gd name="T65" fmla="*/ 994 h 1183"/>
                <a:gd name="T66" fmla="*/ 68 w 1157"/>
                <a:gd name="T67" fmla="*/ 941 h 1183"/>
                <a:gd name="T68" fmla="*/ 93 w 1157"/>
                <a:gd name="T69" fmla="*/ 886 h 1183"/>
                <a:gd name="T70" fmla="*/ 120 w 1157"/>
                <a:gd name="T71" fmla="*/ 837 h 1183"/>
                <a:gd name="T72" fmla="*/ 146 w 1157"/>
                <a:gd name="T73" fmla="*/ 794 h 1183"/>
                <a:gd name="T74" fmla="*/ 167 w 1157"/>
                <a:gd name="T75" fmla="*/ 762 h 1183"/>
                <a:gd name="T76" fmla="*/ 177 w 1157"/>
                <a:gd name="T77" fmla="*/ 745 h 1183"/>
                <a:gd name="T78" fmla="*/ 188 w 1157"/>
                <a:gd name="T79" fmla="*/ 730 h 1183"/>
                <a:gd name="T80" fmla="*/ 215 w 1157"/>
                <a:gd name="T81" fmla="*/ 695 h 1183"/>
                <a:gd name="T82" fmla="*/ 254 w 1157"/>
                <a:gd name="T83" fmla="*/ 650 h 1183"/>
                <a:gd name="T84" fmla="*/ 302 w 1157"/>
                <a:gd name="T85" fmla="*/ 596 h 1183"/>
                <a:gd name="T86" fmla="*/ 358 w 1157"/>
                <a:gd name="T87" fmla="*/ 535 h 1183"/>
                <a:gd name="T88" fmla="*/ 419 w 1157"/>
                <a:gd name="T89" fmla="*/ 469 h 1183"/>
                <a:gd name="T90" fmla="*/ 484 w 1157"/>
                <a:gd name="T91" fmla="*/ 400 h 1183"/>
                <a:gd name="T92" fmla="*/ 549 w 1157"/>
                <a:gd name="T93" fmla="*/ 331 h 1183"/>
                <a:gd name="T94" fmla="*/ 614 w 1157"/>
                <a:gd name="T95" fmla="*/ 264 h 1183"/>
                <a:gd name="T96" fmla="*/ 675 w 1157"/>
                <a:gd name="T97" fmla="*/ 199 h 1183"/>
                <a:gd name="T98" fmla="*/ 732 w 1157"/>
                <a:gd name="T99" fmla="*/ 141 h 1183"/>
                <a:gd name="T100" fmla="*/ 781 w 1157"/>
                <a:gd name="T101" fmla="*/ 89 h 1183"/>
                <a:gd name="T102" fmla="*/ 821 w 1157"/>
                <a:gd name="T103" fmla="*/ 47 h 1183"/>
                <a:gd name="T104" fmla="*/ 850 w 1157"/>
                <a:gd name="T105" fmla="*/ 18 h 1183"/>
                <a:gd name="T106" fmla="*/ 865 w 1157"/>
                <a:gd name="T107" fmla="*/ 2 h 1183"/>
                <a:gd name="T108" fmla="*/ 1012 w 1157"/>
                <a:gd name="T109" fmla="*/ 137 h 1183"/>
                <a:gd name="T110" fmla="*/ 1020 w 1157"/>
                <a:gd name="T111" fmla="*/ 145 h 1183"/>
                <a:gd name="T112" fmla="*/ 1039 w 1157"/>
                <a:gd name="T113" fmla="*/ 162 h 1183"/>
                <a:gd name="T114" fmla="*/ 1064 w 1157"/>
                <a:gd name="T115" fmla="*/ 187 h 1183"/>
                <a:gd name="T116" fmla="*/ 1093 w 1157"/>
                <a:gd name="T117" fmla="*/ 214 h 1183"/>
                <a:gd name="T118" fmla="*/ 1121 w 1157"/>
                <a:gd name="T119" fmla="*/ 241 h 1183"/>
                <a:gd name="T120" fmla="*/ 1142 w 1157"/>
                <a:gd name="T121" fmla="*/ 264 h 1183"/>
                <a:gd name="T122" fmla="*/ 1155 w 1157"/>
                <a:gd name="T123" fmla="*/ 277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57" h="1183">
                  <a:moveTo>
                    <a:pt x="1157" y="278"/>
                  </a:moveTo>
                  <a:lnTo>
                    <a:pt x="1155" y="280"/>
                  </a:lnTo>
                  <a:lnTo>
                    <a:pt x="1150" y="286"/>
                  </a:lnTo>
                  <a:lnTo>
                    <a:pt x="1140" y="296"/>
                  </a:lnTo>
                  <a:lnTo>
                    <a:pt x="1127" y="309"/>
                  </a:lnTo>
                  <a:lnTo>
                    <a:pt x="1111" y="325"/>
                  </a:lnTo>
                  <a:lnTo>
                    <a:pt x="1092" y="344"/>
                  </a:lnTo>
                  <a:lnTo>
                    <a:pt x="1070" y="367"/>
                  </a:lnTo>
                  <a:lnTo>
                    <a:pt x="1047" y="390"/>
                  </a:lnTo>
                  <a:lnTo>
                    <a:pt x="1020" y="417"/>
                  </a:lnTo>
                  <a:lnTo>
                    <a:pt x="992" y="445"/>
                  </a:lnTo>
                  <a:lnTo>
                    <a:pt x="963" y="475"/>
                  </a:lnTo>
                  <a:lnTo>
                    <a:pt x="932" y="505"/>
                  </a:lnTo>
                  <a:lnTo>
                    <a:pt x="899" y="537"/>
                  </a:lnTo>
                  <a:lnTo>
                    <a:pt x="866" y="570"/>
                  </a:lnTo>
                  <a:lnTo>
                    <a:pt x="833" y="603"/>
                  </a:lnTo>
                  <a:lnTo>
                    <a:pt x="799" y="636"/>
                  </a:lnTo>
                  <a:lnTo>
                    <a:pt x="765" y="670"/>
                  </a:lnTo>
                  <a:lnTo>
                    <a:pt x="731" y="703"/>
                  </a:lnTo>
                  <a:lnTo>
                    <a:pt x="697" y="736"/>
                  </a:lnTo>
                  <a:lnTo>
                    <a:pt x="665" y="767"/>
                  </a:lnTo>
                  <a:lnTo>
                    <a:pt x="633" y="798"/>
                  </a:lnTo>
                  <a:lnTo>
                    <a:pt x="603" y="827"/>
                  </a:lnTo>
                  <a:lnTo>
                    <a:pt x="573" y="855"/>
                  </a:lnTo>
                  <a:lnTo>
                    <a:pt x="546" y="881"/>
                  </a:lnTo>
                  <a:lnTo>
                    <a:pt x="520" y="904"/>
                  </a:lnTo>
                  <a:lnTo>
                    <a:pt x="496" y="926"/>
                  </a:lnTo>
                  <a:lnTo>
                    <a:pt x="475" y="945"/>
                  </a:lnTo>
                  <a:lnTo>
                    <a:pt x="457" y="960"/>
                  </a:lnTo>
                  <a:lnTo>
                    <a:pt x="442" y="973"/>
                  </a:lnTo>
                  <a:lnTo>
                    <a:pt x="429" y="981"/>
                  </a:lnTo>
                  <a:lnTo>
                    <a:pt x="427" y="983"/>
                  </a:lnTo>
                  <a:lnTo>
                    <a:pt x="420" y="988"/>
                  </a:lnTo>
                  <a:lnTo>
                    <a:pt x="409" y="995"/>
                  </a:lnTo>
                  <a:lnTo>
                    <a:pt x="395" y="1005"/>
                  </a:lnTo>
                  <a:lnTo>
                    <a:pt x="378" y="1017"/>
                  </a:lnTo>
                  <a:lnTo>
                    <a:pt x="359" y="1029"/>
                  </a:lnTo>
                  <a:lnTo>
                    <a:pt x="336" y="1042"/>
                  </a:lnTo>
                  <a:lnTo>
                    <a:pt x="313" y="1057"/>
                  </a:lnTo>
                  <a:lnTo>
                    <a:pt x="287" y="1071"/>
                  </a:lnTo>
                  <a:lnTo>
                    <a:pt x="261" y="1086"/>
                  </a:lnTo>
                  <a:lnTo>
                    <a:pt x="234" y="1099"/>
                  </a:lnTo>
                  <a:lnTo>
                    <a:pt x="207" y="1112"/>
                  </a:lnTo>
                  <a:lnTo>
                    <a:pt x="181" y="1123"/>
                  </a:lnTo>
                  <a:lnTo>
                    <a:pt x="155" y="1131"/>
                  </a:lnTo>
                  <a:lnTo>
                    <a:pt x="129" y="1139"/>
                  </a:lnTo>
                  <a:lnTo>
                    <a:pt x="105" y="1142"/>
                  </a:lnTo>
                  <a:lnTo>
                    <a:pt x="84" y="1143"/>
                  </a:lnTo>
                  <a:lnTo>
                    <a:pt x="82" y="1144"/>
                  </a:lnTo>
                  <a:lnTo>
                    <a:pt x="78" y="1144"/>
                  </a:lnTo>
                  <a:lnTo>
                    <a:pt x="76" y="1144"/>
                  </a:lnTo>
                  <a:lnTo>
                    <a:pt x="47" y="1174"/>
                  </a:lnTo>
                  <a:lnTo>
                    <a:pt x="38" y="1180"/>
                  </a:lnTo>
                  <a:lnTo>
                    <a:pt x="27" y="1183"/>
                  </a:lnTo>
                  <a:lnTo>
                    <a:pt x="17" y="1182"/>
                  </a:lnTo>
                  <a:lnTo>
                    <a:pt x="9" y="1176"/>
                  </a:lnTo>
                  <a:lnTo>
                    <a:pt x="2" y="1167"/>
                  </a:lnTo>
                  <a:lnTo>
                    <a:pt x="0" y="1157"/>
                  </a:lnTo>
                  <a:lnTo>
                    <a:pt x="1" y="1146"/>
                  </a:lnTo>
                  <a:lnTo>
                    <a:pt x="6" y="1137"/>
                  </a:lnTo>
                  <a:lnTo>
                    <a:pt x="33" y="1109"/>
                  </a:lnTo>
                  <a:lnTo>
                    <a:pt x="29" y="1091"/>
                  </a:lnTo>
                  <a:lnTo>
                    <a:pt x="29" y="1069"/>
                  </a:lnTo>
                  <a:lnTo>
                    <a:pt x="32" y="1046"/>
                  </a:lnTo>
                  <a:lnTo>
                    <a:pt x="38" y="1021"/>
                  </a:lnTo>
                  <a:lnTo>
                    <a:pt x="46" y="994"/>
                  </a:lnTo>
                  <a:lnTo>
                    <a:pt x="56" y="967"/>
                  </a:lnTo>
                  <a:lnTo>
                    <a:pt x="68" y="941"/>
                  </a:lnTo>
                  <a:lnTo>
                    <a:pt x="81" y="913"/>
                  </a:lnTo>
                  <a:lnTo>
                    <a:pt x="93" y="886"/>
                  </a:lnTo>
                  <a:lnTo>
                    <a:pt x="107" y="860"/>
                  </a:lnTo>
                  <a:lnTo>
                    <a:pt x="120" y="837"/>
                  </a:lnTo>
                  <a:lnTo>
                    <a:pt x="134" y="814"/>
                  </a:lnTo>
                  <a:lnTo>
                    <a:pt x="146" y="794"/>
                  </a:lnTo>
                  <a:lnTo>
                    <a:pt x="157" y="777"/>
                  </a:lnTo>
                  <a:lnTo>
                    <a:pt x="167" y="762"/>
                  </a:lnTo>
                  <a:lnTo>
                    <a:pt x="173" y="751"/>
                  </a:lnTo>
                  <a:lnTo>
                    <a:pt x="177" y="745"/>
                  </a:lnTo>
                  <a:lnTo>
                    <a:pt x="179" y="742"/>
                  </a:lnTo>
                  <a:lnTo>
                    <a:pt x="188" y="730"/>
                  </a:lnTo>
                  <a:lnTo>
                    <a:pt x="200" y="715"/>
                  </a:lnTo>
                  <a:lnTo>
                    <a:pt x="215" y="695"/>
                  </a:lnTo>
                  <a:lnTo>
                    <a:pt x="233" y="674"/>
                  </a:lnTo>
                  <a:lnTo>
                    <a:pt x="254" y="650"/>
                  </a:lnTo>
                  <a:lnTo>
                    <a:pt x="277" y="624"/>
                  </a:lnTo>
                  <a:lnTo>
                    <a:pt x="302" y="596"/>
                  </a:lnTo>
                  <a:lnTo>
                    <a:pt x="329" y="566"/>
                  </a:lnTo>
                  <a:lnTo>
                    <a:pt x="358" y="535"/>
                  </a:lnTo>
                  <a:lnTo>
                    <a:pt x="388" y="503"/>
                  </a:lnTo>
                  <a:lnTo>
                    <a:pt x="419" y="469"/>
                  </a:lnTo>
                  <a:lnTo>
                    <a:pt x="451" y="435"/>
                  </a:lnTo>
                  <a:lnTo>
                    <a:pt x="484" y="400"/>
                  </a:lnTo>
                  <a:lnTo>
                    <a:pt x="516" y="365"/>
                  </a:lnTo>
                  <a:lnTo>
                    <a:pt x="549" y="331"/>
                  </a:lnTo>
                  <a:lnTo>
                    <a:pt x="581" y="297"/>
                  </a:lnTo>
                  <a:lnTo>
                    <a:pt x="614" y="264"/>
                  </a:lnTo>
                  <a:lnTo>
                    <a:pt x="645" y="230"/>
                  </a:lnTo>
                  <a:lnTo>
                    <a:pt x="675" y="199"/>
                  </a:lnTo>
                  <a:lnTo>
                    <a:pt x="704" y="168"/>
                  </a:lnTo>
                  <a:lnTo>
                    <a:pt x="732" y="141"/>
                  </a:lnTo>
                  <a:lnTo>
                    <a:pt x="758" y="114"/>
                  </a:lnTo>
                  <a:lnTo>
                    <a:pt x="781" y="89"/>
                  </a:lnTo>
                  <a:lnTo>
                    <a:pt x="803" y="68"/>
                  </a:lnTo>
                  <a:lnTo>
                    <a:pt x="821" y="47"/>
                  </a:lnTo>
                  <a:lnTo>
                    <a:pt x="837" y="31"/>
                  </a:lnTo>
                  <a:lnTo>
                    <a:pt x="850" y="18"/>
                  </a:lnTo>
                  <a:lnTo>
                    <a:pt x="860" y="9"/>
                  </a:lnTo>
                  <a:lnTo>
                    <a:pt x="865" y="2"/>
                  </a:lnTo>
                  <a:lnTo>
                    <a:pt x="867" y="0"/>
                  </a:lnTo>
                  <a:lnTo>
                    <a:pt x="1012" y="137"/>
                  </a:lnTo>
                  <a:lnTo>
                    <a:pt x="1014" y="139"/>
                  </a:lnTo>
                  <a:lnTo>
                    <a:pt x="1020" y="145"/>
                  </a:lnTo>
                  <a:lnTo>
                    <a:pt x="1028" y="152"/>
                  </a:lnTo>
                  <a:lnTo>
                    <a:pt x="1039" y="162"/>
                  </a:lnTo>
                  <a:lnTo>
                    <a:pt x="1051" y="174"/>
                  </a:lnTo>
                  <a:lnTo>
                    <a:pt x="1064" y="187"/>
                  </a:lnTo>
                  <a:lnTo>
                    <a:pt x="1079" y="201"/>
                  </a:lnTo>
                  <a:lnTo>
                    <a:pt x="1093" y="214"/>
                  </a:lnTo>
                  <a:lnTo>
                    <a:pt x="1107" y="228"/>
                  </a:lnTo>
                  <a:lnTo>
                    <a:pt x="1121" y="241"/>
                  </a:lnTo>
                  <a:lnTo>
                    <a:pt x="1133" y="253"/>
                  </a:lnTo>
                  <a:lnTo>
                    <a:pt x="1142" y="264"/>
                  </a:lnTo>
                  <a:lnTo>
                    <a:pt x="1151" y="271"/>
                  </a:lnTo>
                  <a:lnTo>
                    <a:pt x="1155" y="277"/>
                  </a:lnTo>
                  <a:lnTo>
                    <a:pt x="1157" y="2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" name="Group 21"/>
          <p:cNvGrpSpPr>
            <a:grpSpLocks noChangeAspect="1"/>
          </p:cNvGrpSpPr>
          <p:nvPr/>
        </p:nvGrpSpPr>
        <p:grpSpPr bwMode="auto">
          <a:xfrm>
            <a:off x="843703" y="2923581"/>
            <a:ext cx="510202" cy="508511"/>
            <a:chOff x="-425" y="2418"/>
            <a:chExt cx="302" cy="301"/>
          </a:xfrm>
          <a:solidFill>
            <a:srgbClr val="00569B"/>
          </a:solidFill>
        </p:grpSpPr>
        <p:sp>
          <p:nvSpPr>
            <p:cNvPr id="28" name="Freeform 23"/>
            <p:cNvSpPr>
              <a:spLocks/>
            </p:cNvSpPr>
            <p:nvPr/>
          </p:nvSpPr>
          <p:spPr bwMode="auto">
            <a:xfrm>
              <a:off x="-373" y="2472"/>
              <a:ext cx="130" cy="27"/>
            </a:xfrm>
            <a:custGeom>
              <a:avLst/>
              <a:gdLst>
                <a:gd name="T0" fmla="*/ 151 w 1438"/>
                <a:gd name="T1" fmla="*/ 0 h 302"/>
                <a:gd name="T2" fmla="*/ 1287 w 1438"/>
                <a:gd name="T3" fmla="*/ 0 h 302"/>
                <a:gd name="T4" fmla="*/ 1318 w 1438"/>
                <a:gd name="T5" fmla="*/ 3 h 302"/>
                <a:gd name="T6" fmla="*/ 1346 w 1438"/>
                <a:gd name="T7" fmla="*/ 12 h 302"/>
                <a:gd name="T8" fmla="*/ 1372 w 1438"/>
                <a:gd name="T9" fmla="*/ 26 h 302"/>
                <a:gd name="T10" fmla="*/ 1394 w 1438"/>
                <a:gd name="T11" fmla="*/ 45 h 302"/>
                <a:gd name="T12" fmla="*/ 1413 w 1438"/>
                <a:gd name="T13" fmla="*/ 67 h 302"/>
                <a:gd name="T14" fmla="*/ 1426 w 1438"/>
                <a:gd name="T15" fmla="*/ 93 h 302"/>
                <a:gd name="T16" fmla="*/ 1435 w 1438"/>
                <a:gd name="T17" fmla="*/ 121 h 302"/>
                <a:gd name="T18" fmla="*/ 1438 w 1438"/>
                <a:gd name="T19" fmla="*/ 151 h 302"/>
                <a:gd name="T20" fmla="*/ 1435 w 1438"/>
                <a:gd name="T21" fmla="*/ 181 h 302"/>
                <a:gd name="T22" fmla="*/ 1426 w 1438"/>
                <a:gd name="T23" fmla="*/ 209 h 302"/>
                <a:gd name="T24" fmla="*/ 1413 w 1438"/>
                <a:gd name="T25" fmla="*/ 235 h 302"/>
                <a:gd name="T26" fmla="*/ 1394 w 1438"/>
                <a:gd name="T27" fmla="*/ 257 h 302"/>
                <a:gd name="T28" fmla="*/ 1372 w 1438"/>
                <a:gd name="T29" fmla="*/ 276 h 302"/>
                <a:gd name="T30" fmla="*/ 1346 w 1438"/>
                <a:gd name="T31" fmla="*/ 289 h 302"/>
                <a:gd name="T32" fmla="*/ 1318 w 1438"/>
                <a:gd name="T33" fmla="*/ 298 h 302"/>
                <a:gd name="T34" fmla="*/ 1287 w 1438"/>
                <a:gd name="T35" fmla="*/ 302 h 302"/>
                <a:gd name="T36" fmla="*/ 151 w 1438"/>
                <a:gd name="T37" fmla="*/ 302 h 302"/>
                <a:gd name="T38" fmla="*/ 121 w 1438"/>
                <a:gd name="T39" fmla="*/ 298 h 302"/>
                <a:gd name="T40" fmla="*/ 93 w 1438"/>
                <a:gd name="T41" fmla="*/ 289 h 302"/>
                <a:gd name="T42" fmla="*/ 66 w 1438"/>
                <a:gd name="T43" fmla="*/ 276 h 302"/>
                <a:gd name="T44" fmla="*/ 44 w 1438"/>
                <a:gd name="T45" fmla="*/ 257 h 302"/>
                <a:gd name="T46" fmla="*/ 26 w 1438"/>
                <a:gd name="T47" fmla="*/ 235 h 302"/>
                <a:gd name="T48" fmla="*/ 12 w 1438"/>
                <a:gd name="T49" fmla="*/ 209 h 302"/>
                <a:gd name="T50" fmla="*/ 4 w 1438"/>
                <a:gd name="T51" fmla="*/ 181 h 302"/>
                <a:gd name="T52" fmla="*/ 0 w 1438"/>
                <a:gd name="T53" fmla="*/ 151 h 302"/>
                <a:gd name="T54" fmla="*/ 4 w 1438"/>
                <a:gd name="T55" fmla="*/ 121 h 302"/>
                <a:gd name="T56" fmla="*/ 12 w 1438"/>
                <a:gd name="T57" fmla="*/ 93 h 302"/>
                <a:gd name="T58" fmla="*/ 26 w 1438"/>
                <a:gd name="T59" fmla="*/ 67 h 302"/>
                <a:gd name="T60" fmla="*/ 44 w 1438"/>
                <a:gd name="T61" fmla="*/ 45 h 302"/>
                <a:gd name="T62" fmla="*/ 66 w 1438"/>
                <a:gd name="T63" fmla="*/ 26 h 302"/>
                <a:gd name="T64" fmla="*/ 93 w 1438"/>
                <a:gd name="T65" fmla="*/ 12 h 302"/>
                <a:gd name="T66" fmla="*/ 121 w 1438"/>
                <a:gd name="T67" fmla="*/ 3 h 302"/>
                <a:gd name="T68" fmla="*/ 151 w 1438"/>
                <a:gd name="T6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8" h="302">
                  <a:moveTo>
                    <a:pt x="151" y="0"/>
                  </a:moveTo>
                  <a:lnTo>
                    <a:pt x="1287" y="0"/>
                  </a:lnTo>
                  <a:lnTo>
                    <a:pt x="1318" y="3"/>
                  </a:lnTo>
                  <a:lnTo>
                    <a:pt x="1346" y="12"/>
                  </a:lnTo>
                  <a:lnTo>
                    <a:pt x="1372" y="26"/>
                  </a:lnTo>
                  <a:lnTo>
                    <a:pt x="1394" y="45"/>
                  </a:lnTo>
                  <a:lnTo>
                    <a:pt x="1413" y="67"/>
                  </a:lnTo>
                  <a:lnTo>
                    <a:pt x="1426" y="93"/>
                  </a:lnTo>
                  <a:lnTo>
                    <a:pt x="1435" y="121"/>
                  </a:lnTo>
                  <a:lnTo>
                    <a:pt x="1438" y="151"/>
                  </a:lnTo>
                  <a:lnTo>
                    <a:pt x="1435" y="181"/>
                  </a:lnTo>
                  <a:lnTo>
                    <a:pt x="1426" y="209"/>
                  </a:lnTo>
                  <a:lnTo>
                    <a:pt x="1413" y="235"/>
                  </a:lnTo>
                  <a:lnTo>
                    <a:pt x="1394" y="257"/>
                  </a:lnTo>
                  <a:lnTo>
                    <a:pt x="1372" y="276"/>
                  </a:lnTo>
                  <a:lnTo>
                    <a:pt x="1346" y="289"/>
                  </a:lnTo>
                  <a:lnTo>
                    <a:pt x="1318" y="298"/>
                  </a:lnTo>
                  <a:lnTo>
                    <a:pt x="1287" y="302"/>
                  </a:lnTo>
                  <a:lnTo>
                    <a:pt x="151" y="302"/>
                  </a:lnTo>
                  <a:lnTo>
                    <a:pt x="121" y="298"/>
                  </a:lnTo>
                  <a:lnTo>
                    <a:pt x="93" y="289"/>
                  </a:lnTo>
                  <a:lnTo>
                    <a:pt x="66" y="276"/>
                  </a:lnTo>
                  <a:lnTo>
                    <a:pt x="44" y="257"/>
                  </a:lnTo>
                  <a:lnTo>
                    <a:pt x="26" y="235"/>
                  </a:lnTo>
                  <a:lnTo>
                    <a:pt x="12" y="209"/>
                  </a:lnTo>
                  <a:lnTo>
                    <a:pt x="4" y="181"/>
                  </a:lnTo>
                  <a:lnTo>
                    <a:pt x="0" y="151"/>
                  </a:lnTo>
                  <a:lnTo>
                    <a:pt x="4" y="121"/>
                  </a:lnTo>
                  <a:lnTo>
                    <a:pt x="12" y="93"/>
                  </a:lnTo>
                  <a:lnTo>
                    <a:pt x="26" y="67"/>
                  </a:lnTo>
                  <a:lnTo>
                    <a:pt x="44" y="45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auto">
            <a:xfrm>
              <a:off x="-373" y="2523"/>
              <a:ext cx="130" cy="27"/>
            </a:xfrm>
            <a:custGeom>
              <a:avLst/>
              <a:gdLst>
                <a:gd name="T0" fmla="*/ 151 w 1438"/>
                <a:gd name="T1" fmla="*/ 0 h 301"/>
                <a:gd name="T2" fmla="*/ 1287 w 1438"/>
                <a:gd name="T3" fmla="*/ 0 h 301"/>
                <a:gd name="T4" fmla="*/ 1318 w 1438"/>
                <a:gd name="T5" fmla="*/ 3 h 301"/>
                <a:gd name="T6" fmla="*/ 1346 w 1438"/>
                <a:gd name="T7" fmla="*/ 12 h 301"/>
                <a:gd name="T8" fmla="*/ 1372 w 1438"/>
                <a:gd name="T9" fmla="*/ 26 h 301"/>
                <a:gd name="T10" fmla="*/ 1394 w 1438"/>
                <a:gd name="T11" fmla="*/ 44 h 301"/>
                <a:gd name="T12" fmla="*/ 1413 w 1438"/>
                <a:gd name="T13" fmla="*/ 66 h 301"/>
                <a:gd name="T14" fmla="*/ 1426 w 1438"/>
                <a:gd name="T15" fmla="*/ 92 h 301"/>
                <a:gd name="T16" fmla="*/ 1435 w 1438"/>
                <a:gd name="T17" fmla="*/ 120 h 301"/>
                <a:gd name="T18" fmla="*/ 1438 w 1438"/>
                <a:gd name="T19" fmla="*/ 150 h 301"/>
                <a:gd name="T20" fmla="*/ 1435 w 1438"/>
                <a:gd name="T21" fmla="*/ 181 h 301"/>
                <a:gd name="T22" fmla="*/ 1426 w 1438"/>
                <a:gd name="T23" fmla="*/ 210 h 301"/>
                <a:gd name="T24" fmla="*/ 1413 w 1438"/>
                <a:gd name="T25" fmla="*/ 235 h 301"/>
                <a:gd name="T26" fmla="*/ 1394 w 1438"/>
                <a:gd name="T27" fmla="*/ 258 h 301"/>
                <a:gd name="T28" fmla="*/ 1372 w 1438"/>
                <a:gd name="T29" fmla="*/ 275 h 301"/>
                <a:gd name="T30" fmla="*/ 1346 w 1438"/>
                <a:gd name="T31" fmla="*/ 290 h 301"/>
                <a:gd name="T32" fmla="*/ 1318 w 1438"/>
                <a:gd name="T33" fmla="*/ 298 h 301"/>
                <a:gd name="T34" fmla="*/ 1287 w 1438"/>
                <a:gd name="T35" fmla="*/ 301 h 301"/>
                <a:gd name="T36" fmla="*/ 151 w 1438"/>
                <a:gd name="T37" fmla="*/ 301 h 301"/>
                <a:gd name="T38" fmla="*/ 121 w 1438"/>
                <a:gd name="T39" fmla="*/ 298 h 301"/>
                <a:gd name="T40" fmla="*/ 93 w 1438"/>
                <a:gd name="T41" fmla="*/ 290 h 301"/>
                <a:gd name="T42" fmla="*/ 66 w 1438"/>
                <a:gd name="T43" fmla="*/ 275 h 301"/>
                <a:gd name="T44" fmla="*/ 44 w 1438"/>
                <a:gd name="T45" fmla="*/ 258 h 301"/>
                <a:gd name="T46" fmla="*/ 26 w 1438"/>
                <a:gd name="T47" fmla="*/ 235 h 301"/>
                <a:gd name="T48" fmla="*/ 12 w 1438"/>
                <a:gd name="T49" fmla="*/ 210 h 301"/>
                <a:gd name="T50" fmla="*/ 4 w 1438"/>
                <a:gd name="T51" fmla="*/ 181 h 301"/>
                <a:gd name="T52" fmla="*/ 0 w 1438"/>
                <a:gd name="T53" fmla="*/ 150 h 301"/>
                <a:gd name="T54" fmla="*/ 4 w 1438"/>
                <a:gd name="T55" fmla="*/ 120 h 301"/>
                <a:gd name="T56" fmla="*/ 12 w 1438"/>
                <a:gd name="T57" fmla="*/ 92 h 301"/>
                <a:gd name="T58" fmla="*/ 26 w 1438"/>
                <a:gd name="T59" fmla="*/ 66 h 301"/>
                <a:gd name="T60" fmla="*/ 44 w 1438"/>
                <a:gd name="T61" fmla="*/ 44 h 301"/>
                <a:gd name="T62" fmla="*/ 66 w 1438"/>
                <a:gd name="T63" fmla="*/ 26 h 301"/>
                <a:gd name="T64" fmla="*/ 93 w 1438"/>
                <a:gd name="T65" fmla="*/ 12 h 301"/>
                <a:gd name="T66" fmla="*/ 121 w 1438"/>
                <a:gd name="T67" fmla="*/ 3 h 301"/>
                <a:gd name="T68" fmla="*/ 151 w 1438"/>
                <a:gd name="T6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8" h="301">
                  <a:moveTo>
                    <a:pt x="151" y="0"/>
                  </a:moveTo>
                  <a:lnTo>
                    <a:pt x="1287" y="0"/>
                  </a:lnTo>
                  <a:lnTo>
                    <a:pt x="1318" y="3"/>
                  </a:lnTo>
                  <a:lnTo>
                    <a:pt x="1346" y="12"/>
                  </a:lnTo>
                  <a:lnTo>
                    <a:pt x="1372" y="26"/>
                  </a:lnTo>
                  <a:lnTo>
                    <a:pt x="1394" y="44"/>
                  </a:lnTo>
                  <a:lnTo>
                    <a:pt x="1413" y="66"/>
                  </a:lnTo>
                  <a:lnTo>
                    <a:pt x="1426" y="92"/>
                  </a:lnTo>
                  <a:lnTo>
                    <a:pt x="1435" y="120"/>
                  </a:lnTo>
                  <a:lnTo>
                    <a:pt x="1438" y="150"/>
                  </a:lnTo>
                  <a:lnTo>
                    <a:pt x="1435" y="181"/>
                  </a:lnTo>
                  <a:lnTo>
                    <a:pt x="1426" y="210"/>
                  </a:lnTo>
                  <a:lnTo>
                    <a:pt x="1413" y="235"/>
                  </a:lnTo>
                  <a:lnTo>
                    <a:pt x="1394" y="258"/>
                  </a:lnTo>
                  <a:lnTo>
                    <a:pt x="1372" y="275"/>
                  </a:lnTo>
                  <a:lnTo>
                    <a:pt x="1346" y="290"/>
                  </a:lnTo>
                  <a:lnTo>
                    <a:pt x="1318" y="298"/>
                  </a:lnTo>
                  <a:lnTo>
                    <a:pt x="1287" y="301"/>
                  </a:lnTo>
                  <a:lnTo>
                    <a:pt x="151" y="301"/>
                  </a:lnTo>
                  <a:lnTo>
                    <a:pt x="121" y="298"/>
                  </a:lnTo>
                  <a:lnTo>
                    <a:pt x="93" y="290"/>
                  </a:lnTo>
                  <a:lnTo>
                    <a:pt x="66" y="275"/>
                  </a:lnTo>
                  <a:lnTo>
                    <a:pt x="44" y="258"/>
                  </a:lnTo>
                  <a:lnTo>
                    <a:pt x="26" y="235"/>
                  </a:lnTo>
                  <a:lnTo>
                    <a:pt x="12" y="210"/>
                  </a:lnTo>
                  <a:lnTo>
                    <a:pt x="4" y="181"/>
                  </a:lnTo>
                  <a:lnTo>
                    <a:pt x="0" y="150"/>
                  </a:lnTo>
                  <a:lnTo>
                    <a:pt x="4" y="120"/>
                  </a:lnTo>
                  <a:lnTo>
                    <a:pt x="12" y="92"/>
                  </a:lnTo>
                  <a:lnTo>
                    <a:pt x="26" y="66"/>
                  </a:lnTo>
                  <a:lnTo>
                    <a:pt x="44" y="44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5"/>
            <p:cNvSpPr>
              <a:spLocks/>
            </p:cNvSpPr>
            <p:nvPr/>
          </p:nvSpPr>
          <p:spPr bwMode="auto">
            <a:xfrm>
              <a:off x="-373" y="2574"/>
              <a:ext cx="79" cy="28"/>
            </a:xfrm>
            <a:custGeom>
              <a:avLst/>
              <a:gdLst>
                <a:gd name="T0" fmla="*/ 151 w 870"/>
                <a:gd name="T1" fmla="*/ 0 h 301"/>
                <a:gd name="T2" fmla="*/ 720 w 870"/>
                <a:gd name="T3" fmla="*/ 0 h 301"/>
                <a:gd name="T4" fmla="*/ 750 w 870"/>
                <a:gd name="T5" fmla="*/ 4 h 301"/>
                <a:gd name="T6" fmla="*/ 778 w 870"/>
                <a:gd name="T7" fmla="*/ 12 h 301"/>
                <a:gd name="T8" fmla="*/ 805 w 870"/>
                <a:gd name="T9" fmla="*/ 26 h 301"/>
                <a:gd name="T10" fmla="*/ 827 w 870"/>
                <a:gd name="T11" fmla="*/ 44 h 301"/>
                <a:gd name="T12" fmla="*/ 845 w 870"/>
                <a:gd name="T13" fmla="*/ 67 h 301"/>
                <a:gd name="T14" fmla="*/ 859 w 870"/>
                <a:gd name="T15" fmla="*/ 92 h 301"/>
                <a:gd name="T16" fmla="*/ 867 w 870"/>
                <a:gd name="T17" fmla="*/ 120 h 301"/>
                <a:gd name="T18" fmla="*/ 870 w 870"/>
                <a:gd name="T19" fmla="*/ 151 h 301"/>
                <a:gd name="T20" fmla="*/ 867 w 870"/>
                <a:gd name="T21" fmla="*/ 181 h 301"/>
                <a:gd name="T22" fmla="*/ 859 w 870"/>
                <a:gd name="T23" fmla="*/ 209 h 301"/>
                <a:gd name="T24" fmla="*/ 845 w 870"/>
                <a:gd name="T25" fmla="*/ 234 h 301"/>
                <a:gd name="T26" fmla="*/ 827 w 870"/>
                <a:gd name="T27" fmla="*/ 257 h 301"/>
                <a:gd name="T28" fmla="*/ 805 w 870"/>
                <a:gd name="T29" fmla="*/ 275 h 301"/>
                <a:gd name="T30" fmla="*/ 778 w 870"/>
                <a:gd name="T31" fmla="*/ 290 h 301"/>
                <a:gd name="T32" fmla="*/ 750 w 870"/>
                <a:gd name="T33" fmla="*/ 298 h 301"/>
                <a:gd name="T34" fmla="*/ 720 w 870"/>
                <a:gd name="T35" fmla="*/ 301 h 301"/>
                <a:gd name="T36" fmla="*/ 151 w 870"/>
                <a:gd name="T37" fmla="*/ 301 h 301"/>
                <a:gd name="T38" fmla="*/ 121 w 870"/>
                <a:gd name="T39" fmla="*/ 298 h 301"/>
                <a:gd name="T40" fmla="*/ 93 w 870"/>
                <a:gd name="T41" fmla="*/ 290 h 301"/>
                <a:gd name="T42" fmla="*/ 66 w 870"/>
                <a:gd name="T43" fmla="*/ 275 h 301"/>
                <a:gd name="T44" fmla="*/ 44 w 870"/>
                <a:gd name="T45" fmla="*/ 257 h 301"/>
                <a:gd name="T46" fmla="*/ 26 w 870"/>
                <a:gd name="T47" fmla="*/ 234 h 301"/>
                <a:gd name="T48" fmla="*/ 12 w 870"/>
                <a:gd name="T49" fmla="*/ 209 h 301"/>
                <a:gd name="T50" fmla="*/ 4 w 870"/>
                <a:gd name="T51" fmla="*/ 181 h 301"/>
                <a:gd name="T52" fmla="*/ 0 w 870"/>
                <a:gd name="T53" fmla="*/ 151 h 301"/>
                <a:gd name="T54" fmla="*/ 4 w 870"/>
                <a:gd name="T55" fmla="*/ 120 h 301"/>
                <a:gd name="T56" fmla="*/ 12 w 870"/>
                <a:gd name="T57" fmla="*/ 92 h 301"/>
                <a:gd name="T58" fmla="*/ 26 w 870"/>
                <a:gd name="T59" fmla="*/ 67 h 301"/>
                <a:gd name="T60" fmla="*/ 44 w 870"/>
                <a:gd name="T61" fmla="*/ 44 h 301"/>
                <a:gd name="T62" fmla="*/ 66 w 870"/>
                <a:gd name="T63" fmla="*/ 26 h 301"/>
                <a:gd name="T64" fmla="*/ 93 w 870"/>
                <a:gd name="T65" fmla="*/ 12 h 301"/>
                <a:gd name="T66" fmla="*/ 121 w 870"/>
                <a:gd name="T67" fmla="*/ 4 h 301"/>
                <a:gd name="T68" fmla="*/ 151 w 870"/>
                <a:gd name="T6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0" h="301">
                  <a:moveTo>
                    <a:pt x="151" y="0"/>
                  </a:moveTo>
                  <a:lnTo>
                    <a:pt x="720" y="0"/>
                  </a:lnTo>
                  <a:lnTo>
                    <a:pt x="750" y="4"/>
                  </a:lnTo>
                  <a:lnTo>
                    <a:pt x="778" y="12"/>
                  </a:lnTo>
                  <a:lnTo>
                    <a:pt x="805" y="26"/>
                  </a:lnTo>
                  <a:lnTo>
                    <a:pt x="827" y="44"/>
                  </a:lnTo>
                  <a:lnTo>
                    <a:pt x="845" y="67"/>
                  </a:lnTo>
                  <a:lnTo>
                    <a:pt x="859" y="92"/>
                  </a:lnTo>
                  <a:lnTo>
                    <a:pt x="867" y="120"/>
                  </a:lnTo>
                  <a:lnTo>
                    <a:pt x="870" y="151"/>
                  </a:lnTo>
                  <a:lnTo>
                    <a:pt x="867" y="181"/>
                  </a:lnTo>
                  <a:lnTo>
                    <a:pt x="859" y="209"/>
                  </a:lnTo>
                  <a:lnTo>
                    <a:pt x="845" y="234"/>
                  </a:lnTo>
                  <a:lnTo>
                    <a:pt x="827" y="257"/>
                  </a:lnTo>
                  <a:lnTo>
                    <a:pt x="805" y="275"/>
                  </a:lnTo>
                  <a:lnTo>
                    <a:pt x="778" y="290"/>
                  </a:lnTo>
                  <a:lnTo>
                    <a:pt x="750" y="298"/>
                  </a:lnTo>
                  <a:lnTo>
                    <a:pt x="720" y="301"/>
                  </a:lnTo>
                  <a:lnTo>
                    <a:pt x="151" y="301"/>
                  </a:lnTo>
                  <a:lnTo>
                    <a:pt x="121" y="298"/>
                  </a:lnTo>
                  <a:lnTo>
                    <a:pt x="93" y="290"/>
                  </a:lnTo>
                  <a:lnTo>
                    <a:pt x="66" y="275"/>
                  </a:lnTo>
                  <a:lnTo>
                    <a:pt x="44" y="257"/>
                  </a:lnTo>
                  <a:lnTo>
                    <a:pt x="26" y="234"/>
                  </a:lnTo>
                  <a:lnTo>
                    <a:pt x="12" y="209"/>
                  </a:lnTo>
                  <a:lnTo>
                    <a:pt x="4" y="181"/>
                  </a:lnTo>
                  <a:lnTo>
                    <a:pt x="0" y="151"/>
                  </a:lnTo>
                  <a:lnTo>
                    <a:pt x="4" y="120"/>
                  </a:lnTo>
                  <a:lnTo>
                    <a:pt x="12" y="92"/>
                  </a:lnTo>
                  <a:lnTo>
                    <a:pt x="26" y="67"/>
                  </a:lnTo>
                  <a:lnTo>
                    <a:pt x="44" y="44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4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6"/>
            <p:cNvSpPr>
              <a:spLocks/>
            </p:cNvSpPr>
            <p:nvPr/>
          </p:nvSpPr>
          <p:spPr bwMode="auto">
            <a:xfrm>
              <a:off x="-425" y="2418"/>
              <a:ext cx="234" cy="301"/>
            </a:xfrm>
            <a:custGeom>
              <a:avLst/>
              <a:gdLst>
                <a:gd name="T0" fmla="*/ 152 w 2574"/>
                <a:gd name="T1" fmla="*/ 0 h 3310"/>
                <a:gd name="T2" fmla="*/ 2423 w 2574"/>
                <a:gd name="T3" fmla="*/ 0 h 3310"/>
                <a:gd name="T4" fmla="*/ 2453 w 2574"/>
                <a:gd name="T5" fmla="*/ 3 h 3310"/>
                <a:gd name="T6" fmla="*/ 2481 w 2574"/>
                <a:gd name="T7" fmla="*/ 12 h 3310"/>
                <a:gd name="T8" fmla="*/ 2507 w 2574"/>
                <a:gd name="T9" fmla="*/ 26 h 3310"/>
                <a:gd name="T10" fmla="*/ 2529 w 2574"/>
                <a:gd name="T11" fmla="*/ 44 h 3310"/>
                <a:gd name="T12" fmla="*/ 2548 w 2574"/>
                <a:gd name="T13" fmla="*/ 67 h 3310"/>
                <a:gd name="T14" fmla="*/ 2562 w 2574"/>
                <a:gd name="T15" fmla="*/ 92 h 3310"/>
                <a:gd name="T16" fmla="*/ 2571 w 2574"/>
                <a:gd name="T17" fmla="*/ 120 h 3310"/>
                <a:gd name="T18" fmla="*/ 2574 w 2574"/>
                <a:gd name="T19" fmla="*/ 150 h 3310"/>
                <a:gd name="T20" fmla="*/ 2574 w 2574"/>
                <a:gd name="T21" fmla="*/ 374 h 3310"/>
                <a:gd name="T22" fmla="*/ 2272 w 2574"/>
                <a:gd name="T23" fmla="*/ 896 h 3310"/>
                <a:gd name="T24" fmla="*/ 2272 w 2574"/>
                <a:gd name="T25" fmla="*/ 301 h 3310"/>
                <a:gd name="T26" fmla="*/ 304 w 2574"/>
                <a:gd name="T27" fmla="*/ 301 h 3310"/>
                <a:gd name="T28" fmla="*/ 304 w 2574"/>
                <a:gd name="T29" fmla="*/ 3008 h 3310"/>
                <a:gd name="T30" fmla="*/ 2272 w 2574"/>
                <a:gd name="T31" fmla="*/ 3008 h 3310"/>
                <a:gd name="T32" fmla="*/ 2272 w 2574"/>
                <a:gd name="T33" fmla="*/ 2634 h 3310"/>
                <a:gd name="T34" fmla="*/ 2430 w 2574"/>
                <a:gd name="T35" fmla="*/ 2530 h 3310"/>
                <a:gd name="T36" fmla="*/ 2458 w 2574"/>
                <a:gd name="T37" fmla="*/ 2508 h 3310"/>
                <a:gd name="T38" fmla="*/ 2482 w 2574"/>
                <a:gd name="T39" fmla="*/ 2483 h 3310"/>
                <a:gd name="T40" fmla="*/ 2502 w 2574"/>
                <a:gd name="T41" fmla="*/ 2454 h 3310"/>
                <a:gd name="T42" fmla="*/ 2574 w 2574"/>
                <a:gd name="T43" fmla="*/ 2330 h 3310"/>
                <a:gd name="T44" fmla="*/ 2574 w 2574"/>
                <a:gd name="T45" fmla="*/ 3159 h 3310"/>
                <a:gd name="T46" fmla="*/ 2571 w 2574"/>
                <a:gd name="T47" fmla="*/ 3189 h 3310"/>
                <a:gd name="T48" fmla="*/ 2562 w 2574"/>
                <a:gd name="T49" fmla="*/ 3217 h 3310"/>
                <a:gd name="T50" fmla="*/ 2548 w 2574"/>
                <a:gd name="T51" fmla="*/ 3243 h 3310"/>
                <a:gd name="T52" fmla="*/ 2529 w 2574"/>
                <a:gd name="T53" fmla="*/ 3265 h 3310"/>
                <a:gd name="T54" fmla="*/ 2507 w 2574"/>
                <a:gd name="T55" fmla="*/ 3284 h 3310"/>
                <a:gd name="T56" fmla="*/ 2481 w 2574"/>
                <a:gd name="T57" fmla="*/ 3297 h 3310"/>
                <a:gd name="T58" fmla="*/ 2453 w 2574"/>
                <a:gd name="T59" fmla="*/ 3307 h 3310"/>
                <a:gd name="T60" fmla="*/ 2423 w 2574"/>
                <a:gd name="T61" fmla="*/ 3310 h 3310"/>
                <a:gd name="T62" fmla="*/ 152 w 2574"/>
                <a:gd name="T63" fmla="*/ 3310 h 3310"/>
                <a:gd name="T64" fmla="*/ 121 w 2574"/>
                <a:gd name="T65" fmla="*/ 3307 h 3310"/>
                <a:gd name="T66" fmla="*/ 93 w 2574"/>
                <a:gd name="T67" fmla="*/ 3297 h 3310"/>
                <a:gd name="T68" fmla="*/ 67 w 2574"/>
                <a:gd name="T69" fmla="*/ 3284 h 3310"/>
                <a:gd name="T70" fmla="*/ 45 w 2574"/>
                <a:gd name="T71" fmla="*/ 3265 h 3310"/>
                <a:gd name="T72" fmla="*/ 26 w 2574"/>
                <a:gd name="T73" fmla="*/ 3243 h 3310"/>
                <a:gd name="T74" fmla="*/ 13 w 2574"/>
                <a:gd name="T75" fmla="*/ 3217 h 3310"/>
                <a:gd name="T76" fmla="*/ 3 w 2574"/>
                <a:gd name="T77" fmla="*/ 3189 h 3310"/>
                <a:gd name="T78" fmla="*/ 0 w 2574"/>
                <a:gd name="T79" fmla="*/ 3159 h 3310"/>
                <a:gd name="T80" fmla="*/ 0 w 2574"/>
                <a:gd name="T81" fmla="*/ 150 h 3310"/>
                <a:gd name="T82" fmla="*/ 3 w 2574"/>
                <a:gd name="T83" fmla="*/ 120 h 3310"/>
                <a:gd name="T84" fmla="*/ 13 w 2574"/>
                <a:gd name="T85" fmla="*/ 92 h 3310"/>
                <a:gd name="T86" fmla="*/ 26 w 2574"/>
                <a:gd name="T87" fmla="*/ 67 h 3310"/>
                <a:gd name="T88" fmla="*/ 45 w 2574"/>
                <a:gd name="T89" fmla="*/ 44 h 3310"/>
                <a:gd name="T90" fmla="*/ 67 w 2574"/>
                <a:gd name="T91" fmla="*/ 26 h 3310"/>
                <a:gd name="T92" fmla="*/ 93 w 2574"/>
                <a:gd name="T93" fmla="*/ 12 h 3310"/>
                <a:gd name="T94" fmla="*/ 121 w 2574"/>
                <a:gd name="T95" fmla="*/ 3 h 3310"/>
                <a:gd name="T96" fmla="*/ 152 w 2574"/>
                <a:gd name="T97" fmla="*/ 0 h 3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74" h="3310">
                  <a:moveTo>
                    <a:pt x="152" y="0"/>
                  </a:moveTo>
                  <a:lnTo>
                    <a:pt x="2423" y="0"/>
                  </a:lnTo>
                  <a:lnTo>
                    <a:pt x="2453" y="3"/>
                  </a:lnTo>
                  <a:lnTo>
                    <a:pt x="2481" y="12"/>
                  </a:lnTo>
                  <a:lnTo>
                    <a:pt x="2507" y="26"/>
                  </a:lnTo>
                  <a:lnTo>
                    <a:pt x="2529" y="44"/>
                  </a:lnTo>
                  <a:lnTo>
                    <a:pt x="2548" y="67"/>
                  </a:lnTo>
                  <a:lnTo>
                    <a:pt x="2562" y="92"/>
                  </a:lnTo>
                  <a:lnTo>
                    <a:pt x="2571" y="120"/>
                  </a:lnTo>
                  <a:lnTo>
                    <a:pt x="2574" y="150"/>
                  </a:lnTo>
                  <a:lnTo>
                    <a:pt x="2574" y="374"/>
                  </a:lnTo>
                  <a:lnTo>
                    <a:pt x="2272" y="896"/>
                  </a:lnTo>
                  <a:lnTo>
                    <a:pt x="2272" y="301"/>
                  </a:lnTo>
                  <a:lnTo>
                    <a:pt x="304" y="301"/>
                  </a:lnTo>
                  <a:lnTo>
                    <a:pt x="304" y="3008"/>
                  </a:lnTo>
                  <a:lnTo>
                    <a:pt x="2272" y="3008"/>
                  </a:lnTo>
                  <a:lnTo>
                    <a:pt x="2272" y="2634"/>
                  </a:lnTo>
                  <a:lnTo>
                    <a:pt x="2430" y="2530"/>
                  </a:lnTo>
                  <a:lnTo>
                    <a:pt x="2458" y="2508"/>
                  </a:lnTo>
                  <a:lnTo>
                    <a:pt x="2482" y="2483"/>
                  </a:lnTo>
                  <a:lnTo>
                    <a:pt x="2502" y="2454"/>
                  </a:lnTo>
                  <a:lnTo>
                    <a:pt x="2574" y="2330"/>
                  </a:lnTo>
                  <a:lnTo>
                    <a:pt x="2574" y="3159"/>
                  </a:lnTo>
                  <a:lnTo>
                    <a:pt x="2571" y="3189"/>
                  </a:lnTo>
                  <a:lnTo>
                    <a:pt x="2562" y="3217"/>
                  </a:lnTo>
                  <a:lnTo>
                    <a:pt x="2548" y="3243"/>
                  </a:lnTo>
                  <a:lnTo>
                    <a:pt x="2529" y="3265"/>
                  </a:lnTo>
                  <a:lnTo>
                    <a:pt x="2507" y="3284"/>
                  </a:lnTo>
                  <a:lnTo>
                    <a:pt x="2481" y="3297"/>
                  </a:lnTo>
                  <a:lnTo>
                    <a:pt x="2453" y="3307"/>
                  </a:lnTo>
                  <a:lnTo>
                    <a:pt x="2423" y="3310"/>
                  </a:lnTo>
                  <a:lnTo>
                    <a:pt x="152" y="3310"/>
                  </a:lnTo>
                  <a:lnTo>
                    <a:pt x="121" y="3307"/>
                  </a:lnTo>
                  <a:lnTo>
                    <a:pt x="93" y="3297"/>
                  </a:lnTo>
                  <a:lnTo>
                    <a:pt x="67" y="3284"/>
                  </a:lnTo>
                  <a:lnTo>
                    <a:pt x="45" y="3265"/>
                  </a:lnTo>
                  <a:lnTo>
                    <a:pt x="26" y="3243"/>
                  </a:lnTo>
                  <a:lnTo>
                    <a:pt x="13" y="3217"/>
                  </a:lnTo>
                  <a:lnTo>
                    <a:pt x="3" y="3189"/>
                  </a:lnTo>
                  <a:lnTo>
                    <a:pt x="0" y="3159"/>
                  </a:lnTo>
                  <a:lnTo>
                    <a:pt x="0" y="150"/>
                  </a:lnTo>
                  <a:lnTo>
                    <a:pt x="3" y="120"/>
                  </a:lnTo>
                  <a:lnTo>
                    <a:pt x="13" y="92"/>
                  </a:lnTo>
                  <a:lnTo>
                    <a:pt x="26" y="67"/>
                  </a:lnTo>
                  <a:lnTo>
                    <a:pt x="45" y="44"/>
                  </a:lnTo>
                  <a:lnTo>
                    <a:pt x="67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7"/>
            <p:cNvSpPr>
              <a:spLocks noEditPoints="1"/>
            </p:cNvSpPr>
            <p:nvPr/>
          </p:nvSpPr>
          <p:spPr bwMode="auto">
            <a:xfrm>
              <a:off x="-267" y="2452"/>
              <a:ext cx="144" cy="215"/>
            </a:xfrm>
            <a:custGeom>
              <a:avLst/>
              <a:gdLst>
                <a:gd name="T0" fmla="*/ 131 w 1591"/>
                <a:gd name="T1" fmla="*/ 1996 h 2370"/>
                <a:gd name="T2" fmla="*/ 223 w 1591"/>
                <a:gd name="T3" fmla="*/ 2040 h 2370"/>
                <a:gd name="T4" fmla="*/ 308 w 1591"/>
                <a:gd name="T5" fmla="*/ 2097 h 2370"/>
                <a:gd name="T6" fmla="*/ 439 w 1591"/>
                <a:gd name="T7" fmla="*/ 1980 h 2370"/>
                <a:gd name="T8" fmla="*/ 389 w 1591"/>
                <a:gd name="T9" fmla="*/ 1934 h 2370"/>
                <a:gd name="T10" fmla="*/ 314 w 1591"/>
                <a:gd name="T11" fmla="*/ 1883 h 2370"/>
                <a:gd name="T12" fmla="*/ 245 w 1591"/>
                <a:gd name="T13" fmla="*/ 1849 h 2370"/>
                <a:gd name="T14" fmla="*/ 187 w 1591"/>
                <a:gd name="T15" fmla="*/ 1829 h 2370"/>
                <a:gd name="T16" fmla="*/ 141 w 1591"/>
                <a:gd name="T17" fmla="*/ 1820 h 2370"/>
                <a:gd name="T18" fmla="*/ 1118 w 1591"/>
                <a:gd name="T19" fmla="*/ 0 h 2370"/>
                <a:gd name="T20" fmla="*/ 1173 w 1591"/>
                <a:gd name="T21" fmla="*/ 7 h 2370"/>
                <a:gd name="T22" fmla="*/ 1240 w 1591"/>
                <a:gd name="T23" fmla="*/ 25 h 2370"/>
                <a:gd name="T24" fmla="*/ 1319 w 1591"/>
                <a:gd name="T25" fmla="*/ 57 h 2370"/>
                <a:gd name="T26" fmla="*/ 1407 w 1591"/>
                <a:gd name="T27" fmla="*/ 108 h 2370"/>
                <a:gd name="T28" fmla="*/ 1478 w 1591"/>
                <a:gd name="T29" fmla="*/ 163 h 2370"/>
                <a:gd name="T30" fmla="*/ 1528 w 1591"/>
                <a:gd name="T31" fmla="*/ 215 h 2370"/>
                <a:gd name="T32" fmla="*/ 1561 w 1591"/>
                <a:gd name="T33" fmla="*/ 261 h 2370"/>
                <a:gd name="T34" fmla="*/ 1580 w 1591"/>
                <a:gd name="T35" fmla="*/ 297 h 2370"/>
                <a:gd name="T36" fmla="*/ 1588 w 1591"/>
                <a:gd name="T37" fmla="*/ 320 h 2370"/>
                <a:gd name="T38" fmla="*/ 1591 w 1591"/>
                <a:gd name="T39" fmla="*/ 344 h 2370"/>
                <a:gd name="T40" fmla="*/ 1581 w 1591"/>
                <a:gd name="T41" fmla="*/ 379 h 2370"/>
                <a:gd name="T42" fmla="*/ 625 w 1591"/>
                <a:gd name="T43" fmla="*/ 2021 h 2370"/>
                <a:gd name="T44" fmla="*/ 116 w 1591"/>
                <a:gd name="T45" fmla="*/ 2357 h 2370"/>
                <a:gd name="T46" fmla="*/ 77 w 1591"/>
                <a:gd name="T47" fmla="*/ 2370 h 2370"/>
                <a:gd name="T48" fmla="*/ 36 w 1591"/>
                <a:gd name="T49" fmla="*/ 2359 h 2370"/>
                <a:gd name="T50" fmla="*/ 12 w 1591"/>
                <a:gd name="T51" fmla="*/ 2338 h 2370"/>
                <a:gd name="T52" fmla="*/ 0 w 1591"/>
                <a:gd name="T53" fmla="*/ 2306 h 2370"/>
                <a:gd name="T54" fmla="*/ 34 w 1591"/>
                <a:gd name="T55" fmla="*/ 1702 h 2370"/>
                <a:gd name="T56" fmla="*/ 45 w 1591"/>
                <a:gd name="T57" fmla="*/ 1670 h 2370"/>
                <a:gd name="T58" fmla="*/ 1002 w 1591"/>
                <a:gd name="T59" fmla="*/ 27 h 2370"/>
                <a:gd name="T60" fmla="*/ 1034 w 1591"/>
                <a:gd name="T61" fmla="*/ 7 h 2370"/>
                <a:gd name="T62" fmla="*/ 1048 w 1591"/>
                <a:gd name="T63" fmla="*/ 4 h 2370"/>
                <a:gd name="T64" fmla="*/ 1076 w 1591"/>
                <a:gd name="T65" fmla="*/ 0 h 2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91" h="2370">
                  <a:moveTo>
                    <a:pt x="141" y="1820"/>
                  </a:moveTo>
                  <a:lnTo>
                    <a:pt x="131" y="1996"/>
                  </a:lnTo>
                  <a:lnTo>
                    <a:pt x="177" y="2016"/>
                  </a:lnTo>
                  <a:lnTo>
                    <a:pt x="223" y="2040"/>
                  </a:lnTo>
                  <a:lnTo>
                    <a:pt x="267" y="2067"/>
                  </a:lnTo>
                  <a:lnTo>
                    <a:pt x="308" y="2097"/>
                  </a:lnTo>
                  <a:lnTo>
                    <a:pt x="455" y="2000"/>
                  </a:lnTo>
                  <a:lnTo>
                    <a:pt x="439" y="1980"/>
                  </a:lnTo>
                  <a:lnTo>
                    <a:pt x="417" y="1958"/>
                  </a:lnTo>
                  <a:lnTo>
                    <a:pt x="389" y="1934"/>
                  </a:lnTo>
                  <a:lnTo>
                    <a:pt x="355" y="1909"/>
                  </a:lnTo>
                  <a:lnTo>
                    <a:pt x="314" y="1883"/>
                  </a:lnTo>
                  <a:lnTo>
                    <a:pt x="278" y="1864"/>
                  </a:lnTo>
                  <a:lnTo>
                    <a:pt x="245" y="1849"/>
                  </a:lnTo>
                  <a:lnTo>
                    <a:pt x="214" y="1837"/>
                  </a:lnTo>
                  <a:lnTo>
                    <a:pt x="187" y="1829"/>
                  </a:lnTo>
                  <a:lnTo>
                    <a:pt x="163" y="1824"/>
                  </a:lnTo>
                  <a:lnTo>
                    <a:pt x="141" y="1820"/>
                  </a:lnTo>
                  <a:close/>
                  <a:moveTo>
                    <a:pt x="1095" y="0"/>
                  </a:moveTo>
                  <a:lnTo>
                    <a:pt x="1118" y="0"/>
                  </a:lnTo>
                  <a:lnTo>
                    <a:pt x="1144" y="2"/>
                  </a:lnTo>
                  <a:lnTo>
                    <a:pt x="1173" y="7"/>
                  </a:lnTo>
                  <a:lnTo>
                    <a:pt x="1205" y="14"/>
                  </a:lnTo>
                  <a:lnTo>
                    <a:pt x="1240" y="25"/>
                  </a:lnTo>
                  <a:lnTo>
                    <a:pt x="1278" y="39"/>
                  </a:lnTo>
                  <a:lnTo>
                    <a:pt x="1319" y="57"/>
                  </a:lnTo>
                  <a:lnTo>
                    <a:pt x="1362" y="81"/>
                  </a:lnTo>
                  <a:lnTo>
                    <a:pt x="1407" y="108"/>
                  </a:lnTo>
                  <a:lnTo>
                    <a:pt x="1446" y="136"/>
                  </a:lnTo>
                  <a:lnTo>
                    <a:pt x="1478" y="163"/>
                  </a:lnTo>
                  <a:lnTo>
                    <a:pt x="1505" y="190"/>
                  </a:lnTo>
                  <a:lnTo>
                    <a:pt x="1528" y="215"/>
                  </a:lnTo>
                  <a:lnTo>
                    <a:pt x="1546" y="239"/>
                  </a:lnTo>
                  <a:lnTo>
                    <a:pt x="1561" y="261"/>
                  </a:lnTo>
                  <a:lnTo>
                    <a:pt x="1571" y="280"/>
                  </a:lnTo>
                  <a:lnTo>
                    <a:pt x="1580" y="297"/>
                  </a:lnTo>
                  <a:lnTo>
                    <a:pt x="1585" y="311"/>
                  </a:lnTo>
                  <a:lnTo>
                    <a:pt x="1588" y="320"/>
                  </a:lnTo>
                  <a:lnTo>
                    <a:pt x="1589" y="325"/>
                  </a:lnTo>
                  <a:lnTo>
                    <a:pt x="1591" y="344"/>
                  </a:lnTo>
                  <a:lnTo>
                    <a:pt x="1588" y="363"/>
                  </a:lnTo>
                  <a:lnTo>
                    <a:pt x="1581" y="379"/>
                  </a:lnTo>
                  <a:lnTo>
                    <a:pt x="634" y="2008"/>
                  </a:lnTo>
                  <a:lnTo>
                    <a:pt x="625" y="2021"/>
                  </a:lnTo>
                  <a:lnTo>
                    <a:pt x="611" y="2033"/>
                  </a:lnTo>
                  <a:lnTo>
                    <a:pt x="116" y="2357"/>
                  </a:lnTo>
                  <a:lnTo>
                    <a:pt x="97" y="2367"/>
                  </a:lnTo>
                  <a:lnTo>
                    <a:pt x="77" y="2370"/>
                  </a:lnTo>
                  <a:lnTo>
                    <a:pt x="56" y="2368"/>
                  </a:lnTo>
                  <a:lnTo>
                    <a:pt x="36" y="2359"/>
                  </a:lnTo>
                  <a:lnTo>
                    <a:pt x="23" y="2350"/>
                  </a:lnTo>
                  <a:lnTo>
                    <a:pt x="12" y="2338"/>
                  </a:lnTo>
                  <a:lnTo>
                    <a:pt x="5" y="2323"/>
                  </a:lnTo>
                  <a:lnTo>
                    <a:pt x="0" y="2306"/>
                  </a:lnTo>
                  <a:lnTo>
                    <a:pt x="0" y="2290"/>
                  </a:lnTo>
                  <a:lnTo>
                    <a:pt x="34" y="1702"/>
                  </a:lnTo>
                  <a:lnTo>
                    <a:pt x="38" y="1685"/>
                  </a:lnTo>
                  <a:lnTo>
                    <a:pt x="45" y="1670"/>
                  </a:lnTo>
                  <a:lnTo>
                    <a:pt x="991" y="41"/>
                  </a:lnTo>
                  <a:lnTo>
                    <a:pt x="1002" y="27"/>
                  </a:lnTo>
                  <a:lnTo>
                    <a:pt x="1016" y="15"/>
                  </a:lnTo>
                  <a:lnTo>
                    <a:pt x="1034" y="7"/>
                  </a:lnTo>
                  <a:lnTo>
                    <a:pt x="1038" y="6"/>
                  </a:lnTo>
                  <a:lnTo>
                    <a:pt x="1048" y="4"/>
                  </a:lnTo>
                  <a:lnTo>
                    <a:pt x="1060" y="2"/>
                  </a:lnTo>
                  <a:lnTo>
                    <a:pt x="1076" y="0"/>
                  </a:lnTo>
                  <a:lnTo>
                    <a:pt x="10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8"/>
            <p:cNvSpPr>
              <a:spLocks/>
            </p:cNvSpPr>
            <p:nvPr/>
          </p:nvSpPr>
          <p:spPr bwMode="auto">
            <a:xfrm>
              <a:off x="-381" y="2625"/>
              <a:ext cx="105" cy="53"/>
            </a:xfrm>
            <a:custGeom>
              <a:avLst/>
              <a:gdLst>
                <a:gd name="T0" fmla="*/ 557 w 1155"/>
                <a:gd name="T1" fmla="*/ 5 h 591"/>
                <a:gd name="T2" fmla="*/ 583 w 1155"/>
                <a:gd name="T3" fmla="*/ 28 h 591"/>
                <a:gd name="T4" fmla="*/ 591 w 1155"/>
                <a:gd name="T5" fmla="*/ 111 h 591"/>
                <a:gd name="T6" fmla="*/ 560 w 1155"/>
                <a:gd name="T7" fmla="*/ 199 h 591"/>
                <a:gd name="T8" fmla="*/ 569 w 1155"/>
                <a:gd name="T9" fmla="*/ 242 h 591"/>
                <a:gd name="T10" fmla="*/ 587 w 1155"/>
                <a:gd name="T11" fmla="*/ 270 h 591"/>
                <a:gd name="T12" fmla="*/ 637 w 1155"/>
                <a:gd name="T13" fmla="*/ 278 h 591"/>
                <a:gd name="T14" fmla="*/ 681 w 1155"/>
                <a:gd name="T15" fmla="*/ 323 h 591"/>
                <a:gd name="T16" fmla="*/ 693 w 1155"/>
                <a:gd name="T17" fmla="*/ 357 h 591"/>
                <a:gd name="T18" fmla="*/ 847 w 1155"/>
                <a:gd name="T19" fmla="*/ 351 h 591"/>
                <a:gd name="T20" fmla="*/ 996 w 1155"/>
                <a:gd name="T21" fmla="*/ 366 h 591"/>
                <a:gd name="T22" fmla="*/ 1118 w 1155"/>
                <a:gd name="T23" fmla="*/ 373 h 591"/>
                <a:gd name="T24" fmla="*/ 1149 w 1155"/>
                <a:gd name="T25" fmla="*/ 400 h 591"/>
                <a:gd name="T26" fmla="*/ 1154 w 1155"/>
                <a:gd name="T27" fmla="*/ 441 h 591"/>
                <a:gd name="T28" fmla="*/ 1131 w 1155"/>
                <a:gd name="T29" fmla="*/ 475 h 591"/>
                <a:gd name="T30" fmla="*/ 1066 w 1155"/>
                <a:gd name="T31" fmla="*/ 482 h 591"/>
                <a:gd name="T32" fmla="*/ 957 w 1155"/>
                <a:gd name="T33" fmla="*/ 467 h 591"/>
                <a:gd name="T34" fmla="*/ 843 w 1155"/>
                <a:gd name="T35" fmla="*/ 452 h 591"/>
                <a:gd name="T36" fmla="*/ 738 w 1155"/>
                <a:gd name="T37" fmla="*/ 461 h 591"/>
                <a:gd name="T38" fmla="*/ 679 w 1155"/>
                <a:gd name="T39" fmla="*/ 486 h 591"/>
                <a:gd name="T40" fmla="*/ 636 w 1155"/>
                <a:gd name="T41" fmla="*/ 492 h 591"/>
                <a:gd name="T42" fmla="*/ 603 w 1155"/>
                <a:gd name="T43" fmla="*/ 477 h 591"/>
                <a:gd name="T44" fmla="*/ 576 w 1155"/>
                <a:gd name="T45" fmla="*/ 454 h 591"/>
                <a:gd name="T46" fmla="*/ 571 w 1155"/>
                <a:gd name="T47" fmla="*/ 407 h 591"/>
                <a:gd name="T48" fmla="*/ 537 w 1155"/>
                <a:gd name="T49" fmla="*/ 457 h 591"/>
                <a:gd name="T50" fmla="*/ 495 w 1155"/>
                <a:gd name="T51" fmla="*/ 471 h 591"/>
                <a:gd name="T52" fmla="*/ 455 w 1155"/>
                <a:gd name="T53" fmla="*/ 456 h 591"/>
                <a:gd name="T54" fmla="*/ 439 w 1155"/>
                <a:gd name="T55" fmla="*/ 419 h 591"/>
                <a:gd name="T56" fmla="*/ 450 w 1155"/>
                <a:gd name="T57" fmla="*/ 390 h 591"/>
                <a:gd name="T58" fmla="*/ 458 w 1155"/>
                <a:gd name="T59" fmla="*/ 369 h 591"/>
                <a:gd name="T60" fmla="*/ 422 w 1155"/>
                <a:gd name="T61" fmla="*/ 404 h 591"/>
                <a:gd name="T62" fmla="*/ 379 w 1155"/>
                <a:gd name="T63" fmla="*/ 428 h 591"/>
                <a:gd name="T64" fmla="*/ 335 w 1155"/>
                <a:gd name="T65" fmla="*/ 417 h 591"/>
                <a:gd name="T66" fmla="*/ 314 w 1155"/>
                <a:gd name="T67" fmla="*/ 379 h 591"/>
                <a:gd name="T68" fmla="*/ 364 w 1155"/>
                <a:gd name="T69" fmla="*/ 288 h 591"/>
                <a:gd name="T70" fmla="*/ 252 w 1155"/>
                <a:gd name="T71" fmla="*/ 393 h 591"/>
                <a:gd name="T72" fmla="*/ 96 w 1155"/>
                <a:gd name="T73" fmla="*/ 581 h 591"/>
                <a:gd name="T74" fmla="*/ 49 w 1155"/>
                <a:gd name="T75" fmla="*/ 590 h 591"/>
                <a:gd name="T76" fmla="*/ 9 w 1155"/>
                <a:gd name="T77" fmla="*/ 569 h 591"/>
                <a:gd name="T78" fmla="*/ 2 w 1155"/>
                <a:gd name="T79" fmla="*/ 527 h 591"/>
                <a:gd name="T80" fmla="*/ 138 w 1155"/>
                <a:gd name="T81" fmla="*/ 351 h 591"/>
                <a:gd name="T82" fmla="*/ 344 w 1155"/>
                <a:gd name="T83" fmla="*/ 123 h 591"/>
                <a:gd name="T84" fmla="*/ 398 w 1155"/>
                <a:gd name="T85" fmla="*/ 70 h 591"/>
                <a:gd name="T86" fmla="*/ 462 w 1155"/>
                <a:gd name="T87" fmla="*/ 20 h 591"/>
                <a:gd name="T88" fmla="*/ 534 w 1155"/>
                <a:gd name="T89" fmla="*/ 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55" h="591">
                  <a:moveTo>
                    <a:pt x="534" y="0"/>
                  </a:moveTo>
                  <a:lnTo>
                    <a:pt x="545" y="2"/>
                  </a:lnTo>
                  <a:lnTo>
                    <a:pt x="557" y="5"/>
                  </a:lnTo>
                  <a:lnTo>
                    <a:pt x="567" y="10"/>
                  </a:lnTo>
                  <a:lnTo>
                    <a:pt x="576" y="18"/>
                  </a:lnTo>
                  <a:lnTo>
                    <a:pt x="583" y="28"/>
                  </a:lnTo>
                  <a:lnTo>
                    <a:pt x="591" y="54"/>
                  </a:lnTo>
                  <a:lnTo>
                    <a:pt x="593" y="82"/>
                  </a:lnTo>
                  <a:lnTo>
                    <a:pt x="591" y="111"/>
                  </a:lnTo>
                  <a:lnTo>
                    <a:pt x="584" y="140"/>
                  </a:lnTo>
                  <a:lnTo>
                    <a:pt x="573" y="170"/>
                  </a:lnTo>
                  <a:lnTo>
                    <a:pt x="560" y="199"/>
                  </a:lnTo>
                  <a:lnTo>
                    <a:pt x="543" y="230"/>
                  </a:lnTo>
                  <a:lnTo>
                    <a:pt x="557" y="235"/>
                  </a:lnTo>
                  <a:lnTo>
                    <a:pt x="569" y="242"/>
                  </a:lnTo>
                  <a:lnTo>
                    <a:pt x="579" y="254"/>
                  </a:lnTo>
                  <a:lnTo>
                    <a:pt x="583" y="263"/>
                  </a:lnTo>
                  <a:lnTo>
                    <a:pt x="587" y="270"/>
                  </a:lnTo>
                  <a:lnTo>
                    <a:pt x="604" y="269"/>
                  </a:lnTo>
                  <a:lnTo>
                    <a:pt x="620" y="272"/>
                  </a:lnTo>
                  <a:lnTo>
                    <a:pt x="637" y="278"/>
                  </a:lnTo>
                  <a:lnTo>
                    <a:pt x="653" y="289"/>
                  </a:lnTo>
                  <a:lnTo>
                    <a:pt x="668" y="303"/>
                  </a:lnTo>
                  <a:lnTo>
                    <a:pt x="681" y="323"/>
                  </a:lnTo>
                  <a:lnTo>
                    <a:pt x="689" y="338"/>
                  </a:lnTo>
                  <a:lnTo>
                    <a:pt x="692" y="349"/>
                  </a:lnTo>
                  <a:lnTo>
                    <a:pt x="693" y="357"/>
                  </a:lnTo>
                  <a:lnTo>
                    <a:pt x="746" y="351"/>
                  </a:lnTo>
                  <a:lnTo>
                    <a:pt x="797" y="350"/>
                  </a:lnTo>
                  <a:lnTo>
                    <a:pt x="847" y="351"/>
                  </a:lnTo>
                  <a:lnTo>
                    <a:pt x="897" y="355"/>
                  </a:lnTo>
                  <a:lnTo>
                    <a:pt x="946" y="361"/>
                  </a:lnTo>
                  <a:lnTo>
                    <a:pt x="996" y="366"/>
                  </a:lnTo>
                  <a:lnTo>
                    <a:pt x="1048" y="369"/>
                  </a:lnTo>
                  <a:lnTo>
                    <a:pt x="1101" y="371"/>
                  </a:lnTo>
                  <a:lnTo>
                    <a:pt x="1118" y="373"/>
                  </a:lnTo>
                  <a:lnTo>
                    <a:pt x="1131" y="379"/>
                  </a:lnTo>
                  <a:lnTo>
                    <a:pt x="1142" y="389"/>
                  </a:lnTo>
                  <a:lnTo>
                    <a:pt x="1149" y="400"/>
                  </a:lnTo>
                  <a:lnTo>
                    <a:pt x="1154" y="413"/>
                  </a:lnTo>
                  <a:lnTo>
                    <a:pt x="1155" y="427"/>
                  </a:lnTo>
                  <a:lnTo>
                    <a:pt x="1154" y="441"/>
                  </a:lnTo>
                  <a:lnTo>
                    <a:pt x="1149" y="454"/>
                  </a:lnTo>
                  <a:lnTo>
                    <a:pt x="1142" y="466"/>
                  </a:lnTo>
                  <a:lnTo>
                    <a:pt x="1131" y="475"/>
                  </a:lnTo>
                  <a:lnTo>
                    <a:pt x="1118" y="481"/>
                  </a:lnTo>
                  <a:lnTo>
                    <a:pt x="1101" y="483"/>
                  </a:lnTo>
                  <a:lnTo>
                    <a:pt x="1066" y="482"/>
                  </a:lnTo>
                  <a:lnTo>
                    <a:pt x="1031" y="478"/>
                  </a:lnTo>
                  <a:lnTo>
                    <a:pt x="993" y="473"/>
                  </a:lnTo>
                  <a:lnTo>
                    <a:pt x="957" y="467"/>
                  </a:lnTo>
                  <a:lnTo>
                    <a:pt x="919" y="460"/>
                  </a:lnTo>
                  <a:lnTo>
                    <a:pt x="881" y="455"/>
                  </a:lnTo>
                  <a:lnTo>
                    <a:pt x="843" y="452"/>
                  </a:lnTo>
                  <a:lnTo>
                    <a:pt x="807" y="451"/>
                  </a:lnTo>
                  <a:lnTo>
                    <a:pt x="771" y="454"/>
                  </a:lnTo>
                  <a:lnTo>
                    <a:pt x="738" y="461"/>
                  </a:lnTo>
                  <a:lnTo>
                    <a:pt x="705" y="474"/>
                  </a:lnTo>
                  <a:lnTo>
                    <a:pt x="693" y="480"/>
                  </a:lnTo>
                  <a:lnTo>
                    <a:pt x="679" y="486"/>
                  </a:lnTo>
                  <a:lnTo>
                    <a:pt x="664" y="492"/>
                  </a:lnTo>
                  <a:lnTo>
                    <a:pt x="651" y="494"/>
                  </a:lnTo>
                  <a:lnTo>
                    <a:pt x="636" y="492"/>
                  </a:lnTo>
                  <a:lnTo>
                    <a:pt x="626" y="487"/>
                  </a:lnTo>
                  <a:lnTo>
                    <a:pt x="614" y="482"/>
                  </a:lnTo>
                  <a:lnTo>
                    <a:pt x="603" y="477"/>
                  </a:lnTo>
                  <a:lnTo>
                    <a:pt x="592" y="471"/>
                  </a:lnTo>
                  <a:lnTo>
                    <a:pt x="584" y="464"/>
                  </a:lnTo>
                  <a:lnTo>
                    <a:pt x="576" y="454"/>
                  </a:lnTo>
                  <a:lnTo>
                    <a:pt x="572" y="442"/>
                  </a:lnTo>
                  <a:lnTo>
                    <a:pt x="571" y="423"/>
                  </a:lnTo>
                  <a:lnTo>
                    <a:pt x="571" y="407"/>
                  </a:lnTo>
                  <a:lnTo>
                    <a:pt x="560" y="427"/>
                  </a:lnTo>
                  <a:lnTo>
                    <a:pt x="547" y="446"/>
                  </a:lnTo>
                  <a:lnTo>
                    <a:pt x="537" y="457"/>
                  </a:lnTo>
                  <a:lnTo>
                    <a:pt x="524" y="466"/>
                  </a:lnTo>
                  <a:lnTo>
                    <a:pt x="509" y="470"/>
                  </a:lnTo>
                  <a:lnTo>
                    <a:pt x="495" y="471"/>
                  </a:lnTo>
                  <a:lnTo>
                    <a:pt x="480" y="469"/>
                  </a:lnTo>
                  <a:lnTo>
                    <a:pt x="467" y="464"/>
                  </a:lnTo>
                  <a:lnTo>
                    <a:pt x="455" y="456"/>
                  </a:lnTo>
                  <a:lnTo>
                    <a:pt x="446" y="446"/>
                  </a:lnTo>
                  <a:lnTo>
                    <a:pt x="440" y="433"/>
                  </a:lnTo>
                  <a:lnTo>
                    <a:pt x="439" y="419"/>
                  </a:lnTo>
                  <a:lnTo>
                    <a:pt x="444" y="402"/>
                  </a:lnTo>
                  <a:lnTo>
                    <a:pt x="447" y="396"/>
                  </a:lnTo>
                  <a:lnTo>
                    <a:pt x="450" y="390"/>
                  </a:lnTo>
                  <a:lnTo>
                    <a:pt x="450" y="390"/>
                  </a:lnTo>
                  <a:lnTo>
                    <a:pt x="449" y="390"/>
                  </a:lnTo>
                  <a:lnTo>
                    <a:pt x="458" y="369"/>
                  </a:lnTo>
                  <a:lnTo>
                    <a:pt x="445" y="378"/>
                  </a:lnTo>
                  <a:lnTo>
                    <a:pt x="432" y="390"/>
                  </a:lnTo>
                  <a:lnTo>
                    <a:pt x="422" y="404"/>
                  </a:lnTo>
                  <a:lnTo>
                    <a:pt x="409" y="417"/>
                  </a:lnTo>
                  <a:lnTo>
                    <a:pt x="394" y="425"/>
                  </a:lnTo>
                  <a:lnTo>
                    <a:pt x="379" y="428"/>
                  </a:lnTo>
                  <a:lnTo>
                    <a:pt x="363" y="428"/>
                  </a:lnTo>
                  <a:lnTo>
                    <a:pt x="348" y="424"/>
                  </a:lnTo>
                  <a:lnTo>
                    <a:pt x="335" y="417"/>
                  </a:lnTo>
                  <a:lnTo>
                    <a:pt x="324" y="406"/>
                  </a:lnTo>
                  <a:lnTo>
                    <a:pt x="317" y="394"/>
                  </a:lnTo>
                  <a:lnTo>
                    <a:pt x="314" y="379"/>
                  </a:lnTo>
                  <a:lnTo>
                    <a:pt x="316" y="364"/>
                  </a:lnTo>
                  <a:lnTo>
                    <a:pt x="323" y="347"/>
                  </a:lnTo>
                  <a:lnTo>
                    <a:pt x="364" y="288"/>
                  </a:lnTo>
                  <a:lnTo>
                    <a:pt x="404" y="226"/>
                  </a:lnTo>
                  <a:lnTo>
                    <a:pt x="326" y="309"/>
                  </a:lnTo>
                  <a:lnTo>
                    <a:pt x="252" y="393"/>
                  </a:lnTo>
                  <a:lnTo>
                    <a:pt x="179" y="480"/>
                  </a:lnTo>
                  <a:lnTo>
                    <a:pt x="108" y="569"/>
                  </a:lnTo>
                  <a:lnTo>
                    <a:pt x="96" y="581"/>
                  </a:lnTo>
                  <a:lnTo>
                    <a:pt x="80" y="588"/>
                  </a:lnTo>
                  <a:lnTo>
                    <a:pt x="65" y="591"/>
                  </a:lnTo>
                  <a:lnTo>
                    <a:pt x="49" y="590"/>
                  </a:lnTo>
                  <a:lnTo>
                    <a:pt x="33" y="586"/>
                  </a:lnTo>
                  <a:lnTo>
                    <a:pt x="21" y="579"/>
                  </a:lnTo>
                  <a:lnTo>
                    <a:pt x="9" y="569"/>
                  </a:lnTo>
                  <a:lnTo>
                    <a:pt x="2" y="556"/>
                  </a:lnTo>
                  <a:lnTo>
                    <a:pt x="0" y="542"/>
                  </a:lnTo>
                  <a:lnTo>
                    <a:pt x="2" y="527"/>
                  </a:lnTo>
                  <a:lnTo>
                    <a:pt x="11" y="511"/>
                  </a:lnTo>
                  <a:lnTo>
                    <a:pt x="74" y="431"/>
                  </a:lnTo>
                  <a:lnTo>
                    <a:pt x="138" y="351"/>
                  </a:lnTo>
                  <a:lnTo>
                    <a:pt x="204" y="273"/>
                  </a:lnTo>
                  <a:lnTo>
                    <a:pt x="273" y="196"/>
                  </a:lnTo>
                  <a:lnTo>
                    <a:pt x="344" y="123"/>
                  </a:lnTo>
                  <a:lnTo>
                    <a:pt x="361" y="107"/>
                  </a:lnTo>
                  <a:lnTo>
                    <a:pt x="380" y="89"/>
                  </a:lnTo>
                  <a:lnTo>
                    <a:pt x="398" y="70"/>
                  </a:lnTo>
                  <a:lnTo>
                    <a:pt x="418" y="52"/>
                  </a:lnTo>
                  <a:lnTo>
                    <a:pt x="439" y="35"/>
                  </a:lnTo>
                  <a:lnTo>
                    <a:pt x="462" y="20"/>
                  </a:lnTo>
                  <a:lnTo>
                    <a:pt x="485" y="9"/>
                  </a:lnTo>
                  <a:lnTo>
                    <a:pt x="509" y="2"/>
                  </a:lnTo>
                  <a:lnTo>
                    <a:pt x="5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7" name="Freeform 6"/>
          <p:cNvSpPr>
            <a:spLocks noEditPoints="1"/>
          </p:cNvSpPr>
          <p:nvPr/>
        </p:nvSpPr>
        <p:spPr bwMode="auto">
          <a:xfrm>
            <a:off x="866235" y="5333934"/>
            <a:ext cx="465138" cy="611188"/>
          </a:xfrm>
          <a:custGeom>
            <a:avLst/>
            <a:gdLst>
              <a:gd name="T0" fmla="*/ 43 w 2633"/>
              <a:gd name="T1" fmla="*/ 25 h 3459"/>
              <a:gd name="T2" fmla="*/ 0 w 2633"/>
              <a:gd name="T3" fmla="*/ 113 h 3459"/>
              <a:gd name="T4" fmla="*/ 18 w 2633"/>
              <a:gd name="T5" fmla="*/ 3405 h 3459"/>
              <a:gd name="T6" fmla="*/ 87 w 2633"/>
              <a:gd name="T7" fmla="*/ 3457 h 3459"/>
              <a:gd name="T8" fmla="*/ 2569 w 2633"/>
              <a:gd name="T9" fmla="*/ 3447 h 3459"/>
              <a:gd name="T10" fmla="*/ 2630 w 2633"/>
              <a:gd name="T11" fmla="*/ 3371 h 3459"/>
              <a:gd name="T12" fmla="*/ 2624 w 2633"/>
              <a:gd name="T13" fmla="*/ 597 h 3459"/>
              <a:gd name="T14" fmla="*/ 2056 w 2633"/>
              <a:gd name="T15" fmla="*/ 20 h 3459"/>
              <a:gd name="T16" fmla="*/ 113 w 2633"/>
              <a:gd name="T17" fmla="*/ 0 h 3459"/>
              <a:gd name="T18" fmla="*/ 1883 w 2633"/>
              <a:gd name="T19" fmla="*/ 660 h 3459"/>
              <a:gd name="T20" fmla="*/ 1930 w 2633"/>
              <a:gd name="T21" fmla="*/ 731 h 3459"/>
              <a:gd name="T22" fmla="*/ 2407 w 2633"/>
              <a:gd name="T23" fmla="*/ 752 h 3459"/>
              <a:gd name="T24" fmla="*/ 2107 w 2633"/>
              <a:gd name="T25" fmla="*/ 386 h 3459"/>
              <a:gd name="T26" fmla="*/ 414 w 2633"/>
              <a:gd name="T27" fmla="*/ 828 h 3459"/>
              <a:gd name="T28" fmla="*/ 414 w 2633"/>
              <a:gd name="T29" fmla="*/ 828 h 3459"/>
              <a:gd name="T30" fmla="*/ 1020 w 2633"/>
              <a:gd name="T31" fmla="*/ 927 h 3459"/>
              <a:gd name="T32" fmla="*/ 978 w 2633"/>
              <a:gd name="T33" fmla="*/ 1016 h 3459"/>
              <a:gd name="T34" fmla="*/ 1020 w 2633"/>
              <a:gd name="T35" fmla="*/ 1103 h 3459"/>
              <a:gd name="T36" fmla="*/ 2107 w 2633"/>
              <a:gd name="T37" fmla="*/ 1128 h 3459"/>
              <a:gd name="T38" fmla="*/ 2195 w 2633"/>
              <a:gd name="T39" fmla="*/ 1086 h 3459"/>
              <a:gd name="T40" fmla="*/ 2217 w 2633"/>
              <a:gd name="T41" fmla="*/ 989 h 3459"/>
              <a:gd name="T42" fmla="*/ 2156 w 2633"/>
              <a:gd name="T43" fmla="*/ 914 h 3459"/>
              <a:gd name="T44" fmla="*/ 414 w 2633"/>
              <a:gd name="T45" fmla="*/ 1429 h 3459"/>
              <a:gd name="T46" fmla="*/ 414 w 2633"/>
              <a:gd name="T47" fmla="*/ 1429 h 3459"/>
              <a:gd name="T48" fmla="*/ 1020 w 2633"/>
              <a:gd name="T49" fmla="*/ 1529 h 3459"/>
              <a:gd name="T50" fmla="*/ 978 w 2633"/>
              <a:gd name="T51" fmla="*/ 1617 h 3459"/>
              <a:gd name="T52" fmla="*/ 1020 w 2633"/>
              <a:gd name="T53" fmla="*/ 1704 h 3459"/>
              <a:gd name="T54" fmla="*/ 2107 w 2633"/>
              <a:gd name="T55" fmla="*/ 1730 h 3459"/>
              <a:gd name="T56" fmla="*/ 2195 w 2633"/>
              <a:gd name="T57" fmla="*/ 1688 h 3459"/>
              <a:gd name="T58" fmla="*/ 2217 w 2633"/>
              <a:gd name="T59" fmla="*/ 1591 h 3459"/>
              <a:gd name="T60" fmla="*/ 2156 w 2633"/>
              <a:gd name="T61" fmla="*/ 1515 h 3459"/>
              <a:gd name="T62" fmla="*/ 414 w 2633"/>
              <a:gd name="T63" fmla="*/ 2030 h 3459"/>
              <a:gd name="T64" fmla="*/ 414 w 2633"/>
              <a:gd name="T65" fmla="*/ 2030 h 3459"/>
              <a:gd name="T66" fmla="*/ 1020 w 2633"/>
              <a:gd name="T67" fmla="*/ 2131 h 3459"/>
              <a:gd name="T68" fmla="*/ 978 w 2633"/>
              <a:gd name="T69" fmla="*/ 2219 h 3459"/>
              <a:gd name="T70" fmla="*/ 1020 w 2633"/>
              <a:gd name="T71" fmla="*/ 2306 h 3459"/>
              <a:gd name="T72" fmla="*/ 2107 w 2633"/>
              <a:gd name="T73" fmla="*/ 2331 h 3459"/>
              <a:gd name="T74" fmla="*/ 2195 w 2633"/>
              <a:gd name="T75" fmla="*/ 2289 h 3459"/>
              <a:gd name="T76" fmla="*/ 2217 w 2633"/>
              <a:gd name="T77" fmla="*/ 2193 h 3459"/>
              <a:gd name="T78" fmla="*/ 2156 w 2633"/>
              <a:gd name="T79" fmla="*/ 2117 h 3459"/>
              <a:gd name="T80" fmla="*/ 414 w 2633"/>
              <a:gd name="T81" fmla="*/ 2631 h 3459"/>
              <a:gd name="T82" fmla="*/ 414 w 2633"/>
              <a:gd name="T83" fmla="*/ 2631 h 3459"/>
              <a:gd name="T84" fmla="*/ 1020 w 2633"/>
              <a:gd name="T85" fmla="*/ 2732 h 3459"/>
              <a:gd name="T86" fmla="*/ 978 w 2633"/>
              <a:gd name="T87" fmla="*/ 2819 h 3459"/>
              <a:gd name="T88" fmla="*/ 1020 w 2633"/>
              <a:gd name="T89" fmla="*/ 2908 h 3459"/>
              <a:gd name="T90" fmla="*/ 2107 w 2633"/>
              <a:gd name="T91" fmla="*/ 2933 h 3459"/>
              <a:gd name="T92" fmla="*/ 2195 w 2633"/>
              <a:gd name="T93" fmla="*/ 2891 h 3459"/>
              <a:gd name="T94" fmla="*/ 2217 w 2633"/>
              <a:gd name="T95" fmla="*/ 2794 h 3459"/>
              <a:gd name="T96" fmla="*/ 2156 w 2633"/>
              <a:gd name="T97" fmla="*/ 2719 h 34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633" h="3459">
                <a:moveTo>
                  <a:pt x="113" y="0"/>
                </a:moveTo>
                <a:lnTo>
                  <a:pt x="87" y="3"/>
                </a:lnTo>
                <a:lnTo>
                  <a:pt x="64" y="12"/>
                </a:lnTo>
                <a:lnTo>
                  <a:pt x="43" y="25"/>
                </a:lnTo>
                <a:lnTo>
                  <a:pt x="25" y="43"/>
                </a:lnTo>
                <a:lnTo>
                  <a:pt x="12" y="64"/>
                </a:lnTo>
                <a:lnTo>
                  <a:pt x="3" y="88"/>
                </a:lnTo>
                <a:lnTo>
                  <a:pt x="0" y="113"/>
                </a:lnTo>
                <a:lnTo>
                  <a:pt x="0" y="3347"/>
                </a:lnTo>
                <a:lnTo>
                  <a:pt x="2" y="3366"/>
                </a:lnTo>
                <a:lnTo>
                  <a:pt x="9" y="3386"/>
                </a:lnTo>
                <a:lnTo>
                  <a:pt x="18" y="3405"/>
                </a:lnTo>
                <a:lnTo>
                  <a:pt x="31" y="3422"/>
                </a:lnTo>
                <a:lnTo>
                  <a:pt x="46" y="3438"/>
                </a:lnTo>
                <a:lnTo>
                  <a:pt x="65" y="3449"/>
                </a:lnTo>
                <a:lnTo>
                  <a:pt x="87" y="3457"/>
                </a:lnTo>
                <a:lnTo>
                  <a:pt x="113" y="3459"/>
                </a:lnTo>
                <a:lnTo>
                  <a:pt x="2520" y="3459"/>
                </a:lnTo>
                <a:lnTo>
                  <a:pt x="2546" y="3456"/>
                </a:lnTo>
                <a:lnTo>
                  <a:pt x="2569" y="3447"/>
                </a:lnTo>
                <a:lnTo>
                  <a:pt x="2590" y="3434"/>
                </a:lnTo>
                <a:lnTo>
                  <a:pt x="2608" y="3416"/>
                </a:lnTo>
                <a:lnTo>
                  <a:pt x="2621" y="3395"/>
                </a:lnTo>
                <a:lnTo>
                  <a:pt x="2630" y="3371"/>
                </a:lnTo>
                <a:lnTo>
                  <a:pt x="2633" y="3347"/>
                </a:lnTo>
                <a:lnTo>
                  <a:pt x="2633" y="640"/>
                </a:lnTo>
                <a:lnTo>
                  <a:pt x="2631" y="618"/>
                </a:lnTo>
                <a:lnTo>
                  <a:pt x="2624" y="597"/>
                </a:lnTo>
                <a:lnTo>
                  <a:pt x="2614" y="578"/>
                </a:lnTo>
                <a:lnTo>
                  <a:pt x="2600" y="561"/>
                </a:lnTo>
                <a:lnTo>
                  <a:pt x="2074" y="34"/>
                </a:lnTo>
                <a:lnTo>
                  <a:pt x="2056" y="20"/>
                </a:lnTo>
                <a:lnTo>
                  <a:pt x="2037" y="10"/>
                </a:lnTo>
                <a:lnTo>
                  <a:pt x="2016" y="2"/>
                </a:lnTo>
                <a:lnTo>
                  <a:pt x="1994" y="0"/>
                </a:lnTo>
                <a:lnTo>
                  <a:pt x="113" y="0"/>
                </a:lnTo>
                <a:close/>
                <a:moveTo>
                  <a:pt x="226" y="226"/>
                </a:moveTo>
                <a:lnTo>
                  <a:pt x="1881" y="226"/>
                </a:lnTo>
                <a:lnTo>
                  <a:pt x="1881" y="640"/>
                </a:lnTo>
                <a:lnTo>
                  <a:pt x="1883" y="660"/>
                </a:lnTo>
                <a:lnTo>
                  <a:pt x="1889" y="681"/>
                </a:lnTo>
                <a:lnTo>
                  <a:pt x="1900" y="699"/>
                </a:lnTo>
                <a:lnTo>
                  <a:pt x="1913" y="716"/>
                </a:lnTo>
                <a:lnTo>
                  <a:pt x="1930" y="731"/>
                </a:lnTo>
                <a:lnTo>
                  <a:pt x="1949" y="743"/>
                </a:lnTo>
                <a:lnTo>
                  <a:pt x="1971" y="750"/>
                </a:lnTo>
                <a:lnTo>
                  <a:pt x="1994" y="752"/>
                </a:lnTo>
                <a:lnTo>
                  <a:pt x="2407" y="752"/>
                </a:lnTo>
                <a:lnTo>
                  <a:pt x="2407" y="3233"/>
                </a:lnTo>
                <a:lnTo>
                  <a:pt x="226" y="3233"/>
                </a:lnTo>
                <a:lnTo>
                  <a:pt x="226" y="226"/>
                </a:lnTo>
                <a:close/>
                <a:moveTo>
                  <a:pt x="2107" y="386"/>
                </a:moveTo>
                <a:lnTo>
                  <a:pt x="2247" y="526"/>
                </a:lnTo>
                <a:lnTo>
                  <a:pt x="2107" y="526"/>
                </a:lnTo>
                <a:lnTo>
                  <a:pt x="2107" y="386"/>
                </a:lnTo>
                <a:close/>
                <a:moveTo>
                  <a:pt x="414" y="828"/>
                </a:moveTo>
                <a:lnTo>
                  <a:pt x="414" y="1203"/>
                </a:lnTo>
                <a:lnTo>
                  <a:pt x="790" y="1203"/>
                </a:lnTo>
                <a:lnTo>
                  <a:pt x="790" y="828"/>
                </a:lnTo>
                <a:lnTo>
                  <a:pt x="414" y="828"/>
                </a:lnTo>
                <a:close/>
                <a:moveTo>
                  <a:pt x="1091" y="902"/>
                </a:moveTo>
                <a:lnTo>
                  <a:pt x="1065" y="905"/>
                </a:lnTo>
                <a:lnTo>
                  <a:pt x="1041" y="914"/>
                </a:lnTo>
                <a:lnTo>
                  <a:pt x="1020" y="927"/>
                </a:lnTo>
                <a:lnTo>
                  <a:pt x="1002" y="944"/>
                </a:lnTo>
                <a:lnTo>
                  <a:pt x="990" y="965"/>
                </a:lnTo>
                <a:lnTo>
                  <a:pt x="981" y="989"/>
                </a:lnTo>
                <a:lnTo>
                  <a:pt x="978" y="1016"/>
                </a:lnTo>
                <a:lnTo>
                  <a:pt x="981" y="1041"/>
                </a:lnTo>
                <a:lnTo>
                  <a:pt x="990" y="1065"/>
                </a:lnTo>
                <a:lnTo>
                  <a:pt x="1002" y="1086"/>
                </a:lnTo>
                <a:lnTo>
                  <a:pt x="1020" y="1103"/>
                </a:lnTo>
                <a:lnTo>
                  <a:pt x="1041" y="1116"/>
                </a:lnTo>
                <a:lnTo>
                  <a:pt x="1065" y="1125"/>
                </a:lnTo>
                <a:lnTo>
                  <a:pt x="1091" y="1128"/>
                </a:lnTo>
                <a:lnTo>
                  <a:pt x="2107" y="1128"/>
                </a:lnTo>
                <a:lnTo>
                  <a:pt x="2133" y="1125"/>
                </a:lnTo>
                <a:lnTo>
                  <a:pt x="2156" y="1116"/>
                </a:lnTo>
                <a:lnTo>
                  <a:pt x="2177" y="1103"/>
                </a:lnTo>
                <a:lnTo>
                  <a:pt x="2195" y="1086"/>
                </a:lnTo>
                <a:lnTo>
                  <a:pt x="2207" y="1065"/>
                </a:lnTo>
                <a:lnTo>
                  <a:pt x="2217" y="1041"/>
                </a:lnTo>
                <a:lnTo>
                  <a:pt x="2219" y="1016"/>
                </a:lnTo>
                <a:lnTo>
                  <a:pt x="2217" y="989"/>
                </a:lnTo>
                <a:lnTo>
                  <a:pt x="2207" y="965"/>
                </a:lnTo>
                <a:lnTo>
                  <a:pt x="2195" y="944"/>
                </a:lnTo>
                <a:lnTo>
                  <a:pt x="2177" y="927"/>
                </a:lnTo>
                <a:lnTo>
                  <a:pt x="2156" y="914"/>
                </a:lnTo>
                <a:lnTo>
                  <a:pt x="2133" y="905"/>
                </a:lnTo>
                <a:lnTo>
                  <a:pt x="2107" y="902"/>
                </a:lnTo>
                <a:lnTo>
                  <a:pt x="1091" y="902"/>
                </a:lnTo>
                <a:close/>
                <a:moveTo>
                  <a:pt x="414" y="1429"/>
                </a:moveTo>
                <a:lnTo>
                  <a:pt x="414" y="1805"/>
                </a:lnTo>
                <a:lnTo>
                  <a:pt x="790" y="1805"/>
                </a:lnTo>
                <a:lnTo>
                  <a:pt x="790" y="1429"/>
                </a:lnTo>
                <a:lnTo>
                  <a:pt x="414" y="1429"/>
                </a:lnTo>
                <a:close/>
                <a:moveTo>
                  <a:pt x="1091" y="1504"/>
                </a:moveTo>
                <a:lnTo>
                  <a:pt x="1065" y="1507"/>
                </a:lnTo>
                <a:lnTo>
                  <a:pt x="1041" y="1515"/>
                </a:lnTo>
                <a:lnTo>
                  <a:pt x="1020" y="1529"/>
                </a:lnTo>
                <a:lnTo>
                  <a:pt x="1002" y="1546"/>
                </a:lnTo>
                <a:lnTo>
                  <a:pt x="990" y="1567"/>
                </a:lnTo>
                <a:lnTo>
                  <a:pt x="981" y="1591"/>
                </a:lnTo>
                <a:lnTo>
                  <a:pt x="978" y="1617"/>
                </a:lnTo>
                <a:lnTo>
                  <a:pt x="981" y="1642"/>
                </a:lnTo>
                <a:lnTo>
                  <a:pt x="990" y="1667"/>
                </a:lnTo>
                <a:lnTo>
                  <a:pt x="1002" y="1688"/>
                </a:lnTo>
                <a:lnTo>
                  <a:pt x="1020" y="1704"/>
                </a:lnTo>
                <a:lnTo>
                  <a:pt x="1041" y="1718"/>
                </a:lnTo>
                <a:lnTo>
                  <a:pt x="1065" y="1726"/>
                </a:lnTo>
                <a:lnTo>
                  <a:pt x="1091" y="1730"/>
                </a:lnTo>
                <a:lnTo>
                  <a:pt x="2107" y="1730"/>
                </a:lnTo>
                <a:lnTo>
                  <a:pt x="2133" y="1726"/>
                </a:lnTo>
                <a:lnTo>
                  <a:pt x="2156" y="1718"/>
                </a:lnTo>
                <a:lnTo>
                  <a:pt x="2177" y="1704"/>
                </a:lnTo>
                <a:lnTo>
                  <a:pt x="2195" y="1688"/>
                </a:lnTo>
                <a:lnTo>
                  <a:pt x="2207" y="1667"/>
                </a:lnTo>
                <a:lnTo>
                  <a:pt x="2217" y="1642"/>
                </a:lnTo>
                <a:lnTo>
                  <a:pt x="2219" y="1617"/>
                </a:lnTo>
                <a:lnTo>
                  <a:pt x="2217" y="1591"/>
                </a:lnTo>
                <a:lnTo>
                  <a:pt x="2207" y="1567"/>
                </a:lnTo>
                <a:lnTo>
                  <a:pt x="2195" y="1546"/>
                </a:lnTo>
                <a:lnTo>
                  <a:pt x="2177" y="1529"/>
                </a:lnTo>
                <a:lnTo>
                  <a:pt x="2156" y="1515"/>
                </a:lnTo>
                <a:lnTo>
                  <a:pt x="2133" y="1507"/>
                </a:lnTo>
                <a:lnTo>
                  <a:pt x="2107" y="1504"/>
                </a:lnTo>
                <a:lnTo>
                  <a:pt x="1091" y="1504"/>
                </a:lnTo>
                <a:close/>
                <a:moveTo>
                  <a:pt x="414" y="2030"/>
                </a:moveTo>
                <a:lnTo>
                  <a:pt x="414" y="2407"/>
                </a:lnTo>
                <a:lnTo>
                  <a:pt x="790" y="2407"/>
                </a:lnTo>
                <a:lnTo>
                  <a:pt x="790" y="2030"/>
                </a:lnTo>
                <a:lnTo>
                  <a:pt x="414" y="2030"/>
                </a:lnTo>
                <a:close/>
                <a:moveTo>
                  <a:pt x="1091" y="2105"/>
                </a:moveTo>
                <a:lnTo>
                  <a:pt x="1065" y="2109"/>
                </a:lnTo>
                <a:lnTo>
                  <a:pt x="1041" y="2117"/>
                </a:lnTo>
                <a:lnTo>
                  <a:pt x="1020" y="2131"/>
                </a:lnTo>
                <a:lnTo>
                  <a:pt x="1002" y="2147"/>
                </a:lnTo>
                <a:lnTo>
                  <a:pt x="990" y="2168"/>
                </a:lnTo>
                <a:lnTo>
                  <a:pt x="981" y="2193"/>
                </a:lnTo>
                <a:lnTo>
                  <a:pt x="978" y="2219"/>
                </a:lnTo>
                <a:lnTo>
                  <a:pt x="981" y="2244"/>
                </a:lnTo>
                <a:lnTo>
                  <a:pt x="990" y="2268"/>
                </a:lnTo>
                <a:lnTo>
                  <a:pt x="1002" y="2289"/>
                </a:lnTo>
                <a:lnTo>
                  <a:pt x="1020" y="2306"/>
                </a:lnTo>
                <a:lnTo>
                  <a:pt x="1041" y="2320"/>
                </a:lnTo>
                <a:lnTo>
                  <a:pt x="1065" y="2328"/>
                </a:lnTo>
                <a:lnTo>
                  <a:pt x="1091" y="2331"/>
                </a:lnTo>
                <a:lnTo>
                  <a:pt x="2107" y="2331"/>
                </a:lnTo>
                <a:lnTo>
                  <a:pt x="2133" y="2328"/>
                </a:lnTo>
                <a:lnTo>
                  <a:pt x="2156" y="2320"/>
                </a:lnTo>
                <a:lnTo>
                  <a:pt x="2177" y="2306"/>
                </a:lnTo>
                <a:lnTo>
                  <a:pt x="2195" y="2289"/>
                </a:lnTo>
                <a:lnTo>
                  <a:pt x="2207" y="2268"/>
                </a:lnTo>
                <a:lnTo>
                  <a:pt x="2217" y="2244"/>
                </a:lnTo>
                <a:lnTo>
                  <a:pt x="2219" y="2219"/>
                </a:lnTo>
                <a:lnTo>
                  <a:pt x="2217" y="2193"/>
                </a:lnTo>
                <a:lnTo>
                  <a:pt x="2207" y="2168"/>
                </a:lnTo>
                <a:lnTo>
                  <a:pt x="2195" y="2147"/>
                </a:lnTo>
                <a:lnTo>
                  <a:pt x="2177" y="2131"/>
                </a:lnTo>
                <a:lnTo>
                  <a:pt x="2156" y="2117"/>
                </a:lnTo>
                <a:lnTo>
                  <a:pt x="2133" y="2109"/>
                </a:lnTo>
                <a:lnTo>
                  <a:pt x="2107" y="2105"/>
                </a:lnTo>
                <a:lnTo>
                  <a:pt x="1091" y="2105"/>
                </a:lnTo>
                <a:close/>
                <a:moveTo>
                  <a:pt x="414" y="2631"/>
                </a:moveTo>
                <a:lnTo>
                  <a:pt x="414" y="3007"/>
                </a:lnTo>
                <a:lnTo>
                  <a:pt x="790" y="3007"/>
                </a:lnTo>
                <a:lnTo>
                  <a:pt x="790" y="2631"/>
                </a:lnTo>
                <a:lnTo>
                  <a:pt x="414" y="2631"/>
                </a:lnTo>
                <a:close/>
                <a:moveTo>
                  <a:pt x="1091" y="2707"/>
                </a:moveTo>
                <a:lnTo>
                  <a:pt x="1065" y="2710"/>
                </a:lnTo>
                <a:lnTo>
                  <a:pt x="1041" y="2719"/>
                </a:lnTo>
                <a:lnTo>
                  <a:pt x="1020" y="2732"/>
                </a:lnTo>
                <a:lnTo>
                  <a:pt x="1002" y="2749"/>
                </a:lnTo>
                <a:lnTo>
                  <a:pt x="990" y="2770"/>
                </a:lnTo>
                <a:lnTo>
                  <a:pt x="981" y="2794"/>
                </a:lnTo>
                <a:lnTo>
                  <a:pt x="978" y="2819"/>
                </a:lnTo>
                <a:lnTo>
                  <a:pt x="981" y="2846"/>
                </a:lnTo>
                <a:lnTo>
                  <a:pt x="990" y="2870"/>
                </a:lnTo>
                <a:lnTo>
                  <a:pt x="1002" y="2891"/>
                </a:lnTo>
                <a:lnTo>
                  <a:pt x="1020" y="2908"/>
                </a:lnTo>
                <a:lnTo>
                  <a:pt x="1041" y="2921"/>
                </a:lnTo>
                <a:lnTo>
                  <a:pt x="1065" y="2930"/>
                </a:lnTo>
                <a:lnTo>
                  <a:pt x="1091" y="2933"/>
                </a:lnTo>
                <a:lnTo>
                  <a:pt x="2107" y="2933"/>
                </a:lnTo>
                <a:lnTo>
                  <a:pt x="2133" y="2930"/>
                </a:lnTo>
                <a:lnTo>
                  <a:pt x="2156" y="2921"/>
                </a:lnTo>
                <a:lnTo>
                  <a:pt x="2177" y="2908"/>
                </a:lnTo>
                <a:lnTo>
                  <a:pt x="2195" y="2891"/>
                </a:lnTo>
                <a:lnTo>
                  <a:pt x="2207" y="2870"/>
                </a:lnTo>
                <a:lnTo>
                  <a:pt x="2217" y="2846"/>
                </a:lnTo>
                <a:lnTo>
                  <a:pt x="2219" y="2819"/>
                </a:lnTo>
                <a:lnTo>
                  <a:pt x="2217" y="2794"/>
                </a:lnTo>
                <a:lnTo>
                  <a:pt x="2207" y="2770"/>
                </a:lnTo>
                <a:lnTo>
                  <a:pt x="2195" y="2749"/>
                </a:lnTo>
                <a:lnTo>
                  <a:pt x="2177" y="2732"/>
                </a:lnTo>
                <a:lnTo>
                  <a:pt x="2156" y="2719"/>
                </a:lnTo>
                <a:lnTo>
                  <a:pt x="2133" y="2710"/>
                </a:lnTo>
                <a:lnTo>
                  <a:pt x="2107" y="2707"/>
                </a:lnTo>
                <a:lnTo>
                  <a:pt x="1091" y="2707"/>
                </a:lnTo>
                <a:close/>
              </a:path>
            </a:pathLst>
          </a:custGeom>
          <a:solidFill>
            <a:srgbClr val="00569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9" name="Group 9"/>
          <p:cNvGrpSpPr>
            <a:grpSpLocks noChangeAspect="1"/>
          </p:cNvGrpSpPr>
          <p:nvPr/>
        </p:nvGrpSpPr>
        <p:grpSpPr bwMode="auto">
          <a:xfrm>
            <a:off x="823913" y="4133850"/>
            <a:ext cx="549275" cy="549275"/>
            <a:chOff x="519" y="2604"/>
            <a:chExt cx="346" cy="346"/>
          </a:xfrm>
          <a:solidFill>
            <a:srgbClr val="00569B"/>
          </a:solidFill>
        </p:grpSpPr>
        <p:sp>
          <p:nvSpPr>
            <p:cNvPr id="42" name="Freeform 11"/>
            <p:cNvSpPr>
              <a:spLocks noEditPoints="1"/>
            </p:cNvSpPr>
            <p:nvPr/>
          </p:nvSpPr>
          <p:spPr bwMode="auto">
            <a:xfrm>
              <a:off x="726" y="2816"/>
              <a:ext cx="139" cy="134"/>
            </a:xfrm>
            <a:custGeom>
              <a:avLst/>
              <a:gdLst>
                <a:gd name="T0" fmla="*/ 629 w 1390"/>
                <a:gd name="T1" fmla="*/ 3 h 1337"/>
                <a:gd name="T2" fmla="*/ 500 w 1390"/>
                <a:gd name="T3" fmla="*/ 26 h 1337"/>
                <a:gd name="T4" fmla="*/ 381 w 1390"/>
                <a:gd name="T5" fmla="*/ 71 h 1337"/>
                <a:gd name="T6" fmla="*/ 274 w 1390"/>
                <a:gd name="T7" fmla="*/ 136 h 1337"/>
                <a:gd name="T8" fmla="*/ 182 w 1390"/>
                <a:gd name="T9" fmla="*/ 217 h 1337"/>
                <a:gd name="T10" fmla="*/ 105 w 1390"/>
                <a:gd name="T11" fmla="*/ 314 h 1337"/>
                <a:gd name="T12" fmla="*/ 49 w 1390"/>
                <a:gd name="T13" fmla="*/ 422 h 1337"/>
                <a:gd name="T14" fmla="*/ 12 w 1390"/>
                <a:gd name="T15" fmla="*/ 542 h 1337"/>
                <a:gd name="T16" fmla="*/ 0 w 1390"/>
                <a:gd name="T17" fmla="*/ 668 h 1337"/>
                <a:gd name="T18" fmla="*/ 12 w 1390"/>
                <a:gd name="T19" fmla="*/ 795 h 1337"/>
                <a:gd name="T20" fmla="*/ 49 w 1390"/>
                <a:gd name="T21" fmla="*/ 915 h 1337"/>
                <a:gd name="T22" fmla="*/ 105 w 1390"/>
                <a:gd name="T23" fmla="*/ 1023 h 1337"/>
                <a:gd name="T24" fmla="*/ 182 w 1390"/>
                <a:gd name="T25" fmla="*/ 1120 h 1337"/>
                <a:gd name="T26" fmla="*/ 274 w 1390"/>
                <a:gd name="T27" fmla="*/ 1200 h 1337"/>
                <a:gd name="T28" fmla="*/ 381 w 1390"/>
                <a:gd name="T29" fmla="*/ 1266 h 1337"/>
                <a:gd name="T30" fmla="*/ 500 w 1390"/>
                <a:gd name="T31" fmla="*/ 1311 h 1337"/>
                <a:gd name="T32" fmla="*/ 629 w 1390"/>
                <a:gd name="T33" fmla="*/ 1334 h 1337"/>
                <a:gd name="T34" fmla="*/ 762 w 1390"/>
                <a:gd name="T35" fmla="*/ 1334 h 1337"/>
                <a:gd name="T36" fmla="*/ 890 w 1390"/>
                <a:gd name="T37" fmla="*/ 1311 h 1337"/>
                <a:gd name="T38" fmla="*/ 1008 w 1390"/>
                <a:gd name="T39" fmla="*/ 1266 h 1337"/>
                <a:gd name="T40" fmla="*/ 1115 w 1390"/>
                <a:gd name="T41" fmla="*/ 1200 h 1337"/>
                <a:gd name="T42" fmla="*/ 1208 w 1390"/>
                <a:gd name="T43" fmla="*/ 1120 h 1337"/>
                <a:gd name="T44" fmla="*/ 1284 w 1390"/>
                <a:gd name="T45" fmla="*/ 1023 h 1337"/>
                <a:gd name="T46" fmla="*/ 1342 w 1390"/>
                <a:gd name="T47" fmla="*/ 915 h 1337"/>
                <a:gd name="T48" fmla="*/ 1377 w 1390"/>
                <a:gd name="T49" fmla="*/ 795 h 1337"/>
                <a:gd name="T50" fmla="*/ 1390 w 1390"/>
                <a:gd name="T51" fmla="*/ 669 h 1337"/>
                <a:gd name="T52" fmla="*/ 1377 w 1390"/>
                <a:gd name="T53" fmla="*/ 542 h 1337"/>
                <a:gd name="T54" fmla="*/ 1342 w 1390"/>
                <a:gd name="T55" fmla="*/ 423 h 1337"/>
                <a:gd name="T56" fmla="*/ 1284 w 1390"/>
                <a:gd name="T57" fmla="*/ 314 h 1337"/>
                <a:gd name="T58" fmla="*/ 1208 w 1390"/>
                <a:gd name="T59" fmla="*/ 217 h 1337"/>
                <a:gd name="T60" fmla="*/ 1115 w 1390"/>
                <a:gd name="T61" fmla="*/ 136 h 1337"/>
                <a:gd name="T62" fmla="*/ 1008 w 1390"/>
                <a:gd name="T63" fmla="*/ 71 h 1337"/>
                <a:gd name="T64" fmla="*/ 890 w 1390"/>
                <a:gd name="T65" fmla="*/ 26 h 1337"/>
                <a:gd name="T66" fmla="*/ 762 w 1390"/>
                <a:gd name="T67" fmla="*/ 3 h 1337"/>
                <a:gd name="T68" fmla="*/ 983 w 1390"/>
                <a:gd name="T69" fmla="*/ 852 h 1337"/>
                <a:gd name="T70" fmla="*/ 1003 w 1390"/>
                <a:gd name="T71" fmla="*/ 885 h 1337"/>
                <a:gd name="T72" fmla="*/ 1003 w 1390"/>
                <a:gd name="T73" fmla="*/ 922 h 1337"/>
                <a:gd name="T74" fmla="*/ 984 w 1390"/>
                <a:gd name="T75" fmla="*/ 956 h 1337"/>
                <a:gd name="T76" fmla="*/ 950 w 1390"/>
                <a:gd name="T77" fmla="*/ 975 h 1337"/>
                <a:gd name="T78" fmla="*/ 913 w 1390"/>
                <a:gd name="T79" fmla="*/ 975 h 1337"/>
                <a:gd name="T80" fmla="*/ 879 w 1390"/>
                <a:gd name="T81" fmla="*/ 956 h 1337"/>
                <a:gd name="T82" fmla="*/ 510 w 1390"/>
                <a:gd name="T83" fmla="*/ 956 h 1337"/>
                <a:gd name="T84" fmla="*/ 478 w 1390"/>
                <a:gd name="T85" fmla="*/ 975 h 1337"/>
                <a:gd name="T86" fmla="*/ 440 w 1390"/>
                <a:gd name="T87" fmla="*/ 975 h 1337"/>
                <a:gd name="T88" fmla="*/ 406 w 1390"/>
                <a:gd name="T89" fmla="*/ 956 h 1337"/>
                <a:gd name="T90" fmla="*/ 387 w 1390"/>
                <a:gd name="T91" fmla="*/ 922 h 1337"/>
                <a:gd name="T92" fmla="*/ 387 w 1390"/>
                <a:gd name="T93" fmla="*/ 885 h 1337"/>
                <a:gd name="T94" fmla="*/ 406 w 1390"/>
                <a:gd name="T95" fmla="*/ 852 h 1337"/>
                <a:gd name="T96" fmla="*/ 406 w 1390"/>
                <a:gd name="T97" fmla="*/ 485 h 1337"/>
                <a:gd name="T98" fmla="*/ 387 w 1390"/>
                <a:gd name="T99" fmla="*/ 453 h 1337"/>
                <a:gd name="T100" fmla="*/ 387 w 1390"/>
                <a:gd name="T101" fmla="*/ 415 h 1337"/>
                <a:gd name="T102" fmla="*/ 406 w 1390"/>
                <a:gd name="T103" fmla="*/ 381 h 1337"/>
                <a:gd name="T104" fmla="*/ 440 w 1390"/>
                <a:gd name="T105" fmla="*/ 362 h 1337"/>
                <a:gd name="T106" fmla="*/ 477 w 1390"/>
                <a:gd name="T107" fmla="*/ 362 h 1337"/>
                <a:gd name="T108" fmla="*/ 510 w 1390"/>
                <a:gd name="T109" fmla="*/ 381 h 1337"/>
                <a:gd name="T110" fmla="*/ 879 w 1390"/>
                <a:gd name="T111" fmla="*/ 381 h 1337"/>
                <a:gd name="T112" fmla="*/ 913 w 1390"/>
                <a:gd name="T113" fmla="*/ 362 h 1337"/>
                <a:gd name="T114" fmla="*/ 950 w 1390"/>
                <a:gd name="T115" fmla="*/ 362 h 1337"/>
                <a:gd name="T116" fmla="*/ 983 w 1390"/>
                <a:gd name="T117" fmla="*/ 381 h 1337"/>
                <a:gd name="T118" fmla="*/ 1003 w 1390"/>
                <a:gd name="T119" fmla="*/ 415 h 1337"/>
                <a:gd name="T120" fmla="*/ 1002 w 1390"/>
                <a:gd name="T121" fmla="*/ 453 h 1337"/>
                <a:gd name="T122" fmla="*/ 983 w 1390"/>
                <a:gd name="T123" fmla="*/ 485 h 1337"/>
                <a:gd name="T124" fmla="*/ 983 w 1390"/>
                <a:gd name="T125" fmla="*/ 852 h 1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90" h="1337">
                  <a:moveTo>
                    <a:pt x="695" y="0"/>
                  </a:moveTo>
                  <a:lnTo>
                    <a:pt x="629" y="3"/>
                  </a:lnTo>
                  <a:lnTo>
                    <a:pt x="564" y="11"/>
                  </a:lnTo>
                  <a:lnTo>
                    <a:pt x="500" y="26"/>
                  </a:lnTo>
                  <a:lnTo>
                    <a:pt x="440" y="47"/>
                  </a:lnTo>
                  <a:lnTo>
                    <a:pt x="381" y="71"/>
                  </a:lnTo>
                  <a:lnTo>
                    <a:pt x="327" y="102"/>
                  </a:lnTo>
                  <a:lnTo>
                    <a:pt x="274" y="136"/>
                  </a:lnTo>
                  <a:lnTo>
                    <a:pt x="226" y="175"/>
                  </a:lnTo>
                  <a:lnTo>
                    <a:pt x="182" y="217"/>
                  </a:lnTo>
                  <a:lnTo>
                    <a:pt x="142" y="265"/>
                  </a:lnTo>
                  <a:lnTo>
                    <a:pt x="105" y="314"/>
                  </a:lnTo>
                  <a:lnTo>
                    <a:pt x="75" y="366"/>
                  </a:lnTo>
                  <a:lnTo>
                    <a:pt x="49" y="422"/>
                  </a:lnTo>
                  <a:lnTo>
                    <a:pt x="28" y="481"/>
                  </a:lnTo>
                  <a:lnTo>
                    <a:pt x="12" y="542"/>
                  </a:lnTo>
                  <a:lnTo>
                    <a:pt x="3" y="604"/>
                  </a:lnTo>
                  <a:lnTo>
                    <a:pt x="0" y="668"/>
                  </a:lnTo>
                  <a:lnTo>
                    <a:pt x="3" y="733"/>
                  </a:lnTo>
                  <a:lnTo>
                    <a:pt x="12" y="795"/>
                  </a:lnTo>
                  <a:lnTo>
                    <a:pt x="28" y="856"/>
                  </a:lnTo>
                  <a:lnTo>
                    <a:pt x="49" y="915"/>
                  </a:lnTo>
                  <a:lnTo>
                    <a:pt x="75" y="970"/>
                  </a:lnTo>
                  <a:lnTo>
                    <a:pt x="105" y="1023"/>
                  </a:lnTo>
                  <a:lnTo>
                    <a:pt x="142" y="1073"/>
                  </a:lnTo>
                  <a:lnTo>
                    <a:pt x="182" y="1120"/>
                  </a:lnTo>
                  <a:lnTo>
                    <a:pt x="226" y="1162"/>
                  </a:lnTo>
                  <a:lnTo>
                    <a:pt x="274" y="1200"/>
                  </a:lnTo>
                  <a:lnTo>
                    <a:pt x="327" y="1235"/>
                  </a:lnTo>
                  <a:lnTo>
                    <a:pt x="381" y="1266"/>
                  </a:lnTo>
                  <a:lnTo>
                    <a:pt x="440" y="1291"/>
                  </a:lnTo>
                  <a:lnTo>
                    <a:pt x="500" y="1311"/>
                  </a:lnTo>
                  <a:lnTo>
                    <a:pt x="564" y="1325"/>
                  </a:lnTo>
                  <a:lnTo>
                    <a:pt x="629" y="1334"/>
                  </a:lnTo>
                  <a:lnTo>
                    <a:pt x="695" y="1337"/>
                  </a:lnTo>
                  <a:lnTo>
                    <a:pt x="762" y="1334"/>
                  </a:lnTo>
                  <a:lnTo>
                    <a:pt x="827" y="1325"/>
                  </a:lnTo>
                  <a:lnTo>
                    <a:pt x="890" y="1311"/>
                  </a:lnTo>
                  <a:lnTo>
                    <a:pt x="950" y="1291"/>
                  </a:lnTo>
                  <a:lnTo>
                    <a:pt x="1008" y="1266"/>
                  </a:lnTo>
                  <a:lnTo>
                    <a:pt x="1064" y="1235"/>
                  </a:lnTo>
                  <a:lnTo>
                    <a:pt x="1115" y="1200"/>
                  </a:lnTo>
                  <a:lnTo>
                    <a:pt x="1163" y="1162"/>
                  </a:lnTo>
                  <a:lnTo>
                    <a:pt x="1208" y="1120"/>
                  </a:lnTo>
                  <a:lnTo>
                    <a:pt x="1248" y="1073"/>
                  </a:lnTo>
                  <a:lnTo>
                    <a:pt x="1284" y="1023"/>
                  </a:lnTo>
                  <a:lnTo>
                    <a:pt x="1315" y="970"/>
                  </a:lnTo>
                  <a:lnTo>
                    <a:pt x="1342" y="915"/>
                  </a:lnTo>
                  <a:lnTo>
                    <a:pt x="1363" y="856"/>
                  </a:lnTo>
                  <a:lnTo>
                    <a:pt x="1377" y="795"/>
                  </a:lnTo>
                  <a:lnTo>
                    <a:pt x="1387" y="733"/>
                  </a:lnTo>
                  <a:lnTo>
                    <a:pt x="1390" y="669"/>
                  </a:lnTo>
                  <a:lnTo>
                    <a:pt x="1387" y="604"/>
                  </a:lnTo>
                  <a:lnTo>
                    <a:pt x="1377" y="542"/>
                  </a:lnTo>
                  <a:lnTo>
                    <a:pt x="1363" y="481"/>
                  </a:lnTo>
                  <a:lnTo>
                    <a:pt x="1342" y="423"/>
                  </a:lnTo>
                  <a:lnTo>
                    <a:pt x="1315" y="366"/>
                  </a:lnTo>
                  <a:lnTo>
                    <a:pt x="1284" y="314"/>
                  </a:lnTo>
                  <a:lnTo>
                    <a:pt x="1248" y="265"/>
                  </a:lnTo>
                  <a:lnTo>
                    <a:pt x="1208" y="217"/>
                  </a:lnTo>
                  <a:lnTo>
                    <a:pt x="1163" y="175"/>
                  </a:lnTo>
                  <a:lnTo>
                    <a:pt x="1115" y="136"/>
                  </a:lnTo>
                  <a:lnTo>
                    <a:pt x="1064" y="102"/>
                  </a:lnTo>
                  <a:lnTo>
                    <a:pt x="1008" y="71"/>
                  </a:lnTo>
                  <a:lnTo>
                    <a:pt x="950" y="47"/>
                  </a:lnTo>
                  <a:lnTo>
                    <a:pt x="890" y="26"/>
                  </a:lnTo>
                  <a:lnTo>
                    <a:pt x="827" y="11"/>
                  </a:lnTo>
                  <a:lnTo>
                    <a:pt x="762" y="3"/>
                  </a:lnTo>
                  <a:lnTo>
                    <a:pt x="695" y="0"/>
                  </a:lnTo>
                  <a:close/>
                  <a:moveTo>
                    <a:pt x="983" y="852"/>
                  </a:moveTo>
                  <a:lnTo>
                    <a:pt x="996" y="867"/>
                  </a:lnTo>
                  <a:lnTo>
                    <a:pt x="1003" y="885"/>
                  </a:lnTo>
                  <a:lnTo>
                    <a:pt x="1005" y="903"/>
                  </a:lnTo>
                  <a:lnTo>
                    <a:pt x="1003" y="922"/>
                  </a:lnTo>
                  <a:lnTo>
                    <a:pt x="996" y="940"/>
                  </a:lnTo>
                  <a:lnTo>
                    <a:pt x="984" y="956"/>
                  </a:lnTo>
                  <a:lnTo>
                    <a:pt x="968" y="967"/>
                  </a:lnTo>
                  <a:lnTo>
                    <a:pt x="950" y="975"/>
                  </a:lnTo>
                  <a:lnTo>
                    <a:pt x="932" y="978"/>
                  </a:lnTo>
                  <a:lnTo>
                    <a:pt x="913" y="975"/>
                  </a:lnTo>
                  <a:lnTo>
                    <a:pt x="895" y="968"/>
                  </a:lnTo>
                  <a:lnTo>
                    <a:pt x="879" y="956"/>
                  </a:lnTo>
                  <a:lnTo>
                    <a:pt x="695" y="772"/>
                  </a:lnTo>
                  <a:lnTo>
                    <a:pt x="510" y="956"/>
                  </a:lnTo>
                  <a:lnTo>
                    <a:pt x="494" y="968"/>
                  </a:lnTo>
                  <a:lnTo>
                    <a:pt x="478" y="975"/>
                  </a:lnTo>
                  <a:lnTo>
                    <a:pt x="459" y="978"/>
                  </a:lnTo>
                  <a:lnTo>
                    <a:pt x="440" y="975"/>
                  </a:lnTo>
                  <a:lnTo>
                    <a:pt x="422" y="967"/>
                  </a:lnTo>
                  <a:lnTo>
                    <a:pt x="406" y="956"/>
                  </a:lnTo>
                  <a:lnTo>
                    <a:pt x="395" y="940"/>
                  </a:lnTo>
                  <a:lnTo>
                    <a:pt x="387" y="922"/>
                  </a:lnTo>
                  <a:lnTo>
                    <a:pt x="385" y="903"/>
                  </a:lnTo>
                  <a:lnTo>
                    <a:pt x="387" y="885"/>
                  </a:lnTo>
                  <a:lnTo>
                    <a:pt x="395" y="867"/>
                  </a:lnTo>
                  <a:lnTo>
                    <a:pt x="406" y="852"/>
                  </a:lnTo>
                  <a:lnTo>
                    <a:pt x="591" y="669"/>
                  </a:lnTo>
                  <a:lnTo>
                    <a:pt x="406" y="485"/>
                  </a:lnTo>
                  <a:lnTo>
                    <a:pt x="395" y="469"/>
                  </a:lnTo>
                  <a:lnTo>
                    <a:pt x="387" y="453"/>
                  </a:lnTo>
                  <a:lnTo>
                    <a:pt x="385" y="434"/>
                  </a:lnTo>
                  <a:lnTo>
                    <a:pt x="387" y="415"/>
                  </a:lnTo>
                  <a:lnTo>
                    <a:pt x="395" y="397"/>
                  </a:lnTo>
                  <a:lnTo>
                    <a:pt x="406" y="381"/>
                  </a:lnTo>
                  <a:lnTo>
                    <a:pt x="422" y="370"/>
                  </a:lnTo>
                  <a:lnTo>
                    <a:pt x="440" y="362"/>
                  </a:lnTo>
                  <a:lnTo>
                    <a:pt x="459" y="360"/>
                  </a:lnTo>
                  <a:lnTo>
                    <a:pt x="477" y="362"/>
                  </a:lnTo>
                  <a:lnTo>
                    <a:pt x="494" y="370"/>
                  </a:lnTo>
                  <a:lnTo>
                    <a:pt x="510" y="381"/>
                  </a:lnTo>
                  <a:lnTo>
                    <a:pt x="695" y="565"/>
                  </a:lnTo>
                  <a:lnTo>
                    <a:pt x="879" y="381"/>
                  </a:lnTo>
                  <a:lnTo>
                    <a:pt x="895" y="370"/>
                  </a:lnTo>
                  <a:lnTo>
                    <a:pt x="913" y="362"/>
                  </a:lnTo>
                  <a:lnTo>
                    <a:pt x="932" y="360"/>
                  </a:lnTo>
                  <a:lnTo>
                    <a:pt x="950" y="362"/>
                  </a:lnTo>
                  <a:lnTo>
                    <a:pt x="967" y="370"/>
                  </a:lnTo>
                  <a:lnTo>
                    <a:pt x="983" y="381"/>
                  </a:lnTo>
                  <a:lnTo>
                    <a:pt x="996" y="397"/>
                  </a:lnTo>
                  <a:lnTo>
                    <a:pt x="1003" y="415"/>
                  </a:lnTo>
                  <a:lnTo>
                    <a:pt x="1005" y="434"/>
                  </a:lnTo>
                  <a:lnTo>
                    <a:pt x="1002" y="453"/>
                  </a:lnTo>
                  <a:lnTo>
                    <a:pt x="996" y="469"/>
                  </a:lnTo>
                  <a:lnTo>
                    <a:pt x="983" y="485"/>
                  </a:lnTo>
                  <a:lnTo>
                    <a:pt x="800" y="669"/>
                  </a:lnTo>
                  <a:lnTo>
                    <a:pt x="983" y="85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2"/>
            <p:cNvSpPr>
              <a:spLocks noEditPoints="1"/>
            </p:cNvSpPr>
            <p:nvPr/>
          </p:nvSpPr>
          <p:spPr bwMode="auto">
            <a:xfrm>
              <a:off x="519" y="2604"/>
              <a:ext cx="240" cy="310"/>
            </a:xfrm>
            <a:custGeom>
              <a:avLst/>
              <a:gdLst>
                <a:gd name="T0" fmla="*/ 1929 w 2401"/>
                <a:gd name="T1" fmla="*/ 2655 h 3104"/>
                <a:gd name="T2" fmla="*/ 1988 w 2401"/>
                <a:gd name="T3" fmla="*/ 2464 h 3104"/>
                <a:gd name="T4" fmla="*/ 2091 w 2401"/>
                <a:gd name="T5" fmla="*/ 2297 h 3104"/>
                <a:gd name="T6" fmla="*/ 2230 w 2401"/>
                <a:gd name="T7" fmla="*/ 2158 h 3104"/>
                <a:gd name="T8" fmla="*/ 2401 w 2401"/>
                <a:gd name="T9" fmla="*/ 2055 h 3104"/>
                <a:gd name="T10" fmla="*/ 2392 w 2401"/>
                <a:gd name="T11" fmla="*/ 2 h 3104"/>
                <a:gd name="T12" fmla="*/ 8 w 2401"/>
                <a:gd name="T13" fmla="*/ 2 h 3104"/>
                <a:gd name="T14" fmla="*/ 0 w 2401"/>
                <a:gd name="T15" fmla="*/ 3086 h 3104"/>
                <a:gd name="T16" fmla="*/ 18 w 2401"/>
                <a:gd name="T17" fmla="*/ 3104 h 3104"/>
                <a:gd name="T18" fmla="*/ 1941 w 2401"/>
                <a:gd name="T19" fmla="*/ 2984 h 3104"/>
                <a:gd name="T20" fmla="*/ 1917 w 2401"/>
                <a:gd name="T21" fmla="*/ 2792 h 3104"/>
                <a:gd name="T22" fmla="*/ 1877 w 2401"/>
                <a:gd name="T23" fmla="*/ 510 h 3104"/>
                <a:gd name="T24" fmla="*/ 1921 w 2401"/>
                <a:gd name="T25" fmla="*/ 545 h 3104"/>
                <a:gd name="T26" fmla="*/ 1928 w 2401"/>
                <a:gd name="T27" fmla="*/ 602 h 3104"/>
                <a:gd name="T28" fmla="*/ 1894 w 2401"/>
                <a:gd name="T29" fmla="*/ 646 h 3104"/>
                <a:gd name="T30" fmla="*/ 543 w 2401"/>
                <a:gd name="T31" fmla="*/ 655 h 3104"/>
                <a:gd name="T32" fmla="*/ 492 w 2401"/>
                <a:gd name="T33" fmla="*/ 634 h 3104"/>
                <a:gd name="T34" fmla="*/ 470 w 2401"/>
                <a:gd name="T35" fmla="*/ 582 h 3104"/>
                <a:gd name="T36" fmla="*/ 492 w 2401"/>
                <a:gd name="T37" fmla="*/ 530 h 3104"/>
                <a:gd name="T38" fmla="*/ 543 w 2401"/>
                <a:gd name="T39" fmla="*/ 508 h 3104"/>
                <a:gd name="T40" fmla="*/ 1877 w 2401"/>
                <a:gd name="T41" fmla="*/ 996 h 3104"/>
                <a:gd name="T42" fmla="*/ 1921 w 2401"/>
                <a:gd name="T43" fmla="*/ 1029 h 3104"/>
                <a:gd name="T44" fmla="*/ 1928 w 2401"/>
                <a:gd name="T45" fmla="*/ 1086 h 3104"/>
                <a:gd name="T46" fmla="*/ 1894 w 2401"/>
                <a:gd name="T47" fmla="*/ 1130 h 3104"/>
                <a:gd name="T48" fmla="*/ 543 w 2401"/>
                <a:gd name="T49" fmla="*/ 1141 h 3104"/>
                <a:gd name="T50" fmla="*/ 492 w 2401"/>
                <a:gd name="T51" fmla="*/ 1119 h 3104"/>
                <a:gd name="T52" fmla="*/ 470 w 2401"/>
                <a:gd name="T53" fmla="*/ 1067 h 3104"/>
                <a:gd name="T54" fmla="*/ 492 w 2401"/>
                <a:gd name="T55" fmla="*/ 1015 h 3104"/>
                <a:gd name="T56" fmla="*/ 543 w 2401"/>
                <a:gd name="T57" fmla="*/ 994 h 3104"/>
                <a:gd name="T58" fmla="*/ 1877 w 2401"/>
                <a:gd name="T59" fmla="*/ 1481 h 3104"/>
                <a:gd name="T60" fmla="*/ 1921 w 2401"/>
                <a:gd name="T61" fmla="*/ 1515 h 3104"/>
                <a:gd name="T62" fmla="*/ 1928 w 2401"/>
                <a:gd name="T63" fmla="*/ 1571 h 3104"/>
                <a:gd name="T64" fmla="*/ 1894 w 2401"/>
                <a:gd name="T65" fmla="*/ 1616 h 3104"/>
                <a:gd name="T66" fmla="*/ 543 w 2401"/>
                <a:gd name="T67" fmla="*/ 1626 h 3104"/>
                <a:gd name="T68" fmla="*/ 492 w 2401"/>
                <a:gd name="T69" fmla="*/ 1604 h 3104"/>
                <a:gd name="T70" fmla="*/ 470 w 2401"/>
                <a:gd name="T71" fmla="*/ 1551 h 3104"/>
                <a:gd name="T72" fmla="*/ 492 w 2401"/>
                <a:gd name="T73" fmla="*/ 1500 h 3104"/>
                <a:gd name="T74" fmla="*/ 543 w 2401"/>
                <a:gd name="T75" fmla="*/ 1478 h 3104"/>
                <a:gd name="T76" fmla="*/ 1877 w 2401"/>
                <a:gd name="T77" fmla="*/ 1966 h 3104"/>
                <a:gd name="T78" fmla="*/ 1921 w 2401"/>
                <a:gd name="T79" fmla="*/ 2000 h 3104"/>
                <a:gd name="T80" fmla="*/ 1928 w 2401"/>
                <a:gd name="T81" fmla="*/ 2057 h 3104"/>
                <a:gd name="T82" fmla="*/ 1894 w 2401"/>
                <a:gd name="T83" fmla="*/ 2101 h 3104"/>
                <a:gd name="T84" fmla="*/ 543 w 2401"/>
                <a:gd name="T85" fmla="*/ 2110 h 3104"/>
                <a:gd name="T86" fmla="*/ 492 w 2401"/>
                <a:gd name="T87" fmla="*/ 2089 h 3104"/>
                <a:gd name="T88" fmla="*/ 470 w 2401"/>
                <a:gd name="T89" fmla="*/ 2037 h 3104"/>
                <a:gd name="T90" fmla="*/ 492 w 2401"/>
                <a:gd name="T91" fmla="*/ 1985 h 3104"/>
                <a:gd name="T92" fmla="*/ 543 w 2401"/>
                <a:gd name="T93" fmla="*/ 1963 h 3104"/>
                <a:gd name="T94" fmla="*/ 524 w 2401"/>
                <a:gd name="T95" fmla="*/ 2592 h 3104"/>
                <a:gd name="T96" fmla="*/ 480 w 2401"/>
                <a:gd name="T97" fmla="*/ 2559 h 3104"/>
                <a:gd name="T98" fmla="*/ 473 w 2401"/>
                <a:gd name="T99" fmla="*/ 2502 h 3104"/>
                <a:gd name="T100" fmla="*/ 507 w 2401"/>
                <a:gd name="T101" fmla="*/ 2458 h 3104"/>
                <a:gd name="T102" fmla="*/ 1857 w 2401"/>
                <a:gd name="T103" fmla="*/ 2448 h 3104"/>
                <a:gd name="T104" fmla="*/ 1909 w 2401"/>
                <a:gd name="T105" fmla="*/ 2469 h 3104"/>
                <a:gd name="T106" fmla="*/ 1930 w 2401"/>
                <a:gd name="T107" fmla="*/ 2522 h 3104"/>
                <a:gd name="T108" fmla="*/ 1909 w 2401"/>
                <a:gd name="T109" fmla="*/ 2573 h 3104"/>
                <a:gd name="T110" fmla="*/ 1857 w 2401"/>
                <a:gd name="T111" fmla="*/ 2596 h 3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01" h="3104">
                  <a:moveTo>
                    <a:pt x="1917" y="2792"/>
                  </a:moveTo>
                  <a:lnTo>
                    <a:pt x="1920" y="2723"/>
                  </a:lnTo>
                  <a:lnTo>
                    <a:pt x="1929" y="2655"/>
                  </a:lnTo>
                  <a:lnTo>
                    <a:pt x="1943" y="2589"/>
                  </a:lnTo>
                  <a:lnTo>
                    <a:pt x="1963" y="2526"/>
                  </a:lnTo>
                  <a:lnTo>
                    <a:pt x="1988" y="2464"/>
                  </a:lnTo>
                  <a:lnTo>
                    <a:pt x="2017" y="2405"/>
                  </a:lnTo>
                  <a:lnTo>
                    <a:pt x="2052" y="2350"/>
                  </a:lnTo>
                  <a:lnTo>
                    <a:pt x="2091" y="2297"/>
                  </a:lnTo>
                  <a:lnTo>
                    <a:pt x="2134" y="2247"/>
                  </a:lnTo>
                  <a:lnTo>
                    <a:pt x="2180" y="2201"/>
                  </a:lnTo>
                  <a:lnTo>
                    <a:pt x="2230" y="2158"/>
                  </a:lnTo>
                  <a:lnTo>
                    <a:pt x="2284" y="2119"/>
                  </a:lnTo>
                  <a:lnTo>
                    <a:pt x="2341" y="2084"/>
                  </a:lnTo>
                  <a:lnTo>
                    <a:pt x="2401" y="2055"/>
                  </a:lnTo>
                  <a:lnTo>
                    <a:pt x="2401" y="18"/>
                  </a:lnTo>
                  <a:lnTo>
                    <a:pt x="2398" y="8"/>
                  </a:lnTo>
                  <a:lnTo>
                    <a:pt x="2392" y="2"/>
                  </a:lnTo>
                  <a:lnTo>
                    <a:pt x="2382" y="0"/>
                  </a:lnTo>
                  <a:lnTo>
                    <a:pt x="18" y="0"/>
                  </a:lnTo>
                  <a:lnTo>
                    <a:pt x="8" y="2"/>
                  </a:lnTo>
                  <a:lnTo>
                    <a:pt x="2" y="8"/>
                  </a:lnTo>
                  <a:lnTo>
                    <a:pt x="0" y="18"/>
                  </a:lnTo>
                  <a:lnTo>
                    <a:pt x="0" y="3086"/>
                  </a:lnTo>
                  <a:lnTo>
                    <a:pt x="2" y="3096"/>
                  </a:lnTo>
                  <a:lnTo>
                    <a:pt x="8" y="3102"/>
                  </a:lnTo>
                  <a:lnTo>
                    <a:pt x="18" y="3104"/>
                  </a:lnTo>
                  <a:lnTo>
                    <a:pt x="1982" y="3104"/>
                  </a:lnTo>
                  <a:lnTo>
                    <a:pt x="1959" y="3045"/>
                  </a:lnTo>
                  <a:lnTo>
                    <a:pt x="1941" y="2984"/>
                  </a:lnTo>
                  <a:lnTo>
                    <a:pt x="1928" y="2922"/>
                  </a:lnTo>
                  <a:lnTo>
                    <a:pt x="1920" y="2857"/>
                  </a:lnTo>
                  <a:lnTo>
                    <a:pt x="1917" y="2792"/>
                  </a:lnTo>
                  <a:close/>
                  <a:moveTo>
                    <a:pt x="543" y="508"/>
                  </a:moveTo>
                  <a:lnTo>
                    <a:pt x="1857" y="508"/>
                  </a:lnTo>
                  <a:lnTo>
                    <a:pt x="1877" y="510"/>
                  </a:lnTo>
                  <a:lnTo>
                    <a:pt x="1894" y="519"/>
                  </a:lnTo>
                  <a:lnTo>
                    <a:pt x="1909" y="529"/>
                  </a:lnTo>
                  <a:lnTo>
                    <a:pt x="1921" y="545"/>
                  </a:lnTo>
                  <a:lnTo>
                    <a:pt x="1928" y="562"/>
                  </a:lnTo>
                  <a:lnTo>
                    <a:pt x="1930" y="582"/>
                  </a:lnTo>
                  <a:lnTo>
                    <a:pt x="1928" y="602"/>
                  </a:lnTo>
                  <a:lnTo>
                    <a:pt x="1921" y="619"/>
                  </a:lnTo>
                  <a:lnTo>
                    <a:pt x="1909" y="634"/>
                  </a:lnTo>
                  <a:lnTo>
                    <a:pt x="1894" y="646"/>
                  </a:lnTo>
                  <a:lnTo>
                    <a:pt x="1877" y="653"/>
                  </a:lnTo>
                  <a:lnTo>
                    <a:pt x="1857" y="655"/>
                  </a:lnTo>
                  <a:lnTo>
                    <a:pt x="543" y="655"/>
                  </a:lnTo>
                  <a:lnTo>
                    <a:pt x="524" y="653"/>
                  </a:lnTo>
                  <a:lnTo>
                    <a:pt x="507" y="646"/>
                  </a:lnTo>
                  <a:lnTo>
                    <a:pt x="492" y="634"/>
                  </a:lnTo>
                  <a:lnTo>
                    <a:pt x="480" y="619"/>
                  </a:lnTo>
                  <a:lnTo>
                    <a:pt x="473" y="602"/>
                  </a:lnTo>
                  <a:lnTo>
                    <a:pt x="470" y="582"/>
                  </a:lnTo>
                  <a:lnTo>
                    <a:pt x="473" y="562"/>
                  </a:lnTo>
                  <a:lnTo>
                    <a:pt x="480" y="545"/>
                  </a:lnTo>
                  <a:lnTo>
                    <a:pt x="492" y="530"/>
                  </a:lnTo>
                  <a:lnTo>
                    <a:pt x="507" y="519"/>
                  </a:lnTo>
                  <a:lnTo>
                    <a:pt x="524" y="512"/>
                  </a:lnTo>
                  <a:lnTo>
                    <a:pt x="543" y="508"/>
                  </a:lnTo>
                  <a:close/>
                  <a:moveTo>
                    <a:pt x="543" y="994"/>
                  </a:moveTo>
                  <a:lnTo>
                    <a:pt x="1857" y="994"/>
                  </a:lnTo>
                  <a:lnTo>
                    <a:pt x="1877" y="996"/>
                  </a:lnTo>
                  <a:lnTo>
                    <a:pt x="1894" y="1003"/>
                  </a:lnTo>
                  <a:lnTo>
                    <a:pt x="1909" y="1015"/>
                  </a:lnTo>
                  <a:lnTo>
                    <a:pt x="1921" y="1029"/>
                  </a:lnTo>
                  <a:lnTo>
                    <a:pt x="1928" y="1047"/>
                  </a:lnTo>
                  <a:lnTo>
                    <a:pt x="1930" y="1067"/>
                  </a:lnTo>
                  <a:lnTo>
                    <a:pt x="1928" y="1086"/>
                  </a:lnTo>
                  <a:lnTo>
                    <a:pt x="1921" y="1104"/>
                  </a:lnTo>
                  <a:lnTo>
                    <a:pt x="1909" y="1119"/>
                  </a:lnTo>
                  <a:lnTo>
                    <a:pt x="1894" y="1130"/>
                  </a:lnTo>
                  <a:lnTo>
                    <a:pt x="1877" y="1138"/>
                  </a:lnTo>
                  <a:lnTo>
                    <a:pt x="1857" y="1141"/>
                  </a:lnTo>
                  <a:lnTo>
                    <a:pt x="543" y="1141"/>
                  </a:lnTo>
                  <a:lnTo>
                    <a:pt x="524" y="1138"/>
                  </a:lnTo>
                  <a:lnTo>
                    <a:pt x="507" y="1130"/>
                  </a:lnTo>
                  <a:lnTo>
                    <a:pt x="492" y="1119"/>
                  </a:lnTo>
                  <a:lnTo>
                    <a:pt x="480" y="1104"/>
                  </a:lnTo>
                  <a:lnTo>
                    <a:pt x="473" y="1086"/>
                  </a:lnTo>
                  <a:lnTo>
                    <a:pt x="470" y="1067"/>
                  </a:lnTo>
                  <a:lnTo>
                    <a:pt x="473" y="1047"/>
                  </a:lnTo>
                  <a:lnTo>
                    <a:pt x="480" y="1029"/>
                  </a:lnTo>
                  <a:lnTo>
                    <a:pt x="492" y="1015"/>
                  </a:lnTo>
                  <a:lnTo>
                    <a:pt x="507" y="1003"/>
                  </a:lnTo>
                  <a:lnTo>
                    <a:pt x="524" y="996"/>
                  </a:lnTo>
                  <a:lnTo>
                    <a:pt x="543" y="994"/>
                  </a:lnTo>
                  <a:close/>
                  <a:moveTo>
                    <a:pt x="543" y="1478"/>
                  </a:moveTo>
                  <a:lnTo>
                    <a:pt x="1857" y="1478"/>
                  </a:lnTo>
                  <a:lnTo>
                    <a:pt x="1877" y="1481"/>
                  </a:lnTo>
                  <a:lnTo>
                    <a:pt x="1894" y="1488"/>
                  </a:lnTo>
                  <a:lnTo>
                    <a:pt x="1909" y="1500"/>
                  </a:lnTo>
                  <a:lnTo>
                    <a:pt x="1921" y="1515"/>
                  </a:lnTo>
                  <a:lnTo>
                    <a:pt x="1928" y="1533"/>
                  </a:lnTo>
                  <a:lnTo>
                    <a:pt x="1930" y="1551"/>
                  </a:lnTo>
                  <a:lnTo>
                    <a:pt x="1928" y="1571"/>
                  </a:lnTo>
                  <a:lnTo>
                    <a:pt x="1921" y="1589"/>
                  </a:lnTo>
                  <a:lnTo>
                    <a:pt x="1909" y="1604"/>
                  </a:lnTo>
                  <a:lnTo>
                    <a:pt x="1894" y="1616"/>
                  </a:lnTo>
                  <a:lnTo>
                    <a:pt x="1877" y="1623"/>
                  </a:lnTo>
                  <a:lnTo>
                    <a:pt x="1857" y="1626"/>
                  </a:lnTo>
                  <a:lnTo>
                    <a:pt x="543" y="1626"/>
                  </a:lnTo>
                  <a:lnTo>
                    <a:pt x="524" y="1623"/>
                  </a:lnTo>
                  <a:lnTo>
                    <a:pt x="507" y="1616"/>
                  </a:lnTo>
                  <a:lnTo>
                    <a:pt x="492" y="1604"/>
                  </a:lnTo>
                  <a:lnTo>
                    <a:pt x="480" y="1589"/>
                  </a:lnTo>
                  <a:lnTo>
                    <a:pt x="473" y="1571"/>
                  </a:lnTo>
                  <a:lnTo>
                    <a:pt x="470" y="1551"/>
                  </a:lnTo>
                  <a:lnTo>
                    <a:pt x="473" y="1533"/>
                  </a:lnTo>
                  <a:lnTo>
                    <a:pt x="480" y="1515"/>
                  </a:lnTo>
                  <a:lnTo>
                    <a:pt x="492" y="1500"/>
                  </a:lnTo>
                  <a:lnTo>
                    <a:pt x="507" y="1488"/>
                  </a:lnTo>
                  <a:lnTo>
                    <a:pt x="524" y="1481"/>
                  </a:lnTo>
                  <a:lnTo>
                    <a:pt x="543" y="1478"/>
                  </a:lnTo>
                  <a:close/>
                  <a:moveTo>
                    <a:pt x="543" y="1963"/>
                  </a:moveTo>
                  <a:lnTo>
                    <a:pt x="1857" y="1963"/>
                  </a:lnTo>
                  <a:lnTo>
                    <a:pt x="1877" y="1966"/>
                  </a:lnTo>
                  <a:lnTo>
                    <a:pt x="1894" y="1974"/>
                  </a:lnTo>
                  <a:lnTo>
                    <a:pt x="1909" y="1985"/>
                  </a:lnTo>
                  <a:lnTo>
                    <a:pt x="1921" y="2000"/>
                  </a:lnTo>
                  <a:lnTo>
                    <a:pt x="1928" y="2017"/>
                  </a:lnTo>
                  <a:lnTo>
                    <a:pt x="1930" y="2037"/>
                  </a:lnTo>
                  <a:lnTo>
                    <a:pt x="1928" y="2057"/>
                  </a:lnTo>
                  <a:lnTo>
                    <a:pt x="1921" y="2073"/>
                  </a:lnTo>
                  <a:lnTo>
                    <a:pt x="1909" y="2089"/>
                  </a:lnTo>
                  <a:lnTo>
                    <a:pt x="1894" y="2101"/>
                  </a:lnTo>
                  <a:lnTo>
                    <a:pt x="1877" y="2108"/>
                  </a:lnTo>
                  <a:lnTo>
                    <a:pt x="1857" y="2110"/>
                  </a:lnTo>
                  <a:lnTo>
                    <a:pt x="543" y="2110"/>
                  </a:lnTo>
                  <a:lnTo>
                    <a:pt x="524" y="2108"/>
                  </a:lnTo>
                  <a:lnTo>
                    <a:pt x="507" y="2101"/>
                  </a:lnTo>
                  <a:lnTo>
                    <a:pt x="492" y="2089"/>
                  </a:lnTo>
                  <a:lnTo>
                    <a:pt x="480" y="2073"/>
                  </a:lnTo>
                  <a:lnTo>
                    <a:pt x="473" y="2057"/>
                  </a:lnTo>
                  <a:lnTo>
                    <a:pt x="470" y="2037"/>
                  </a:lnTo>
                  <a:lnTo>
                    <a:pt x="473" y="2017"/>
                  </a:lnTo>
                  <a:lnTo>
                    <a:pt x="480" y="2000"/>
                  </a:lnTo>
                  <a:lnTo>
                    <a:pt x="492" y="1985"/>
                  </a:lnTo>
                  <a:lnTo>
                    <a:pt x="507" y="1974"/>
                  </a:lnTo>
                  <a:lnTo>
                    <a:pt x="524" y="1966"/>
                  </a:lnTo>
                  <a:lnTo>
                    <a:pt x="543" y="1963"/>
                  </a:lnTo>
                  <a:close/>
                  <a:moveTo>
                    <a:pt x="1857" y="2596"/>
                  </a:moveTo>
                  <a:lnTo>
                    <a:pt x="543" y="2596"/>
                  </a:lnTo>
                  <a:lnTo>
                    <a:pt x="524" y="2592"/>
                  </a:lnTo>
                  <a:lnTo>
                    <a:pt x="507" y="2585"/>
                  </a:lnTo>
                  <a:lnTo>
                    <a:pt x="492" y="2573"/>
                  </a:lnTo>
                  <a:lnTo>
                    <a:pt x="480" y="2559"/>
                  </a:lnTo>
                  <a:lnTo>
                    <a:pt x="473" y="2542"/>
                  </a:lnTo>
                  <a:lnTo>
                    <a:pt x="470" y="2522"/>
                  </a:lnTo>
                  <a:lnTo>
                    <a:pt x="473" y="2502"/>
                  </a:lnTo>
                  <a:lnTo>
                    <a:pt x="480" y="2485"/>
                  </a:lnTo>
                  <a:lnTo>
                    <a:pt x="492" y="2469"/>
                  </a:lnTo>
                  <a:lnTo>
                    <a:pt x="507" y="2458"/>
                  </a:lnTo>
                  <a:lnTo>
                    <a:pt x="524" y="2451"/>
                  </a:lnTo>
                  <a:lnTo>
                    <a:pt x="543" y="2448"/>
                  </a:lnTo>
                  <a:lnTo>
                    <a:pt x="1857" y="2448"/>
                  </a:lnTo>
                  <a:lnTo>
                    <a:pt x="1877" y="2451"/>
                  </a:lnTo>
                  <a:lnTo>
                    <a:pt x="1894" y="2458"/>
                  </a:lnTo>
                  <a:lnTo>
                    <a:pt x="1909" y="2469"/>
                  </a:lnTo>
                  <a:lnTo>
                    <a:pt x="1921" y="2485"/>
                  </a:lnTo>
                  <a:lnTo>
                    <a:pt x="1928" y="2502"/>
                  </a:lnTo>
                  <a:lnTo>
                    <a:pt x="1930" y="2522"/>
                  </a:lnTo>
                  <a:lnTo>
                    <a:pt x="1928" y="2542"/>
                  </a:lnTo>
                  <a:lnTo>
                    <a:pt x="1921" y="2559"/>
                  </a:lnTo>
                  <a:lnTo>
                    <a:pt x="1909" y="2573"/>
                  </a:lnTo>
                  <a:lnTo>
                    <a:pt x="1894" y="2585"/>
                  </a:lnTo>
                  <a:lnTo>
                    <a:pt x="1877" y="2592"/>
                  </a:lnTo>
                  <a:lnTo>
                    <a:pt x="1857" y="259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796464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  BENEFIT 5:  ESTATE PLANNING FLEXIBI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14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609600" y="2104570"/>
            <a:ext cx="2568102" cy="40676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731520" rIns="91440" bIns="91440" rtlCol="0" anchor="t"/>
          <a:lstStyle/>
          <a:p>
            <a:pPr algn="ctr"/>
            <a:endParaRPr lang="en-US" sz="2400" dirty="0">
              <a:solidFill>
                <a:schemeClr val="tx1"/>
              </a:solidFill>
            </a:endParaRPr>
          </a:p>
          <a:p>
            <a:pPr algn="ctr"/>
            <a:r>
              <a:rPr lang="en-US" sz="2400" dirty="0">
                <a:solidFill>
                  <a:schemeClr val="tx1"/>
                </a:solidFill>
              </a:rPr>
              <a:t>TRUST CONTINUES FOLLOWING DEATH OF ONE OF THE BENEFICIARIES</a:t>
            </a:r>
          </a:p>
        </p:txBody>
      </p:sp>
      <p:sp>
        <p:nvSpPr>
          <p:cNvPr id="7" name="Rectangle 6"/>
          <p:cNvSpPr/>
          <p:nvPr/>
        </p:nvSpPr>
        <p:spPr>
          <a:xfrm>
            <a:off x="3411166" y="2104570"/>
            <a:ext cx="2568102" cy="40676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731520" rIns="91440" bIns="91440" rtlCol="0" anchor="t"/>
          <a:lstStyle/>
          <a:p>
            <a:pPr algn="ctr"/>
            <a:endParaRPr lang="en-US" sz="2000" dirty="0">
              <a:solidFill>
                <a:schemeClr val="tx1"/>
              </a:solidFill>
            </a:endParaRPr>
          </a:p>
          <a:p>
            <a:pPr algn="ctr"/>
            <a:r>
              <a:rPr lang="en-US" sz="2400" dirty="0">
                <a:solidFill>
                  <a:schemeClr val="tx1"/>
                </a:solidFill>
              </a:rPr>
              <a:t>ESTATE TAXES ARE NOT TRIGGERED</a:t>
            </a:r>
          </a:p>
        </p:txBody>
      </p:sp>
      <p:sp>
        <p:nvSpPr>
          <p:cNvPr id="8" name="Rectangle 7"/>
          <p:cNvSpPr/>
          <p:nvPr/>
        </p:nvSpPr>
        <p:spPr>
          <a:xfrm>
            <a:off x="6212732" y="2104570"/>
            <a:ext cx="2568102" cy="40676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731520" rIns="91440" bIns="91440" rtlCol="0" anchor="t"/>
          <a:lstStyle/>
          <a:p>
            <a:pPr algn="ctr"/>
            <a:endParaRPr lang="en-US" sz="2400" dirty="0">
              <a:solidFill>
                <a:schemeClr val="tx1"/>
              </a:solidFill>
            </a:endParaRPr>
          </a:p>
          <a:p>
            <a:pPr algn="ctr"/>
            <a:r>
              <a:rPr lang="en-US" sz="2400" dirty="0">
                <a:solidFill>
                  <a:schemeClr val="tx1"/>
                </a:solidFill>
              </a:rPr>
              <a:t>PEACE OF MIND</a:t>
            </a:r>
          </a:p>
          <a:p>
            <a:pPr algn="ctr"/>
            <a:endParaRPr lang="en-US" sz="2400" dirty="0">
              <a:solidFill>
                <a:schemeClr val="tx1"/>
              </a:solidFill>
            </a:endParaRPr>
          </a:p>
          <a:p>
            <a:pPr algn="ctr"/>
            <a:r>
              <a:rPr lang="en-US" sz="2400" dirty="0">
                <a:solidFill>
                  <a:schemeClr val="tx1"/>
                </a:solidFill>
              </a:rPr>
              <a:t>SATISFACTION</a:t>
            </a:r>
          </a:p>
          <a:p>
            <a:pPr algn="ctr"/>
            <a:endParaRPr lang="en-US" sz="2400" dirty="0">
              <a:solidFill>
                <a:schemeClr val="tx1"/>
              </a:solidFill>
            </a:endParaRPr>
          </a:p>
          <a:p>
            <a:pPr algn="ctr"/>
            <a:r>
              <a:rPr lang="en-US" sz="2400" dirty="0">
                <a:solidFill>
                  <a:schemeClr val="tx1"/>
                </a:solidFill>
              </a:rPr>
              <a:t>MINIMUM TAX </a:t>
            </a:r>
          </a:p>
          <a:p>
            <a:pPr algn="ctr"/>
            <a:r>
              <a:rPr lang="en-US" sz="2400" dirty="0">
                <a:solidFill>
                  <a:schemeClr val="tx1"/>
                </a:solidFill>
              </a:rPr>
              <a:t>LIABILITY</a:t>
            </a:r>
          </a:p>
        </p:txBody>
      </p:sp>
      <p:sp>
        <p:nvSpPr>
          <p:cNvPr id="9" name="Rectangle 8"/>
          <p:cNvSpPr/>
          <p:nvPr/>
        </p:nvSpPr>
        <p:spPr>
          <a:xfrm>
            <a:off x="9014298" y="2104570"/>
            <a:ext cx="2568102" cy="40676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731520" rIns="91440" bIns="91440" rtlCol="0" anchor="t"/>
          <a:lstStyle/>
          <a:p>
            <a:pPr algn="ctr"/>
            <a:endParaRPr lang="en-US" sz="2000" dirty="0">
              <a:solidFill>
                <a:schemeClr val="tx1"/>
              </a:solidFill>
            </a:endParaRPr>
          </a:p>
          <a:p>
            <a:pPr algn="ctr"/>
            <a:endParaRPr lang="en-US" sz="2400" dirty="0">
              <a:solidFill>
                <a:schemeClr val="tx1"/>
              </a:solidFill>
            </a:endParaRPr>
          </a:p>
          <a:p>
            <a:pPr algn="ctr"/>
            <a:r>
              <a:rPr lang="en-US" sz="2400" dirty="0">
                <a:solidFill>
                  <a:schemeClr val="tx1"/>
                </a:solidFill>
              </a:rPr>
              <a:t>LIFE ESTATE</a:t>
            </a:r>
            <a:r>
              <a:rPr lang="en-US" sz="20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0" name="Rectangle 9"/>
          <p:cNvSpPr/>
          <p:nvPr/>
        </p:nvSpPr>
        <p:spPr>
          <a:xfrm>
            <a:off x="609600" y="6082336"/>
            <a:ext cx="2568102" cy="89864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3411166" y="6082336"/>
            <a:ext cx="2568102" cy="89864"/>
          </a:xfrm>
          <a:prstGeom prst="rect">
            <a:avLst/>
          </a:prstGeom>
          <a:solidFill>
            <a:srgbClr val="2686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6212732" y="6082336"/>
            <a:ext cx="2568102" cy="89864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9014298" y="6082336"/>
            <a:ext cx="2568102" cy="89864"/>
          </a:xfrm>
          <a:prstGeom prst="rect">
            <a:avLst/>
          </a:prstGeom>
          <a:solidFill>
            <a:srgbClr val="2686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1204687" y="1447800"/>
            <a:ext cx="1161142" cy="1161142"/>
          </a:xfrm>
          <a:prstGeom prst="ellipse">
            <a:avLst/>
          </a:prstGeom>
          <a:solidFill>
            <a:srgbClr val="00569B"/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/>
          <p:cNvSpPr/>
          <p:nvPr/>
        </p:nvSpPr>
        <p:spPr>
          <a:xfrm>
            <a:off x="4042384" y="1447800"/>
            <a:ext cx="1161142" cy="1161142"/>
          </a:xfrm>
          <a:prstGeom prst="ellipse">
            <a:avLst/>
          </a:prstGeom>
          <a:solidFill>
            <a:srgbClr val="26867C"/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/>
          <p:cNvSpPr/>
          <p:nvPr/>
        </p:nvSpPr>
        <p:spPr>
          <a:xfrm>
            <a:off x="6880081" y="1447800"/>
            <a:ext cx="1161142" cy="1161142"/>
          </a:xfrm>
          <a:prstGeom prst="ellipse">
            <a:avLst/>
          </a:prstGeom>
          <a:solidFill>
            <a:srgbClr val="00569B"/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/>
          <p:cNvSpPr/>
          <p:nvPr/>
        </p:nvSpPr>
        <p:spPr>
          <a:xfrm>
            <a:off x="9717778" y="1447800"/>
            <a:ext cx="1161142" cy="1161142"/>
          </a:xfrm>
          <a:prstGeom prst="ellipse">
            <a:avLst/>
          </a:prstGeom>
          <a:solidFill>
            <a:srgbClr val="26867C"/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 20"/>
          <p:cNvSpPr>
            <a:spLocks noEditPoints="1"/>
          </p:cNvSpPr>
          <p:nvPr/>
        </p:nvSpPr>
        <p:spPr bwMode="auto">
          <a:xfrm>
            <a:off x="1491933" y="1735049"/>
            <a:ext cx="586651" cy="586645"/>
          </a:xfrm>
          <a:custGeom>
            <a:avLst/>
            <a:gdLst>
              <a:gd name="T0" fmla="*/ 1531 w 3402"/>
              <a:gd name="T1" fmla="*/ 2381 h 3402"/>
              <a:gd name="T2" fmla="*/ 1531 w 3402"/>
              <a:gd name="T3" fmla="*/ 1905 h 3402"/>
              <a:gd name="T4" fmla="*/ 1796 w 3402"/>
              <a:gd name="T5" fmla="*/ 3 h 3402"/>
              <a:gd name="T6" fmla="*/ 2076 w 3402"/>
              <a:gd name="T7" fmla="*/ 43 h 3402"/>
              <a:gd name="T8" fmla="*/ 2347 w 3402"/>
              <a:gd name="T9" fmla="*/ 119 h 3402"/>
              <a:gd name="T10" fmla="*/ 1931 w 3402"/>
              <a:gd name="T11" fmla="*/ 359 h 3402"/>
              <a:gd name="T12" fmla="*/ 1701 w 3402"/>
              <a:gd name="T13" fmla="*/ 340 h 3402"/>
              <a:gd name="T14" fmla="*/ 1428 w 3402"/>
              <a:gd name="T15" fmla="*/ 368 h 3402"/>
              <a:gd name="T16" fmla="*/ 1173 w 3402"/>
              <a:gd name="T17" fmla="*/ 448 h 3402"/>
              <a:gd name="T18" fmla="*/ 941 w 3402"/>
              <a:gd name="T19" fmla="*/ 574 h 3402"/>
              <a:gd name="T20" fmla="*/ 740 w 3402"/>
              <a:gd name="T21" fmla="*/ 740 h 3402"/>
              <a:gd name="T22" fmla="*/ 574 w 3402"/>
              <a:gd name="T23" fmla="*/ 941 h 3402"/>
              <a:gd name="T24" fmla="*/ 448 w 3402"/>
              <a:gd name="T25" fmla="*/ 1173 h 3402"/>
              <a:gd name="T26" fmla="*/ 368 w 3402"/>
              <a:gd name="T27" fmla="*/ 1428 h 3402"/>
              <a:gd name="T28" fmla="*/ 340 w 3402"/>
              <a:gd name="T29" fmla="*/ 1701 h 3402"/>
              <a:gd name="T30" fmla="*/ 368 w 3402"/>
              <a:gd name="T31" fmla="*/ 1974 h 3402"/>
              <a:gd name="T32" fmla="*/ 448 w 3402"/>
              <a:gd name="T33" fmla="*/ 2229 h 3402"/>
              <a:gd name="T34" fmla="*/ 574 w 3402"/>
              <a:gd name="T35" fmla="*/ 2461 h 3402"/>
              <a:gd name="T36" fmla="*/ 740 w 3402"/>
              <a:gd name="T37" fmla="*/ 2662 h 3402"/>
              <a:gd name="T38" fmla="*/ 941 w 3402"/>
              <a:gd name="T39" fmla="*/ 2828 h 3402"/>
              <a:gd name="T40" fmla="*/ 1173 w 3402"/>
              <a:gd name="T41" fmla="*/ 2954 h 3402"/>
              <a:gd name="T42" fmla="*/ 1428 w 3402"/>
              <a:gd name="T43" fmla="*/ 3034 h 3402"/>
              <a:gd name="T44" fmla="*/ 1701 w 3402"/>
              <a:gd name="T45" fmla="*/ 3062 h 3402"/>
              <a:gd name="T46" fmla="*/ 1974 w 3402"/>
              <a:gd name="T47" fmla="*/ 3034 h 3402"/>
              <a:gd name="T48" fmla="*/ 2229 w 3402"/>
              <a:gd name="T49" fmla="*/ 2954 h 3402"/>
              <a:gd name="T50" fmla="*/ 2461 w 3402"/>
              <a:gd name="T51" fmla="*/ 2828 h 3402"/>
              <a:gd name="T52" fmla="*/ 2662 w 3402"/>
              <a:gd name="T53" fmla="*/ 2662 h 3402"/>
              <a:gd name="T54" fmla="*/ 2828 w 3402"/>
              <a:gd name="T55" fmla="*/ 2461 h 3402"/>
              <a:gd name="T56" fmla="*/ 2954 w 3402"/>
              <a:gd name="T57" fmla="*/ 2229 h 3402"/>
              <a:gd name="T58" fmla="*/ 3034 w 3402"/>
              <a:gd name="T59" fmla="*/ 1974 h 3402"/>
              <a:gd name="T60" fmla="*/ 3062 w 3402"/>
              <a:gd name="T61" fmla="*/ 1701 h 3402"/>
              <a:gd name="T62" fmla="*/ 3390 w 3402"/>
              <a:gd name="T63" fmla="*/ 1906 h 3402"/>
              <a:gd name="T64" fmla="*/ 3327 w 3402"/>
              <a:gd name="T65" fmla="*/ 2199 h 3402"/>
              <a:gd name="T66" fmla="*/ 3215 w 3402"/>
              <a:gd name="T67" fmla="*/ 2472 h 3402"/>
              <a:gd name="T68" fmla="*/ 3061 w 3402"/>
              <a:gd name="T69" fmla="*/ 2720 h 3402"/>
              <a:gd name="T70" fmla="*/ 2867 w 3402"/>
              <a:gd name="T71" fmla="*/ 2936 h 3402"/>
              <a:gd name="T72" fmla="*/ 2640 w 3402"/>
              <a:gd name="T73" fmla="*/ 3117 h 3402"/>
              <a:gd name="T74" fmla="*/ 2383 w 3402"/>
              <a:gd name="T75" fmla="*/ 3258 h 3402"/>
              <a:gd name="T76" fmla="*/ 2103 w 3402"/>
              <a:gd name="T77" fmla="*/ 3354 h 3402"/>
              <a:gd name="T78" fmla="*/ 1804 w 3402"/>
              <a:gd name="T79" fmla="*/ 3399 h 3402"/>
              <a:gd name="T80" fmla="*/ 1496 w 3402"/>
              <a:gd name="T81" fmla="*/ 3390 h 3402"/>
              <a:gd name="T82" fmla="*/ 1203 w 3402"/>
              <a:gd name="T83" fmla="*/ 3327 h 3402"/>
              <a:gd name="T84" fmla="*/ 930 w 3402"/>
              <a:gd name="T85" fmla="*/ 3215 h 3402"/>
              <a:gd name="T86" fmla="*/ 682 w 3402"/>
              <a:gd name="T87" fmla="*/ 3061 h 3402"/>
              <a:gd name="T88" fmla="*/ 466 w 3402"/>
              <a:gd name="T89" fmla="*/ 2867 h 3402"/>
              <a:gd name="T90" fmla="*/ 285 w 3402"/>
              <a:gd name="T91" fmla="*/ 2640 h 3402"/>
              <a:gd name="T92" fmla="*/ 144 w 3402"/>
              <a:gd name="T93" fmla="*/ 2383 h 3402"/>
              <a:gd name="T94" fmla="*/ 48 w 3402"/>
              <a:gd name="T95" fmla="*/ 2103 h 3402"/>
              <a:gd name="T96" fmla="*/ 3 w 3402"/>
              <a:gd name="T97" fmla="*/ 1804 h 3402"/>
              <a:gd name="T98" fmla="*/ 12 w 3402"/>
              <a:gd name="T99" fmla="*/ 1496 h 3402"/>
              <a:gd name="T100" fmla="*/ 75 w 3402"/>
              <a:gd name="T101" fmla="*/ 1203 h 3402"/>
              <a:gd name="T102" fmla="*/ 187 w 3402"/>
              <a:gd name="T103" fmla="*/ 930 h 3402"/>
              <a:gd name="T104" fmla="*/ 341 w 3402"/>
              <a:gd name="T105" fmla="*/ 682 h 3402"/>
              <a:gd name="T106" fmla="*/ 535 w 3402"/>
              <a:gd name="T107" fmla="*/ 466 h 3402"/>
              <a:gd name="T108" fmla="*/ 762 w 3402"/>
              <a:gd name="T109" fmla="*/ 285 h 3402"/>
              <a:gd name="T110" fmla="*/ 1019 w 3402"/>
              <a:gd name="T111" fmla="*/ 144 h 3402"/>
              <a:gd name="T112" fmla="*/ 1299 w 3402"/>
              <a:gd name="T113" fmla="*/ 48 h 3402"/>
              <a:gd name="T114" fmla="*/ 1598 w 3402"/>
              <a:gd name="T115" fmla="*/ 3 h 34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02" h="3402">
                <a:moveTo>
                  <a:pt x="2994" y="442"/>
                </a:moveTo>
                <a:lnTo>
                  <a:pt x="3232" y="680"/>
                </a:lnTo>
                <a:lnTo>
                  <a:pt x="1531" y="2381"/>
                </a:lnTo>
                <a:lnTo>
                  <a:pt x="766" y="1616"/>
                </a:lnTo>
                <a:lnTo>
                  <a:pt x="1003" y="1377"/>
                </a:lnTo>
                <a:lnTo>
                  <a:pt x="1531" y="1905"/>
                </a:lnTo>
                <a:lnTo>
                  <a:pt x="2994" y="442"/>
                </a:lnTo>
                <a:close/>
                <a:moveTo>
                  <a:pt x="1701" y="0"/>
                </a:moveTo>
                <a:lnTo>
                  <a:pt x="1796" y="3"/>
                </a:lnTo>
                <a:lnTo>
                  <a:pt x="1890" y="11"/>
                </a:lnTo>
                <a:lnTo>
                  <a:pt x="1983" y="26"/>
                </a:lnTo>
                <a:lnTo>
                  <a:pt x="2076" y="43"/>
                </a:lnTo>
                <a:lnTo>
                  <a:pt x="2168" y="65"/>
                </a:lnTo>
                <a:lnTo>
                  <a:pt x="2259" y="91"/>
                </a:lnTo>
                <a:lnTo>
                  <a:pt x="2347" y="119"/>
                </a:lnTo>
                <a:lnTo>
                  <a:pt x="2075" y="391"/>
                </a:lnTo>
                <a:lnTo>
                  <a:pt x="2004" y="373"/>
                </a:lnTo>
                <a:lnTo>
                  <a:pt x="1931" y="359"/>
                </a:lnTo>
                <a:lnTo>
                  <a:pt x="1858" y="348"/>
                </a:lnTo>
                <a:lnTo>
                  <a:pt x="1780" y="342"/>
                </a:lnTo>
                <a:lnTo>
                  <a:pt x="1701" y="340"/>
                </a:lnTo>
                <a:lnTo>
                  <a:pt x="1608" y="343"/>
                </a:lnTo>
                <a:lnTo>
                  <a:pt x="1517" y="354"/>
                </a:lnTo>
                <a:lnTo>
                  <a:pt x="1428" y="368"/>
                </a:lnTo>
                <a:lnTo>
                  <a:pt x="1340" y="390"/>
                </a:lnTo>
                <a:lnTo>
                  <a:pt x="1256" y="416"/>
                </a:lnTo>
                <a:lnTo>
                  <a:pt x="1173" y="448"/>
                </a:lnTo>
                <a:lnTo>
                  <a:pt x="1093" y="485"/>
                </a:lnTo>
                <a:lnTo>
                  <a:pt x="1015" y="527"/>
                </a:lnTo>
                <a:lnTo>
                  <a:pt x="941" y="574"/>
                </a:lnTo>
                <a:lnTo>
                  <a:pt x="871" y="625"/>
                </a:lnTo>
                <a:lnTo>
                  <a:pt x="804" y="680"/>
                </a:lnTo>
                <a:lnTo>
                  <a:pt x="740" y="740"/>
                </a:lnTo>
                <a:lnTo>
                  <a:pt x="680" y="804"/>
                </a:lnTo>
                <a:lnTo>
                  <a:pt x="625" y="871"/>
                </a:lnTo>
                <a:lnTo>
                  <a:pt x="574" y="941"/>
                </a:lnTo>
                <a:lnTo>
                  <a:pt x="527" y="1015"/>
                </a:lnTo>
                <a:lnTo>
                  <a:pt x="485" y="1093"/>
                </a:lnTo>
                <a:lnTo>
                  <a:pt x="448" y="1173"/>
                </a:lnTo>
                <a:lnTo>
                  <a:pt x="416" y="1256"/>
                </a:lnTo>
                <a:lnTo>
                  <a:pt x="390" y="1340"/>
                </a:lnTo>
                <a:lnTo>
                  <a:pt x="368" y="1428"/>
                </a:lnTo>
                <a:lnTo>
                  <a:pt x="354" y="1517"/>
                </a:lnTo>
                <a:lnTo>
                  <a:pt x="343" y="1608"/>
                </a:lnTo>
                <a:lnTo>
                  <a:pt x="340" y="1701"/>
                </a:lnTo>
                <a:lnTo>
                  <a:pt x="343" y="1794"/>
                </a:lnTo>
                <a:lnTo>
                  <a:pt x="354" y="1885"/>
                </a:lnTo>
                <a:lnTo>
                  <a:pt x="368" y="1974"/>
                </a:lnTo>
                <a:lnTo>
                  <a:pt x="390" y="2062"/>
                </a:lnTo>
                <a:lnTo>
                  <a:pt x="416" y="2146"/>
                </a:lnTo>
                <a:lnTo>
                  <a:pt x="448" y="2229"/>
                </a:lnTo>
                <a:lnTo>
                  <a:pt x="485" y="2309"/>
                </a:lnTo>
                <a:lnTo>
                  <a:pt x="527" y="2387"/>
                </a:lnTo>
                <a:lnTo>
                  <a:pt x="574" y="2461"/>
                </a:lnTo>
                <a:lnTo>
                  <a:pt x="625" y="2531"/>
                </a:lnTo>
                <a:lnTo>
                  <a:pt x="680" y="2598"/>
                </a:lnTo>
                <a:lnTo>
                  <a:pt x="740" y="2662"/>
                </a:lnTo>
                <a:lnTo>
                  <a:pt x="804" y="2722"/>
                </a:lnTo>
                <a:lnTo>
                  <a:pt x="871" y="2777"/>
                </a:lnTo>
                <a:lnTo>
                  <a:pt x="941" y="2828"/>
                </a:lnTo>
                <a:lnTo>
                  <a:pt x="1015" y="2875"/>
                </a:lnTo>
                <a:lnTo>
                  <a:pt x="1093" y="2917"/>
                </a:lnTo>
                <a:lnTo>
                  <a:pt x="1173" y="2954"/>
                </a:lnTo>
                <a:lnTo>
                  <a:pt x="1256" y="2986"/>
                </a:lnTo>
                <a:lnTo>
                  <a:pt x="1340" y="3012"/>
                </a:lnTo>
                <a:lnTo>
                  <a:pt x="1428" y="3034"/>
                </a:lnTo>
                <a:lnTo>
                  <a:pt x="1517" y="3048"/>
                </a:lnTo>
                <a:lnTo>
                  <a:pt x="1608" y="3059"/>
                </a:lnTo>
                <a:lnTo>
                  <a:pt x="1701" y="3062"/>
                </a:lnTo>
                <a:lnTo>
                  <a:pt x="1794" y="3059"/>
                </a:lnTo>
                <a:lnTo>
                  <a:pt x="1885" y="3048"/>
                </a:lnTo>
                <a:lnTo>
                  <a:pt x="1974" y="3034"/>
                </a:lnTo>
                <a:lnTo>
                  <a:pt x="2062" y="3012"/>
                </a:lnTo>
                <a:lnTo>
                  <a:pt x="2146" y="2986"/>
                </a:lnTo>
                <a:lnTo>
                  <a:pt x="2229" y="2954"/>
                </a:lnTo>
                <a:lnTo>
                  <a:pt x="2309" y="2917"/>
                </a:lnTo>
                <a:lnTo>
                  <a:pt x="2387" y="2875"/>
                </a:lnTo>
                <a:lnTo>
                  <a:pt x="2461" y="2828"/>
                </a:lnTo>
                <a:lnTo>
                  <a:pt x="2531" y="2777"/>
                </a:lnTo>
                <a:lnTo>
                  <a:pt x="2598" y="2722"/>
                </a:lnTo>
                <a:lnTo>
                  <a:pt x="2662" y="2662"/>
                </a:lnTo>
                <a:lnTo>
                  <a:pt x="2722" y="2598"/>
                </a:lnTo>
                <a:lnTo>
                  <a:pt x="2777" y="2531"/>
                </a:lnTo>
                <a:lnTo>
                  <a:pt x="2828" y="2461"/>
                </a:lnTo>
                <a:lnTo>
                  <a:pt x="2875" y="2387"/>
                </a:lnTo>
                <a:lnTo>
                  <a:pt x="2917" y="2309"/>
                </a:lnTo>
                <a:lnTo>
                  <a:pt x="2954" y="2229"/>
                </a:lnTo>
                <a:lnTo>
                  <a:pt x="2986" y="2146"/>
                </a:lnTo>
                <a:lnTo>
                  <a:pt x="3012" y="2062"/>
                </a:lnTo>
                <a:lnTo>
                  <a:pt x="3034" y="1974"/>
                </a:lnTo>
                <a:lnTo>
                  <a:pt x="3048" y="1885"/>
                </a:lnTo>
                <a:lnTo>
                  <a:pt x="3059" y="1794"/>
                </a:lnTo>
                <a:lnTo>
                  <a:pt x="3062" y="1701"/>
                </a:lnTo>
                <a:lnTo>
                  <a:pt x="3402" y="1701"/>
                </a:lnTo>
                <a:lnTo>
                  <a:pt x="3399" y="1804"/>
                </a:lnTo>
                <a:lnTo>
                  <a:pt x="3390" y="1906"/>
                </a:lnTo>
                <a:lnTo>
                  <a:pt x="3374" y="2005"/>
                </a:lnTo>
                <a:lnTo>
                  <a:pt x="3354" y="2103"/>
                </a:lnTo>
                <a:lnTo>
                  <a:pt x="3327" y="2199"/>
                </a:lnTo>
                <a:lnTo>
                  <a:pt x="3295" y="2293"/>
                </a:lnTo>
                <a:lnTo>
                  <a:pt x="3258" y="2383"/>
                </a:lnTo>
                <a:lnTo>
                  <a:pt x="3215" y="2472"/>
                </a:lnTo>
                <a:lnTo>
                  <a:pt x="3169" y="2558"/>
                </a:lnTo>
                <a:lnTo>
                  <a:pt x="3117" y="2640"/>
                </a:lnTo>
                <a:lnTo>
                  <a:pt x="3061" y="2720"/>
                </a:lnTo>
                <a:lnTo>
                  <a:pt x="3001" y="2795"/>
                </a:lnTo>
                <a:lnTo>
                  <a:pt x="2936" y="2867"/>
                </a:lnTo>
                <a:lnTo>
                  <a:pt x="2867" y="2936"/>
                </a:lnTo>
                <a:lnTo>
                  <a:pt x="2795" y="3001"/>
                </a:lnTo>
                <a:lnTo>
                  <a:pt x="2720" y="3061"/>
                </a:lnTo>
                <a:lnTo>
                  <a:pt x="2640" y="3117"/>
                </a:lnTo>
                <a:lnTo>
                  <a:pt x="2558" y="3169"/>
                </a:lnTo>
                <a:lnTo>
                  <a:pt x="2472" y="3215"/>
                </a:lnTo>
                <a:lnTo>
                  <a:pt x="2383" y="3258"/>
                </a:lnTo>
                <a:lnTo>
                  <a:pt x="2293" y="3295"/>
                </a:lnTo>
                <a:lnTo>
                  <a:pt x="2199" y="3327"/>
                </a:lnTo>
                <a:lnTo>
                  <a:pt x="2103" y="3354"/>
                </a:lnTo>
                <a:lnTo>
                  <a:pt x="2005" y="3374"/>
                </a:lnTo>
                <a:lnTo>
                  <a:pt x="1906" y="3390"/>
                </a:lnTo>
                <a:lnTo>
                  <a:pt x="1804" y="3399"/>
                </a:lnTo>
                <a:lnTo>
                  <a:pt x="1701" y="3402"/>
                </a:lnTo>
                <a:lnTo>
                  <a:pt x="1598" y="3399"/>
                </a:lnTo>
                <a:lnTo>
                  <a:pt x="1496" y="3390"/>
                </a:lnTo>
                <a:lnTo>
                  <a:pt x="1397" y="3374"/>
                </a:lnTo>
                <a:lnTo>
                  <a:pt x="1299" y="3354"/>
                </a:lnTo>
                <a:lnTo>
                  <a:pt x="1203" y="3327"/>
                </a:lnTo>
                <a:lnTo>
                  <a:pt x="1109" y="3295"/>
                </a:lnTo>
                <a:lnTo>
                  <a:pt x="1019" y="3258"/>
                </a:lnTo>
                <a:lnTo>
                  <a:pt x="930" y="3215"/>
                </a:lnTo>
                <a:lnTo>
                  <a:pt x="844" y="3169"/>
                </a:lnTo>
                <a:lnTo>
                  <a:pt x="762" y="3117"/>
                </a:lnTo>
                <a:lnTo>
                  <a:pt x="682" y="3061"/>
                </a:lnTo>
                <a:lnTo>
                  <a:pt x="607" y="3001"/>
                </a:lnTo>
                <a:lnTo>
                  <a:pt x="535" y="2936"/>
                </a:lnTo>
                <a:lnTo>
                  <a:pt x="466" y="2867"/>
                </a:lnTo>
                <a:lnTo>
                  <a:pt x="401" y="2795"/>
                </a:lnTo>
                <a:lnTo>
                  <a:pt x="341" y="2720"/>
                </a:lnTo>
                <a:lnTo>
                  <a:pt x="285" y="2640"/>
                </a:lnTo>
                <a:lnTo>
                  <a:pt x="233" y="2558"/>
                </a:lnTo>
                <a:lnTo>
                  <a:pt x="187" y="2472"/>
                </a:lnTo>
                <a:lnTo>
                  <a:pt x="144" y="2383"/>
                </a:lnTo>
                <a:lnTo>
                  <a:pt x="107" y="2293"/>
                </a:lnTo>
                <a:lnTo>
                  <a:pt x="75" y="2199"/>
                </a:lnTo>
                <a:lnTo>
                  <a:pt x="48" y="2103"/>
                </a:lnTo>
                <a:lnTo>
                  <a:pt x="28" y="2005"/>
                </a:lnTo>
                <a:lnTo>
                  <a:pt x="12" y="1906"/>
                </a:lnTo>
                <a:lnTo>
                  <a:pt x="3" y="1804"/>
                </a:lnTo>
                <a:lnTo>
                  <a:pt x="0" y="1701"/>
                </a:lnTo>
                <a:lnTo>
                  <a:pt x="3" y="1598"/>
                </a:lnTo>
                <a:lnTo>
                  <a:pt x="12" y="1496"/>
                </a:lnTo>
                <a:lnTo>
                  <a:pt x="28" y="1397"/>
                </a:lnTo>
                <a:lnTo>
                  <a:pt x="48" y="1299"/>
                </a:lnTo>
                <a:lnTo>
                  <a:pt x="75" y="1203"/>
                </a:lnTo>
                <a:lnTo>
                  <a:pt x="107" y="1109"/>
                </a:lnTo>
                <a:lnTo>
                  <a:pt x="144" y="1019"/>
                </a:lnTo>
                <a:lnTo>
                  <a:pt x="187" y="930"/>
                </a:lnTo>
                <a:lnTo>
                  <a:pt x="233" y="844"/>
                </a:lnTo>
                <a:lnTo>
                  <a:pt x="285" y="762"/>
                </a:lnTo>
                <a:lnTo>
                  <a:pt x="341" y="682"/>
                </a:lnTo>
                <a:lnTo>
                  <a:pt x="401" y="607"/>
                </a:lnTo>
                <a:lnTo>
                  <a:pt x="466" y="535"/>
                </a:lnTo>
                <a:lnTo>
                  <a:pt x="535" y="466"/>
                </a:lnTo>
                <a:lnTo>
                  <a:pt x="607" y="401"/>
                </a:lnTo>
                <a:lnTo>
                  <a:pt x="682" y="341"/>
                </a:lnTo>
                <a:lnTo>
                  <a:pt x="762" y="285"/>
                </a:lnTo>
                <a:lnTo>
                  <a:pt x="844" y="233"/>
                </a:lnTo>
                <a:lnTo>
                  <a:pt x="930" y="187"/>
                </a:lnTo>
                <a:lnTo>
                  <a:pt x="1019" y="144"/>
                </a:lnTo>
                <a:lnTo>
                  <a:pt x="1109" y="107"/>
                </a:lnTo>
                <a:lnTo>
                  <a:pt x="1203" y="75"/>
                </a:lnTo>
                <a:lnTo>
                  <a:pt x="1299" y="48"/>
                </a:lnTo>
                <a:lnTo>
                  <a:pt x="1397" y="28"/>
                </a:lnTo>
                <a:lnTo>
                  <a:pt x="1496" y="12"/>
                </a:lnTo>
                <a:lnTo>
                  <a:pt x="1598" y="3"/>
                </a:lnTo>
                <a:lnTo>
                  <a:pt x="1701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2" name="Group 4"/>
          <p:cNvGrpSpPr>
            <a:grpSpLocks noChangeAspect="1"/>
          </p:cNvGrpSpPr>
          <p:nvPr/>
        </p:nvGrpSpPr>
        <p:grpSpPr bwMode="auto">
          <a:xfrm>
            <a:off x="10028200" y="1758222"/>
            <a:ext cx="540299" cy="540299"/>
            <a:chOff x="-1050" y="1280"/>
            <a:chExt cx="869" cy="869"/>
          </a:xfrm>
          <a:solidFill>
            <a:schemeClr val="bg1"/>
          </a:solidFill>
        </p:grpSpPr>
        <p:sp>
          <p:nvSpPr>
            <p:cNvPr id="25" name="Freeform 6"/>
            <p:cNvSpPr>
              <a:spLocks noEditPoints="1"/>
            </p:cNvSpPr>
            <p:nvPr/>
          </p:nvSpPr>
          <p:spPr bwMode="auto">
            <a:xfrm>
              <a:off x="-1050" y="1280"/>
              <a:ext cx="869" cy="869"/>
            </a:xfrm>
            <a:custGeom>
              <a:avLst/>
              <a:gdLst>
                <a:gd name="T0" fmla="*/ 1249 w 3477"/>
                <a:gd name="T1" fmla="*/ 560 h 3474"/>
                <a:gd name="T2" fmla="*/ 984 w 3477"/>
                <a:gd name="T3" fmla="*/ 669 h 3474"/>
                <a:gd name="T4" fmla="*/ 758 w 3477"/>
                <a:gd name="T5" fmla="*/ 866 h 3474"/>
                <a:gd name="T6" fmla="*/ 603 w 3477"/>
                <a:gd name="T7" fmla="*/ 1113 h 3474"/>
                <a:gd name="T8" fmla="*/ 538 w 3477"/>
                <a:gd name="T9" fmla="*/ 1394 h 3474"/>
                <a:gd name="T10" fmla="*/ 560 w 3477"/>
                <a:gd name="T11" fmla="*/ 1692 h 3474"/>
                <a:gd name="T12" fmla="*/ 670 w 3477"/>
                <a:gd name="T13" fmla="*/ 1956 h 3474"/>
                <a:gd name="T14" fmla="*/ 866 w 3477"/>
                <a:gd name="T15" fmla="*/ 2183 h 3474"/>
                <a:gd name="T16" fmla="*/ 1113 w 3477"/>
                <a:gd name="T17" fmla="*/ 2337 h 3474"/>
                <a:gd name="T18" fmla="*/ 1394 w 3477"/>
                <a:gd name="T19" fmla="*/ 2404 h 3474"/>
                <a:gd name="T20" fmla="*/ 1693 w 3477"/>
                <a:gd name="T21" fmla="*/ 2381 h 3474"/>
                <a:gd name="T22" fmla="*/ 1957 w 3477"/>
                <a:gd name="T23" fmla="*/ 2271 h 3474"/>
                <a:gd name="T24" fmla="*/ 2184 w 3477"/>
                <a:gd name="T25" fmla="*/ 2076 h 3474"/>
                <a:gd name="T26" fmla="*/ 2338 w 3477"/>
                <a:gd name="T27" fmla="*/ 1829 h 3474"/>
                <a:gd name="T28" fmla="*/ 2404 w 3477"/>
                <a:gd name="T29" fmla="*/ 1546 h 3474"/>
                <a:gd name="T30" fmla="*/ 2382 w 3477"/>
                <a:gd name="T31" fmla="*/ 1249 h 3474"/>
                <a:gd name="T32" fmla="*/ 2272 w 3477"/>
                <a:gd name="T33" fmla="*/ 985 h 3474"/>
                <a:gd name="T34" fmla="*/ 2076 w 3477"/>
                <a:gd name="T35" fmla="*/ 757 h 3474"/>
                <a:gd name="T36" fmla="*/ 1829 w 3477"/>
                <a:gd name="T37" fmla="*/ 604 h 3474"/>
                <a:gd name="T38" fmla="*/ 1547 w 3477"/>
                <a:gd name="T39" fmla="*/ 538 h 3474"/>
                <a:gd name="T40" fmla="*/ 1667 w 3477"/>
                <a:gd name="T41" fmla="*/ 13 h 3474"/>
                <a:gd name="T42" fmla="*/ 2042 w 3477"/>
                <a:gd name="T43" fmla="*/ 117 h 3474"/>
                <a:gd name="T44" fmla="*/ 2329 w 3477"/>
                <a:gd name="T45" fmla="*/ 276 h 3474"/>
                <a:gd name="T46" fmla="*/ 2567 w 3477"/>
                <a:gd name="T47" fmla="*/ 487 h 3474"/>
                <a:gd name="T48" fmla="*/ 2752 w 3477"/>
                <a:gd name="T49" fmla="*/ 750 h 3474"/>
                <a:gd name="T50" fmla="*/ 2890 w 3477"/>
                <a:gd name="T51" fmla="*/ 1084 h 3474"/>
                <a:gd name="T52" fmla="*/ 2942 w 3477"/>
                <a:gd name="T53" fmla="*/ 1470 h 3474"/>
                <a:gd name="T54" fmla="*/ 2900 w 3477"/>
                <a:gd name="T55" fmla="*/ 1825 h 3474"/>
                <a:gd name="T56" fmla="*/ 2776 w 3477"/>
                <a:gd name="T57" fmla="*/ 2151 h 3474"/>
                <a:gd name="T58" fmla="*/ 3423 w 3477"/>
                <a:gd name="T59" fmla="*/ 3046 h 3474"/>
                <a:gd name="T60" fmla="*/ 3474 w 3477"/>
                <a:gd name="T61" fmla="*/ 3172 h 3474"/>
                <a:gd name="T62" fmla="*/ 3456 w 3477"/>
                <a:gd name="T63" fmla="*/ 3310 h 3474"/>
                <a:gd name="T64" fmla="*/ 3371 w 3477"/>
                <a:gd name="T65" fmla="*/ 3421 h 3474"/>
                <a:gd name="T66" fmla="*/ 3245 w 3477"/>
                <a:gd name="T67" fmla="*/ 3472 h 3474"/>
                <a:gd name="T68" fmla="*/ 3105 w 3477"/>
                <a:gd name="T69" fmla="*/ 3455 h 3474"/>
                <a:gd name="T70" fmla="*/ 2305 w 3477"/>
                <a:gd name="T71" fmla="*/ 2682 h 3474"/>
                <a:gd name="T72" fmla="*/ 1991 w 3477"/>
                <a:gd name="T73" fmla="*/ 2847 h 3474"/>
                <a:gd name="T74" fmla="*/ 1651 w 3477"/>
                <a:gd name="T75" fmla="*/ 2930 h 3474"/>
                <a:gd name="T76" fmla="*/ 1275 w 3477"/>
                <a:gd name="T77" fmla="*/ 2927 h 3474"/>
                <a:gd name="T78" fmla="*/ 900 w 3477"/>
                <a:gd name="T79" fmla="*/ 2825 h 3474"/>
                <a:gd name="T80" fmla="*/ 613 w 3477"/>
                <a:gd name="T81" fmla="*/ 2665 h 3474"/>
                <a:gd name="T82" fmla="*/ 375 w 3477"/>
                <a:gd name="T83" fmla="*/ 2453 h 3474"/>
                <a:gd name="T84" fmla="*/ 189 w 3477"/>
                <a:gd name="T85" fmla="*/ 2191 h 3474"/>
                <a:gd name="T86" fmla="*/ 52 w 3477"/>
                <a:gd name="T87" fmla="*/ 1857 h 3474"/>
                <a:gd name="T88" fmla="*/ 0 w 3477"/>
                <a:gd name="T89" fmla="*/ 1470 h 3474"/>
                <a:gd name="T90" fmla="*/ 30 w 3477"/>
                <a:gd name="T91" fmla="*/ 1178 h 3474"/>
                <a:gd name="T92" fmla="*/ 151 w 3477"/>
                <a:gd name="T93" fmla="*/ 823 h 3474"/>
                <a:gd name="T94" fmla="*/ 324 w 3477"/>
                <a:gd name="T95" fmla="*/ 549 h 3474"/>
                <a:gd name="T96" fmla="*/ 548 w 3477"/>
                <a:gd name="T97" fmla="*/ 323 h 3474"/>
                <a:gd name="T98" fmla="*/ 824 w 3477"/>
                <a:gd name="T99" fmla="*/ 151 h 3474"/>
                <a:gd name="T100" fmla="*/ 1178 w 3477"/>
                <a:gd name="T101" fmla="*/ 29 h 3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77" h="3474">
                  <a:moveTo>
                    <a:pt x="1470" y="535"/>
                  </a:moveTo>
                  <a:lnTo>
                    <a:pt x="1394" y="538"/>
                  </a:lnTo>
                  <a:lnTo>
                    <a:pt x="1321" y="546"/>
                  </a:lnTo>
                  <a:lnTo>
                    <a:pt x="1249" y="560"/>
                  </a:lnTo>
                  <a:lnTo>
                    <a:pt x="1179" y="579"/>
                  </a:lnTo>
                  <a:lnTo>
                    <a:pt x="1113" y="604"/>
                  </a:lnTo>
                  <a:lnTo>
                    <a:pt x="1047" y="634"/>
                  </a:lnTo>
                  <a:lnTo>
                    <a:pt x="984" y="669"/>
                  </a:lnTo>
                  <a:lnTo>
                    <a:pt x="924" y="711"/>
                  </a:lnTo>
                  <a:lnTo>
                    <a:pt x="866" y="757"/>
                  </a:lnTo>
                  <a:lnTo>
                    <a:pt x="810" y="810"/>
                  </a:lnTo>
                  <a:lnTo>
                    <a:pt x="758" y="866"/>
                  </a:lnTo>
                  <a:lnTo>
                    <a:pt x="711" y="924"/>
                  </a:lnTo>
                  <a:lnTo>
                    <a:pt x="670" y="985"/>
                  </a:lnTo>
                  <a:lnTo>
                    <a:pt x="634" y="1047"/>
                  </a:lnTo>
                  <a:lnTo>
                    <a:pt x="603" y="1113"/>
                  </a:lnTo>
                  <a:lnTo>
                    <a:pt x="579" y="1179"/>
                  </a:lnTo>
                  <a:lnTo>
                    <a:pt x="560" y="1249"/>
                  </a:lnTo>
                  <a:lnTo>
                    <a:pt x="546" y="1320"/>
                  </a:lnTo>
                  <a:lnTo>
                    <a:pt x="538" y="1394"/>
                  </a:lnTo>
                  <a:lnTo>
                    <a:pt x="535" y="1470"/>
                  </a:lnTo>
                  <a:lnTo>
                    <a:pt x="538" y="1546"/>
                  </a:lnTo>
                  <a:lnTo>
                    <a:pt x="546" y="1621"/>
                  </a:lnTo>
                  <a:lnTo>
                    <a:pt x="560" y="1692"/>
                  </a:lnTo>
                  <a:lnTo>
                    <a:pt x="579" y="1761"/>
                  </a:lnTo>
                  <a:lnTo>
                    <a:pt x="603" y="1829"/>
                  </a:lnTo>
                  <a:lnTo>
                    <a:pt x="634" y="1894"/>
                  </a:lnTo>
                  <a:lnTo>
                    <a:pt x="670" y="1956"/>
                  </a:lnTo>
                  <a:lnTo>
                    <a:pt x="711" y="2017"/>
                  </a:lnTo>
                  <a:lnTo>
                    <a:pt x="758" y="2076"/>
                  </a:lnTo>
                  <a:lnTo>
                    <a:pt x="810" y="2132"/>
                  </a:lnTo>
                  <a:lnTo>
                    <a:pt x="866" y="2183"/>
                  </a:lnTo>
                  <a:lnTo>
                    <a:pt x="924" y="2230"/>
                  </a:lnTo>
                  <a:lnTo>
                    <a:pt x="984" y="2271"/>
                  </a:lnTo>
                  <a:lnTo>
                    <a:pt x="1047" y="2307"/>
                  </a:lnTo>
                  <a:lnTo>
                    <a:pt x="1113" y="2337"/>
                  </a:lnTo>
                  <a:lnTo>
                    <a:pt x="1179" y="2362"/>
                  </a:lnTo>
                  <a:lnTo>
                    <a:pt x="1249" y="2381"/>
                  </a:lnTo>
                  <a:lnTo>
                    <a:pt x="1321" y="2395"/>
                  </a:lnTo>
                  <a:lnTo>
                    <a:pt x="1394" y="2404"/>
                  </a:lnTo>
                  <a:lnTo>
                    <a:pt x="1470" y="2406"/>
                  </a:lnTo>
                  <a:lnTo>
                    <a:pt x="1547" y="2404"/>
                  </a:lnTo>
                  <a:lnTo>
                    <a:pt x="1621" y="2395"/>
                  </a:lnTo>
                  <a:lnTo>
                    <a:pt x="1693" y="2381"/>
                  </a:lnTo>
                  <a:lnTo>
                    <a:pt x="1763" y="2362"/>
                  </a:lnTo>
                  <a:lnTo>
                    <a:pt x="1829" y="2337"/>
                  </a:lnTo>
                  <a:lnTo>
                    <a:pt x="1894" y="2307"/>
                  </a:lnTo>
                  <a:lnTo>
                    <a:pt x="1957" y="2271"/>
                  </a:lnTo>
                  <a:lnTo>
                    <a:pt x="2018" y="2230"/>
                  </a:lnTo>
                  <a:lnTo>
                    <a:pt x="2076" y="2183"/>
                  </a:lnTo>
                  <a:lnTo>
                    <a:pt x="2132" y="2132"/>
                  </a:lnTo>
                  <a:lnTo>
                    <a:pt x="2184" y="2076"/>
                  </a:lnTo>
                  <a:lnTo>
                    <a:pt x="2231" y="2017"/>
                  </a:lnTo>
                  <a:lnTo>
                    <a:pt x="2272" y="1956"/>
                  </a:lnTo>
                  <a:lnTo>
                    <a:pt x="2308" y="1894"/>
                  </a:lnTo>
                  <a:lnTo>
                    <a:pt x="2338" y="1829"/>
                  </a:lnTo>
                  <a:lnTo>
                    <a:pt x="2363" y="1761"/>
                  </a:lnTo>
                  <a:lnTo>
                    <a:pt x="2382" y="1692"/>
                  </a:lnTo>
                  <a:lnTo>
                    <a:pt x="2396" y="1621"/>
                  </a:lnTo>
                  <a:lnTo>
                    <a:pt x="2404" y="1546"/>
                  </a:lnTo>
                  <a:lnTo>
                    <a:pt x="2406" y="1470"/>
                  </a:lnTo>
                  <a:lnTo>
                    <a:pt x="2404" y="1394"/>
                  </a:lnTo>
                  <a:lnTo>
                    <a:pt x="2396" y="1320"/>
                  </a:lnTo>
                  <a:lnTo>
                    <a:pt x="2382" y="1249"/>
                  </a:lnTo>
                  <a:lnTo>
                    <a:pt x="2363" y="1179"/>
                  </a:lnTo>
                  <a:lnTo>
                    <a:pt x="2338" y="1113"/>
                  </a:lnTo>
                  <a:lnTo>
                    <a:pt x="2308" y="1047"/>
                  </a:lnTo>
                  <a:lnTo>
                    <a:pt x="2272" y="985"/>
                  </a:lnTo>
                  <a:lnTo>
                    <a:pt x="2231" y="924"/>
                  </a:lnTo>
                  <a:lnTo>
                    <a:pt x="2184" y="866"/>
                  </a:lnTo>
                  <a:lnTo>
                    <a:pt x="2132" y="810"/>
                  </a:lnTo>
                  <a:lnTo>
                    <a:pt x="2076" y="757"/>
                  </a:lnTo>
                  <a:lnTo>
                    <a:pt x="2018" y="711"/>
                  </a:lnTo>
                  <a:lnTo>
                    <a:pt x="1957" y="669"/>
                  </a:lnTo>
                  <a:lnTo>
                    <a:pt x="1894" y="634"/>
                  </a:lnTo>
                  <a:lnTo>
                    <a:pt x="1829" y="604"/>
                  </a:lnTo>
                  <a:lnTo>
                    <a:pt x="1763" y="579"/>
                  </a:lnTo>
                  <a:lnTo>
                    <a:pt x="1693" y="560"/>
                  </a:lnTo>
                  <a:lnTo>
                    <a:pt x="1621" y="546"/>
                  </a:lnTo>
                  <a:lnTo>
                    <a:pt x="1547" y="538"/>
                  </a:lnTo>
                  <a:lnTo>
                    <a:pt x="1470" y="535"/>
                  </a:lnTo>
                  <a:close/>
                  <a:moveTo>
                    <a:pt x="1470" y="0"/>
                  </a:moveTo>
                  <a:lnTo>
                    <a:pt x="1570" y="4"/>
                  </a:lnTo>
                  <a:lnTo>
                    <a:pt x="1667" y="13"/>
                  </a:lnTo>
                  <a:lnTo>
                    <a:pt x="1763" y="29"/>
                  </a:lnTo>
                  <a:lnTo>
                    <a:pt x="1858" y="52"/>
                  </a:lnTo>
                  <a:lnTo>
                    <a:pt x="1951" y="81"/>
                  </a:lnTo>
                  <a:lnTo>
                    <a:pt x="2042" y="117"/>
                  </a:lnTo>
                  <a:lnTo>
                    <a:pt x="2118" y="151"/>
                  </a:lnTo>
                  <a:lnTo>
                    <a:pt x="2191" y="189"/>
                  </a:lnTo>
                  <a:lnTo>
                    <a:pt x="2262" y="231"/>
                  </a:lnTo>
                  <a:lnTo>
                    <a:pt x="2329" y="276"/>
                  </a:lnTo>
                  <a:lnTo>
                    <a:pt x="2394" y="323"/>
                  </a:lnTo>
                  <a:lnTo>
                    <a:pt x="2454" y="375"/>
                  </a:lnTo>
                  <a:lnTo>
                    <a:pt x="2512" y="430"/>
                  </a:lnTo>
                  <a:lnTo>
                    <a:pt x="2567" y="487"/>
                  </a:lnTo>
                  <a:lnTo>
                    <a:pt x="2618" y="549"/>
                  </a:lnTo>
                  <a:lnTo>
                    <a:pt x="2667" y="612"/>
                  </a:lnTo>
                  <a:lnTo>
                    <a:pt x="2711" y="680"/>
                  </a:lnTo>
                  <a:lnTo>
                    <a:pt x="2752" y="750"/>
                  </a:lnTo>
                  <a:lnTo>
                    <a:pt x="2791" y="823"/>
                  </a:lnTo>
                  <a:lnTo>
                    <a:pt x="2825" y="900"/>
                  </a:lnTo>
                  <a:lnTo>
                    <a:pt x="2860" y="991"/>
                  </a:lnTo>
                  <a:lnTo>
                    <a:pt x="2890" y="1084"/>
                  </a:lnTo>
                  <a:lnTo>
                    <a:pt x="2912" y="1178"/>
                  </a:lnTo>
                  <a:lnTo>
                    <a:pt x="2928" y="1275"/>
                  </a:lnTo>
                  <a:lnTo>
                    <a:pt x="2939" y="1372"/>
                  </a:lnTo>
                  <a:lnTo>
                    <a:pt x="2942" y="1470"/>
                  </a:lnTo>
                  <a:lnTo>
                    <a:pt x="2939" y="1561"/>
                  </a:lnTo>
                  <a:lnTo>
                    <a:pt x="2931" y="1651"/>
                  </a:lnTo>
                  <a:lnTo>
                    <a:pt x="2919" y="1738"/>
                  </a:lnTo>
                  <a:lnTo>
                    <a:pt x="2900" y="1825"/>
                  </a:lnTo>
                  <a:lnTo>
                    <a:pt x="2876" y="1908"/>
                  </a:lnTo>
                  <a:lnTo>
                    <a:pt x="2848" y="1991"/>
                  </a:lnTo>
                  <a:lnTo>
                    <a:pt x="2815" y="2071"/>
                  </a:lnTo>
                  <a:lnTo>
                    <a:pt x="2776" y="2151"/>
                  </a:lnTo>
                  <a:lnTo>
                    <a:pt x="2731" y="2228"/>
                  </a:lnTo>
                  <a:lnTo>
                    <a:pt x="2683" y="2303"/>
                  </a:lnTo>
                  <a:lnTo>
                    <a:pt x="3399" y="3019"/>
                  </a:lnTo>
                  <a:lnTo>
                    <a:pt x="3423" y="3046"/>
                  </a:lnTo>
                  <a:lnTo>
                    <a:pt x="3442" y="3074"/>
                  </a:lnTo>
                  <a:lnTo>
                    <a:pt x="3456" y="3105"/>
                  </a:lnTo>
                  <a:lnTo>
                    <a:pt x="3468" y="3138"/>
                  </a:lnTo>
                  <a:lnTo>
                    <a:pt x="3474" y="3172"/>
                  </a:lnTo>
                  <a:lnTo>
                    <a:pt x="3477" y="3208"/>
                  </a:lnTo>
                  <a:lnTo>
                    <a:pt x="3474" y="3244"/>
                  </a:lnTo>
                  <a:lnTo>
                    <a:pt x="3467" y="3278"/>
                  </a:lnTo>
                  <a:lnTo>
                    <a:pt x="3456" y="3310"/>
                  </a:lnTo>
                  <a:lnTo>
                    <a:pt x="3442" y="3341"/>
                  </a:lnTo>
                  <a:lnTo>
                    <a:pt x="3421" y="3370"/>
                  </a:lnTo>
                  <a:lnTo>
                    <a:pt x="3398" y="3396"/>
                  </a:lnTo>
                  <a:lnTo>
                    <a:pt x="3371" y="3421"/>
                  </a:lnTo>
                  <a:lnTo>
                    <a:pt x="3342" y="3440"/>
                  </a:lnTo>
                  <a:lnTo>
                    <a:pt x="3311" y="3455"/>
                  </a:lnTo>
                  <a:lnTo>
                    <a:pt x="3279" y="3466"/>
                  </a:lnTo>
                  <a:lnTo>
                    <a:pt x="3245" y="3472"/>
                  </a:lnTo>
                  <a:lnTo>
                    <a:pt x="3209" y="3474"/>
                  </a:lnTo>
                  <a:lnTo>
                    <a:pt x="3173" y="3472"/>
                  </a:lnTo>
                  <a:lnTo>
                    <a:pt x="3138" y="3466"/>
                  </a:lnTo>
                  <a:lnTo>
                    <a:pt x="3105" y="3455"/>
                  </a:lnTo>
                  <a:lnTo>
                    <a:pt x="3075" y="3440"/>
                  </a:lnTo>
                  <a:lnTo>
                    <a:pt x="3047" y="3419"/>
                  </a:lnTo>
                  <a:lnTo>
                    <a:pt x="3021" y="3395"/>
                  </a:lnTo>
                  <a:lnTo>
                    <a:pt x="2305" y="2682"/>
                  </a:lnTo>
                  <a:lnTo>
                    <a:pt x="2228" y="2731"/>
                  </a:lnTo>
                  <a:lnTo>
                    <a:pt x="2151" y="2775"/>
                  </a:lnTo>
                  <a:lnTo>
                    <a:pt x="2073" y="2813"/>
                  </a:lnTo>
                  <a:lnTo>
                    <a:pt x="1991" y="2847"/>
                  </a:lnTo>
                  <a:lnTo>
                    <a:pt x="1909" y="2876"/>
                  </a:lnTo>
                  <a:lnTo>
                    <a:pt x="1825" y="2899"/>
                  </a:lnTo>
                  <a:lnTo>
                    <a:pt x="1739" y="2917"/>
                  </a:lnTo>
                  <a:lnTo>
                    <a:pt x="1651" y="2930"/>
                  </a:lnTo>
                  <a:lnTo>
                    <a:pt x="1561" y="2938"/>
                  </a:lnTo>
                  <a:lnTo>
                    <a:pt x="1470" y="2940"/>
                  </a:lnTo>
                  <a:lnTo>
                    <a:pt x="1372" y="2937"/>
                  </a:lnTo>
                  <a:lnTo>
                    <a:pt x="1275" y="2927"/>
                  </a:lnTo>
                  <a:lnTo>
                    <a:pt x="1178" y="2912"/>
                  </a:lnTo>
                  <a:lnTo>
                    <a:pt x="1084" y="2889"/>
                  </a:lnTo>
                  <a:lnTo>
                    <a:pt x="991" y="2860"/>
                  </a:lnTo>
                  <a:lnTo>
                    <a:pt x="900" y="2825"/>
                  </a:lnTo>
                  <a:lnTo>
                    <a:pt x="824" y="2790"/>
                  </a:lnTo>
                  <a:lnTo>
                    <a:pt x="749" y="2752"/>
                  </a:lnTo>
                  <a:lnTo>
                    <a:pt x="680" y="2710"/>
                  </a:lnTo>
                  <a:lnTo>
                    <a:pt x="613" y="2665"/>
                  </a:lnTo>
                  <a:lnTo>
                    <a:pt x="548" y="2617"/>
                  </a:lnTo>
                  <a:lnTo>
                    <a:pt x="488" y="2567"/>
                  </a:lnTo>
                  <a:lnTo>
                    <a:pt x="430" y="2512"/>
                  </a:lnTo>
                  <a:lnTo>
                    <a:pt x="375" y="2453"/>
                  </a:lnTo>
                  <a:lnTo>
                    <a:pt x="324" y="2392"/>
                  </a:lnTo>
                  <a:lnTo>
                    <a:pt x="275" y="2328"/>
                  </a:lnTo>
                  <a:lnTo>
                    <a:pt x="231" y="2261"/>
                  </a:lnTo>
                  <a:lnTo>
                    <a:pt x="189" y="2191"/>
                  </a:lnTo>
                  <a:lnTo>
                    <a:pt x="151" y="2118"/>
                  </a:lnTo>
                  <a:lnTo>
                    <a:pt x="116" y="2042"/>
                  </a:lnTo>
                  <a:lnTo>
                    <a:pt x="80" y="1950"/>
                  </a:lnTo>
                  <a:lnTo>
                    <a:pt x="52" y="1857"/>
                  </a:lnTo>
                  <a:lnTo>
                    <a:pt x="30" y="1762"/>
                  </a:lnTo>
                  <a:lnTo>
                    <a:pt x="13" y="1667"/>
                  </a:lnTo>
                  <a:lnTo>
                    <a:pt x="3" y="1570"/>
                  </a:lnTo>
                  <a:lnTo>
                    <a:pt x="0" y="1470"/>
                  </a:lnTo>
                  <a:lnTo>
                    <a:pt x="0" y="1470"/>
                  </a:lnTo>
                  <a:lnTo>
                    <a:pt x="3" y="1372"/>
                  </a:lnTo>
                  <a:lnTo>
                    <a:pt x="13" y="1275"/>
                  </a:lnTo>
                  <a:lnTo>
                    <a:pt x="30" y="1178"/>
                  </a:lnTo>
                  <a:lnTo>
                    <a:pt x="52" y="1084"/>
                  </a:lnTo>
                  <a:lnTo>
                    <a:pt x="80" y="991"/>
                  </a:lnTo>
                  <a:lnTo>
                    <a:pt x="116" y="900"/>
                  </a:lnTo>
                  <a:lnTo>
                    <a:pt x="151" y="823"/>
                  </a:lnTo>
                  <a:lnTo>
                    <a:pt x="189" y="750"/>
                  </a:lnTo>
                  <a:lnTo>
                    <a:pt x="231" y="680"/>
                  </a:lnTo>
                  <a:lnTo>
                    <a:pt x="275" y="612"/>
                  </a:lnTo>
                  <a:lnTo>
                    <a:pt x="324" y="549"/>
                  </a:lnTo>
                  <a:lnTo>
                    <a:pt x="375" y="487"/>
                  </a:lnTo>
                  <a:lnTo>
                    <a:pt x="430" y="430"/>
                  </a:lnTo>
                  <a:lnTo>
                    <a:pt x="488" y="375"/>
                  </a:lnTo>
                  <a:lnTo>
                    <a:pt x="548" y="323"/>
                  </a:lnTo>
                  <a:lnTo>
                    <a:pt x="613" y="276"/>
                  </a:lnTo>
                  <a:lnTo>
                    <a:pt x="680" y="231"/>
                  </a:lnTo>
                  <a:lnTo>
                    <a:pt x="749" y="189"/>
                  </a:lnTo>
                  <a:lnTo>
                    <a:pt x="824" y="151"/>
                  </a:lnTo>
                  <a:lnTo>
                    <a:pt x="900" y="117"/>
                  </a:lnTo>
                  <a:lnTo>
                    <a:pt x="991" y="81"/>
                  </a:lnTo>
                  <a:lnTo>
                    <a:pt x="1084" y="52"/>
                  </a:lnTo>
                  <a:lnTo>
                    <a:pt x="1178" y="29"/>
                  </a:lnTo>
                  <a:lnTo>
                    <a:pt x="1275" y="13"/>
                  </a:lnTo>
                  <a:lnTo>
                    <a:pt x="1372" y="4"/>
                  </a:lnTo>
                  <a:lnTo>
                    <a:pt x="14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-850" y="1481"/>
              <a:ext cx="335" cy="334"/>
            </a:xfrm>
            <a:custGeom>
              <a:avLst/>
              <a:gdLst>
                <a:gd name="T0" fmla="*/ 602 w 1337"/>
                <a:gd name="T1" fmla="*/ 0 h 1336"/>
                <a:gd name="T2" fmla="*/ 736 w 1337"/>
                <a:gd name="T3" fmla="*/ 0 h 1336"/>
                <a:gd name="T4" fmla="*/ 753 w 1337"/>
                <a:gd name="T5" fmla="*/ 2 h 1336"/>
                <a:gd name="T6" fmla="*/ 769 w 1337"/>
                <a:gd name="T7" fmla="*/ 8 h 1336"/>
                <a:gd name="T8" fmla="*/ 783 w 1337"/>
                <a:gd name="T9" fmla="*/ 20 h 1336"/>
                <a:gd name="T10" fmla="*/ 793 w 1337"/>
                <a:gd name="T11" fmla="*/ 33 h 1336"/>
                <a:gd name="T12" fmla="*/ 801 w 1337"/>
                <a:gd name="T13" fmla="*/ 49 h 1336"/>
                <a:gd name="T14" fmla="*/ 803 w 1337"/>
                <a:gd name="T15" fmla="*/ 66 h 1336"/>
                <a:gd name="T16" fmla="*/ 803 w 1337"/>
                <a:gd name="T17" fmla="*/ 534 h 1336"/>
                <a:gd name="T18" fmla="*/ 1271 w 1337"/>
                <a:gd name="T19" fmla="*/ 534 h 1336"/>
                <a:gd name="T20" fmla="*/ 1288 w 1337"/>
                <a:gd name="T21" fmla="*/ 536 h 1336"/>
                <a:gd name="T22" fmla="*/ 1304 w 1337"/>
                <a:gd name="T23" fmla="*/ 542 h 1336"/>
                <a:gd name="T24" fmla="*/ 1317 w 1337"/>
                <a:gd name="T25" fmla="*/ 554 h 1336"/>
                <a:gd name="T26" fmla="*/ 1329 w 1337"/>
                <a:gd name="T27" fmla="*/ 568 h 1336"/>
                <a:gd name="T28" fmla="*/ 1335 w 1337"/>
                <a:gd name="T29" fmla="*/ 584 h 1336"/>
                <a:gd name="T30" fmla="*/ 1337 w 1337"/>
                <a:gd name="T31" fmla="*/ 601 h 1336"/>
                <a:gd name="T32" fmla="*/ 1337 w 1337"/>
                <a:gd name="T33" fmla="*/ 734 h 1336"/>
                <a:gd name="T34" fmla="*/ 1335 w 1337"/>
                <a:gd name="T35" fmla="*/ 752 h 1336"/>
                <a:gd name="T36" fmla="*/ 1329 w 1337"/>
                <a:gd name="T37" fmla="*/ 767 h 1336"/>
                <a:gd name="T38" fmla="*/ 1317 w 1337"/>
                <a:gd name="T39" fmla="*/ 782 h 1336"/>
                <a:gd name="T40" fmla="*/ 1304 w 1337"/>
                <a:gd name="T41" fmla="*/ 792 h 1336"/>
                <a:gd name="T42" fmla="*/ 1288 w 1337"/>
                <a:gd name="T43" fmla="*/ 798 h 1336"/>
                <a:gd name="T44" fmla="*/ 1271 w 1337"/>
                <a:gd name="T45" fmla="*/ 801 h 1336"/>
                <a:gd name="T46" fmla="*/ 803 w 1337"/>
                <a:gd name="T47" fmla="*/ 801 h 1336"/>
                <a:gd name="T48" fmla="*/ 803 w 1337"/>
                <a:gd name="T49" fmla="*/ 1268 h 1336"/>
                <a:gd name="T50" fmla="*/ 801 w 1337"/>
                <a:gd name="T51" fmla="*/ 1286 h 1336"/>
                <a:gd name="T52" fmla="*/ 793 w 1337"/>
                <a:gd name="T53" fmla="*/ 1302 h 1336"/>
                <a:gd name="T54" fmla="*/ 783 w 1337"/>
                <a:gd name="T55" fmla="*/ 1316 h 1336"/>
                <a:gd name="T56" fmla="*/ 769 w 1337"/>
                <a:gd name="T57" fmla="*/ 1327 h 1336"/>
                <a:gd name="T58" fmla="*/ 753 w 1337"/>
                <a:gd name="T59" fmla="*/ 1333 h 1336"/>
                <a:gd name="T60" fmla="*/ 736 w 1337"/>
                <a:gd name="T61" fmla="*/ 1336 h 1336"/>
                <a:gd name="T62" fmla="*/ 602 w 1337"/>
                <a:gd name="T63" fmla="*/ 1336 h 1336"/>
                <a:gd name="T64" fmla="*/ 585 w 1337"/>
                <a:gd name="T65" fmla="*/ 1333 h 1336"/>
                <a:gd name="T66" fmla="*/ 569 w 1337"/>
                <a:gd name="T67" fmla="*/ 1327 h 1336"/>
                <a:gd name="T68" fmla="*/ 555 w 1337"/>
                <a:gd name="T69" fmla="*/ 1316 h 1336"/>
                <a:gd name="T70" fmla="*/ 545 w 1337"/>
                <a:gd name="T71" fmla="*/ 1302 h 1336"/>
                <a:gd name="T72" fmla="*/ 537 w 1337"/>
                <a:gd name="T73" fmla="*/ 1286 h 1336"/>
                <a:gd name="T74" fmla="*/ 535 w 1337"/>
                <a:gd name="T75" fmla="*/ 1268 h 1336"/>
                <a:gd name="T76" fmla="*/ 535 w 1337"/>
                <a:gd name="T77" fmla="*/ 801 h 1336"/>
                <a:gd name="T78" fmla="*/ 67 w 1337"/>
                <a:gd name="T79" fmla="*/ 801 h 1336"/>
                <a:gd name="T80" fmla="*/ 50 w 1337"/>
                <a:gd name="T81" fmla="*/ 798 h 1336"/>
                <a:gd name="T82" fmla="*/ 34 w 1337"/>
                <a:gd name="T83" fmla="*/ 792 h 1336"/>
                <a:gd name="T84" fmla="*/ 21 w 1337"/>
                <a:gd name="T85" fmla="*/ 782 h 1336"/>
                <a:gd name="T86" fmla="*/ 9 w 1337"/>
                <a:gd name="T87" fmla="*/ 767 h 1336"/>
                <a:gd name="T88" fmla="*/ 3 w 1337"/>
                <a:gd name="T89" fmla="*/ 752 h 1336"/>
                <a:gd name="T90" fmla="*/ 0 w 1337"/>
                <a:gd name="T91" fmla="*/ 734 h 1336"/>
                <a:gd name="T92" fmla="*/ 0 w 1337"/>
                <a:gd name="T93" fmla="*/ 601 h 1336"/>
                <a:gd name="T94" fmla="*/ 3 w 1337"/>
                <a:gd name="T95" fmla="*/ 584 h 1336"/>
                <a:gd name="T96" fmla="*/ 9 w 1337"/>
                <a:gd name="T97" fmla="*/ 568 h 1336"/>
                <a:gd name="T98" fmla="*/ 21 w 1337"/>
                <a:gd name="T99" fmla="*/ 554 h 1336"/>
                <a:gd name="T100" fmla="*/ 34 w 1337"/>
                <a:gd name="T101" fmla="*/ 542 h 1336"/>
                <a:gd name="T102" fmla="*/ 50 w 1337"/>
                <a:gd name="T103" fmla="*/ 536 h 1336"/>
                <a:gd name="T104" fmla="*/ 67 w 1337"/>
                <a:gd name="T105" fmla="*/ 534 h 1336"/>
                <a:gd name="T106" fmla="*/ 535 w 1337"/>
                <a:gd name="T107" fmla="*/ 534 h 1336"/>
                <a:gd name="T108" fmla="*/ 535 w 1337"/>
                <a:gd name="T109" fmla="*/ 66 h 1336"/>
                <a:gd name="T110" fmla="*/ 537 w 1337"/>
                <a:gd name="T111" fmla="*/ 49 h 1336"/>
                <a:gd name="T112" fmla="*/ 545 w 1337"/>
                <a:gd name="T113" fmla="*/ 33 h 1336"/>
                <a:gd name="T114" fmla="*/ 555 w 1337"/>
                <a:gd name="T115" fmla="*/ 20 h 1336"/>
                <a:gd name="T116" fmla="*/ 569 w 1337"/>
                <a:gd name="T117" fmla="*/ 8 h 1336"/>
                <a:gd name="T118" fmla="*/ 585 w 1337"/>
                <a:gd name="T119" fmla="*/ 2 h 1336"/>
                <a:gd name="T120" fmla="*/ 602 w 1337"/>
                <a:gd name="T121" fmla="*/ 0 h 1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37" h="1336">
                  <a:moveTo>
                    <a:pt x="602" y="0"/>
                  </a:moveTo>
                  <a:lnTo>
                    <a:pt x="736" y="0"/>
                  </a:lnTo>
                  <a:lnTo>
                    <a:pt x="753" y="2"/>
                  </a:lnTo>
                  <a:lnTo>
                    <a:pt x="769" y="8"/>
                  </a:lnTo>
                  <a:lnTo>
                    <a:pt x="783" y="20"/>
                  </a:lnTo>
                  <a:lnTo>
                    <a:pt x="793" y="33"/>
                  </a:lnTo>
                  <a:lnTo>
                    <a:pt x="801" y="49"/>
                  </a:lnTo>
                  <a:lnTo>
                    <a:pt x="803" y="66"/>
                  </a:lnTo>
                  <a:lnTo>
                    <a:pt x="803" y="534"/>
                  </a:lnTo>
                  <a:lnTo>
                    <a:pt x="1271" y="534"/>
                  </a:lnTo>
                  <a:lnTo>
                    <a:pt x="1288" y="536"/>
                  </a:lnTo>
                  <a:lnTo>
                    <a:pt x="1304" y="542"/>
                  </a:lnTo>
                  <a:lnTo>
                    <a:pt x="1317" y="554"/>
                  </a:lnTo>
                  <a:lnTo>
                    <a:pt x="1329" y="568"/>
                  </a:lnTo>
                  <a:lnTo>
                    <a:pt x="1335" y="584"/>
                  </a:lnTo>
                  <a:lnTo>
                    <a:pt x="1337" y="601"/>
                  </a:lnTo>
                  <a:lnTo>
                    <a:pt x="1337" y="734"/>
                  </a:lnTo>
                  <a:lnTo>
                    <a:pt x="1335" y="752"/>
                  </a:lnTo>
                  <a:lnTo>
                    <a:pt x="1329" y="767"/>
                  </a:lnTo>
                  <a:lnTo>
                    <a:pt x="1317" y="782"/>
                  </a:lnTo>
                  <a:lnTo>
                    <a:pt x="1304" y="792"/>
                  </a:lnTo>
                  <a:lnTo>
                    <a:pt x="1288" y="798"/>
                  </a:lnTo>
                  <a:lnTo>
                    <a:pt x="1271" y="801"/>
                  </a:lnTo>
                  <a:lnTo>
                    <a:pt x="803" y="801"/>
                  </a:lnTo>
                  <a:lnTo>
                    <a:pt x="803" y="1268"/>
                  </a:lnTo>
                  <a:lnTo>
                    <a:pt x="801" y="1286"/>
                  </a:lnTo>
                  <a:lnTo>
                    <a:pt x="793" y="1302"/>
                  </a:lnTo>
                  <a:lnTo>
                    <a:pt x="783" y="1316"/>
                  </a:lnTo>
                  <a:lnTo>
                    <a:pt x="769" y="1327"/>
                  </a:lnTo>
                  <a:lnTo>
                    <a:pt x="753" y="1333"/>
                  </a:lnTo>
                  <a:lnTo>
                    <a:pt x="736" y="1336"/>
                  </a:lnTo>
                  <a:lnTo>
                    <a:pt x="602" y="1336"/>
                  </a:lnTo>
                  <a:lnTo>
                    <a:pt x="585" y="1333"/>
                  </a:lnTo>
                  <a:lnTo>
                    <a:pt x="569" y="1327"/>
                  </a:lnTo>
                  <a:lnTo>
                    <a:pt x="555" y="1316"/>
                  </a:lnTo>
                  <a:lnTo>
                    <a:pt x="545" y="1302"/>
                  </a:lnTo>
                  <a:lnTo>
                    <a:pt x="537" y="1286"/>
                  </a:lnTo>
                  <a:lnTo>
                    <a:pt x="535" y="1268"/>
                  </a:lnTo>
                  <a:lnTo>
                    <a:pt x="535" y="801"/>
                  </a:lnTo>
                  <a:lnTo>
                    <a:pt x="67" y="801"/>
                  </a:lnTo>
                  <a:lnTo>
                    <a:pt x="50" y="798"/>
                  </a:lnTo>
                  <a:lnTo>
                    <a:pt x="34" y="792"/>
                  </a:lnTo>
                  <a:lnTo>
                    <a:pt x="21" y="782"/>
                  </a:lnTo>
                  <a:lnTo>
                    <a:pt x="9" y="767"/>
                  </a:lnTo>
                  <a:lnTo>
                    <a:pt x="3" y="752"/>
                  </a:lnTo>
                  <a:lnTo>
                    <a:pt x="0" y="734"/>
                  </a:lnTo>
                  <a:lnTo>
                    <a:pt x="0" y="601"/>
                  </a:lnTo>
                  <a:lnTo>
                    <a:pt x="3" y="584"/>
                  </a:lnTo>
                  <a:lnTo>
                    <a:pt x="9" y="568"/>
                  </a:lnTo>
                  <a:lnTo>
                    <a:pt x="21" y="554"/>
                  </a:lnTo>
                  <a:lnTo>
                    <a:pt x="34" y="542"/>
                  </a:lnTo>
                  <a:lnTo>
                    <a:pt x="50" y="536"/>
                  </a:lnTo>
                  <a:lnTo>
                    <a:pt x="67" y="534"/>
                  </a:lnTo>
                  <a:lnTo>
                    <a:pt x="535" y="534"/>
                  </a:lnTo>
                  <a:lnTo>
                    <a:pt x="535" y="66"/>
                  </a:lnTo>
                  <a:lnTo>
                    <a:pt x="537" y="49"/>
                  </a:lnTo>
                  <a:lnTo>
                    <a:pt x="545" y="33"/>
                  </a:lnTo>
                  <a:lnTo>
                    <a:pt x="555" y="20"/>
                  </a:lnTo>
                  <a:lnTo>
                    <a:pt x="569" y="8"/>
                  </a:lnTo>
                  <a:lnTo>
                    <a:pt x="585" y="2"/>
                  </a:lnTo>
                  <a:lnTo>
                    <a:pt x="60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0" name="Freeform 12"/>
          <p:cNvSpPr>
            <a:spLocks noEditPoints="1"/>
          </p:cNvSpPr>
          <p:nvPr/>
        </p:nvSpPr>
        <p:spPr bwMode="auto">
          <a:xfrm>
            <a:off x="7212524" y="1701786"/>
            <a:ext cx="496256" cy="653170"/>
          </a:xfrm>
          <a:custGeom>
            <a:avLst/>
            <a:gdLst>
              <a:gd name="T0" fmla="*/ 1945 w 2569"/>
              <a:gd name="T1" fmla="*/ 2571 h 3379"/>
              <a:gd name="T2" fmla="*/ 1819 w 2569"/>
              <a:gd name="T3" fmla="*/ 2753 h 3379"/>
              <a:gd name="T4" fmla="*/ 1732 w 2569"/>
              <a:gd name="T5" fmla="*/ 2806 h 3379"/>
              <a:gd name="T6" fmla="*/ 1743 w 2569"/>
              <a:gd name="T7" fmla="*/ 2909 h 3379"/>
              <a:gd name="T8" fmla="*/ 1923 w 2569"/>
              <a:gd name="T9" fmla="*/ 2945 h 3379"/>
              <a:gd name="T10" fmla="*/ 1960 w 2569"/>
              <a:gd name="T11" fmla="*/ 3129 h 3379"/>
              <a:gd name="T12" fmla="*/ 2062 w 2569"/>
              <a:gd name="T13" fmla="*/ 3140 h 3379"/>
              <a:gd name="T14" fmla="*/ 2116 w 2569"/>
              <a:gd name="T15" fmla="*/ 3053 h 3379"/>
              <a:gd name="T16" fmla="*/ 2302 w 2569"/>
              <a:gd name="T17" fmla="*/ 2924 h 3379"/>
              <a:gd name="T18" fmla="*/ 2335 w 2569"/>
              <a:gd name="T19" fmla="*/ 2827 h 3379"/>
              <a:gd name="T20" fmla="*/ 2264 w 2569"/>
              <a:gd name="T21" fmla="*/ 2756 h 3379"/>
              <a:gd name="T22" fmla="*/ 2106 w 2569"/>
              <a:gd name="T23" fmla="*/ 2589 h 3379"/>
              <a:gd name="T24" fmla="*/ 2020 w 2569"/>
              <a:gd name="T25" fmla="*/ 2535 h 3379"/>
              <a:gd name="T26" fmla="*/ 2252 w 2569"/>
              <a:gd name="T27" fmla="*/ 2353 h 3379"/>
              <a:gd name="T28" fmla="*/ 2464 w 2569"/>
              <a:gd name="T29" fmla="*/ 2525 h 3379"/>
              <a:gd name="T30" fmla="*/ 2566 w 2569"/>
              <a:gd name="T31" fmla="*/ 2784 h 3379"/>
              <a:gd name="T32" fmla="*/ 2521 w 2569"/>
              <a:gd name="T33" fmla="*/ 3064 h 3379"/>
              <a:gd name="T34" fmla="*/ 2349 w 2569"/>
              <a:gd name="T35" fmla="*/ 3276 h 3379"/>
              <a:gd name="T36" fmla="*/ 2089 w 2569"/>
              <a:gd name="T37" fmla="*/ 3376 h 3379"/>
              <a:gd name="T38" fmla="*/ 1809 w 2569"/>
              <a:gd name="T39" fmla="*/ 3332 h 3379"/>
              <a:gd name="T40" fmla="*/ 1596 w 2569"/>
              <a:gd name="T41" fmla="*/ 3160 h 3379"/>
              <a:gd name="T42" fmla="*/ 1495 w 2569"/>
              <a:gd name="T43" fmla="*/ 2901 h 3379"/>
              <a:gd name="T44" fmla="*/ 1540 w 2569"/>
              <a:gd name="T45" fmla="*/ 2620 h 3379"/>
              <a:gd name="T46" fmla="*/ 1712 w 2569"/>
              <a:gd name="T47" fmla="*/ 2409 h 3379"/>
              <a:gd name="T48" fmla="*/ 1972 w 2569"/>
              <a:gd name="T49" fmla="*/ 2308 h 3379"/>
              <a:gd name="T50" fmla="*/ 444 w 2569"/>
              <a:gd name="T51" fmla="*/ 1724 h 3379"/>
              <a:gd name="T52" fmla="*/ 411 w 2569"/>
              <a:gd name="T53" fmla="*/ 1821 h 3379"/>
              <a:gd name="T54" fmla="*/ 482 w 2569"/>
              <a:gd name="T55" fmla="*/ 1892 h 3379"/>
              <a:gd name="T56" fmla="*/ 1834 w 2569"/>
              <a:gd name="T57" fmla="*/ 1874 h 3379"/>
              <a:gd name="T58" fmla="*/ 1867 w 2569"/>
              <a:gd name="T59" fmla="*/ 1777 h 3379"/>
              <a:gd name="T60" fmla="*/ 1796 w 2569"/>
              <a:gd name="T61" fmla="*/ 1705 h 3379"/>
              <a:gd name="T62" fmla="*/ 463 w 2569"/>
              <a:gd name="T63" fmla="*/ 1290 h 3379"/>
              <a:gd name="T64" fmla="*/ 409 w 2569"/>
              <a:gd name="T65" fmla="*/ 1377 h 3379"/>
              <a:gd name="T66" fmla="*/ 463 w 2569"/>
              <a:gd name="T67" fmla="*/ 1463 h 3379"/>
              <a:gd name="T68" fmla="*/ 1816 w 2569"/>
              <a:gd name="T69" fmla="*/ 1463 h 3379"/>
              <a:gd name="T70" fmla="*/ 1871 w 2569"/>
              <a:gd name="T71" fmla="*/ 1377 h 3379"/>
              <a:gd name="T72" fmla="*/ 1816 w 2569"/>
              <a:gd name="T73" fmla="*/ 1290 h 3379"/>
              <a:gd name="T74" fmla="*/ 482 w 2569"/>
              <a:gd name="T75" fmla="*/ 886 h 3379"/>
              <a:gd name="T76" fmla="*/ 411 w 2569"/>
              <a:gd name="T77" fmla="*/ 958 h 3379"/>
              <a:gd name="T78" fmla="*/ 444 w 2569"/>
              <a:gd name="T79" fmla="*/ 1055 h 3379"/>
              <a:gd name="T80" fmla="*/ 1796 w 2569"/>
              <a:gd name="T81" fmla="*/ 1073 h 3379"/>
              <a:gd name="T82" fmla="*/ 1867 w 2569"/>
              <a:gd name="T83" fmla="*/ 1002 h 3379"/>
              <a:gd name="T84" fmla="*/ 1834 w 2569"/>
              <a:gd name="T85" fmla="*/ 905 h 3379"/>
              <a:gd name="T86" fmla="*/ 1859 w 2569"/>
              <a:gd name="T87" fmla="*/ 31 h 3379"/>
              <a:gd name="T88" fmla="*/ 1667 w 2569"/>
              <a:gd name="T89" fmla="*/ 0 h 3379"/>
              <a:gd name="T90" fmla="*/ 1706 w 2569"/>
              <a:gd name="T91" fmla="*/ 594 h 3379"/>
              <a:gd name="T92" fmla="*/ 2308 w 2569"/>
              <a:gd name="T93" fmla="*/ 2169 h 3379"/>
              <a:gd name="T94" fmla="*/ 2079 w 2569"/>
              <a:gd name="T95" fmla="*/ 2114 h 3379"/>
              <a:gd name="T96" fmla="*/ 1773 w 2569"/>
              <a:gd name="T97" fmla="*/ 2159 h 3379"/>
              <a:gd name="T98" fmla="*/ 1513 w 2569"/>
              <a:gd name="T99" fmla="*/ 2327 h 3379"/>
              <a:gd name="T100" fmla="*/ 1344 w 2569"/>
              <a:gd name="T101" fmla="*/ 2588 h 3379"/>
              <a:gd name="T102" fmla="*/ 1302 w 2569"/>
              <a:gd name="T103" fmla="*/ 2910 h 3379"/>
              <a:gd name="T104" fmla="*/ 99 w 2569"/>
              <a:gd name="T105" fmla="*/ 3153 h 3379"/>
              <a:gd name="T106" fmla="*/ 11 w 2569"/>
              <a:gd name="T107" fmla="*/ 3097 h 3379"/>
              <a:gd name="T108" fmla="*/ 11 w 2569"/>
              <a:gd name="T109" fmla="*/ 54 h 3379"/>
              <a:gd name="T110" fmla="*/ 101 w 2569"/>
              <a:gd name="T111" fmla="*/ 0 h 33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569" h="3379">
                <a:moveTo>
                  <a:pt x="2020" y="2535"/>
                </a:moveTo>
                <a:lnTo>
                  <a:pt x="1998" y="2538"/>
                </a:lnTo>
                <a:lnTo>
                  <a:pt x="1977" y="2545"/>
                </a:lnTo>
                <a:lnTo>
                  <a:pt x="1960" y="2556"/>
                </a:lnTo>
                <a:lnTo>
                  <a:pt x="1945" y="2571"/>
                </a:lnTo>
                <a:lnTo>
                  <a:pt x="1934" y="2589"/>
                </a:lnTo>
                <a:lnTo>
                  <a:pt x="1926" y="2609"/>
                </a:lnTo>
                <a:lnTo>
                  <a:pt x="1923" y="2631"/>
                </a:lnTo>
                <a:lnTo>
                  <a:pt x="1923" y="2753"/>
                </a:lnTo>
                <a:lnTo>
                  <a:pt x="1819" y="2753"/>
                </a:lnTo>
                <a:lnTo>
                  <a:pt x="1797" y="2756"/>
                </a:lnTo>
                <a:lnTo>
                  <a:pt x="1776" y="2763"/>
                </a:lnTo>
                <a:lnTo>
                  <a:pt x="1759" y="2774"/>
                </a:lnTo>
                <a:lnTo>
                  <a:pt x="1743" y="2789"/>
                </a:lnTo>
                <a:lnTo>
                  <a:pt x="1732" y="2806"/>
                </a:lnTo>
                <a:lnTo>
                  <a:pt x="1725" y="2827"/>
                </a:lnTo>
                <a:lnTo>
                  <a:pt x="1723" y="2849"/>
                </a:lnTo>
                <a:lnTo>
                  <a:pt x="1725" y="2870"/>
                </a:lnTo>
                <a:lnTo>
                  <a:pt x="1732" y="2891"/>
                </a:lnTo>
                <a:lnTo>
                  <a:pt x="1743" y="2909"/>
                </a:lnTo>
                <a:lnTo>
                  <a:pt x="1759" y="2924"/>
                </a:lnTo>
                <a:lnTo>
                  <a:pt x="1776" y="2935"/>
                </a:lnTo>
                <a:lnTo>
                  <a:pt x="1797" y="2943"/>
                </a:lnTo>
                <a:lnTo>
                  <a:pt x="1819" y="2945"/>
                </a:lnTo>
                <a:lnTo>
                  <a:pt x="1923" y="2945"/>
                </a:lnTo>
                <a:lnTo>
                  <a:pt x="1923" y="3053"/>
                </a:lnTo>
                <a:lnTo>
                  <a:pt x="1926" y="3076"/>
                </a:lnTo>
                <a:lnTo>
                  <a:pt x="1934" y="3095"/>
                </a:lnTo>
                <a:lnTo>
                  <a:pt x="1945" y="3114"/>
                </a:lnTo>
                <a:lnTo>
                  <a:pt x="1960" y="3129"/>
                </a:lnTo>
                <a:lnTo>
                  <a:pt x="1977" y="3140"/>
                </a:lnTo>
                <a:lnTo>
                  <a:pt x="1998" y="3147"/>
                </a:lnTo>
                <a:lnTo>
                  <a:pt x="2020" y="3149"/>
                </a:lnTo>
                <a:lnTo>
                  <a:pt x="2041" y="3147"/>
                </a:lnTo>
                <a:lnTo>
                  <a:pt x="2062" y="3140"/>
                </a:lnTo>
                <a:lnTo>
                  <a:pt x="2080" y="3129"/>
                </a:lnTo>
                <a:lnTo>
                  <a:pt x="2095" y="3114"/>
                </a:lnTo>
                <a:lnTo>
                  <a:pt x="2106" y="3095"/>
                </a:lnTo>
                <a:lnTo>
                  <a:pt x="2114" y="3076"/>
                </a:lnTo>
                <a:lnTo>
                  <a:pt x="2116" y="3053"/>
                </a:lnTo>
                <a:lnTo>
                  <a:pt x="2116" y="2945"/>
                </a:lnTo>
                <a:lnTo>
                  <a:pt x="2242" y="2945"/>
                </a:lnTo>
                <a:lnTo>
                  <a:pt x="2264" y="2943"/>
                </a:lnTo>
                <a:lnTo>
                  <a:pt x="2284" y="2935"/>
                </a:lnTo>
                <a:lnTo>
                  <a:pt x="2302" y="2924"/>
                </a:lnTo>
                <a:lnTo>
                  <a:pt x="2317" y="2909"/>
                </a:lnTo>
                <a:lnTo>
                  <a:pt x="2328" y="2891"/>
                </a:lnTo>
                <a:lnTo>
                  <a:pt x="2335" y="2870"/>
                </a:lnTo>
                <a:lnTo>
                  <a:pt x="2338" y="2849"/>
                </a:lnTo>
                <a:lnTo>
                  <a:pt x="2335" y="2827"/>
                </a:lnTo>
                <a:lnTo>
                  <a:pt x="2328" y="2806"/>
                </a:lnTo>
                <a:lnTo>
                  <a:pt x="2317" y="2789"/>
                </a:lnTo>
                <a:lnTo>
                  <a:pt x="2302" y="2774"/>
                </a:lnTo>
                <a:lnTo>
                  <a:pt x="2284" y="2763"/>
                </a:lnTo>
                <a:lnTo>
                  <a:pt x="2264" y="2756"/>
                </a:lnTo>
                <a:lnTo>
                  <a:pt x="2242" y="2753"/>
                </a:lnTo>
                <a:lnTo>
                  <a:pt x="2116" y="2753"/>
                </a:lnTo>
                <a:lnTo>
                  <a:pt x="2116" y="2631"/>
                </a:lnTo>
                <a:lnTo>
                  <a:pt x="2114" y="2609"/>
                </a:lnTo>
                <a:lnTo>
                  <a:pt x="2106" y="2589"/>
                </a:lnTo>
                <a:lnTo>
                  <a:pt x="2095" y="2571"/>
                </a:lnTo>
                <a:lnTo>
                  <a:pt x="2080" y="2556"/>
                </a:lnTo>
                <a:lnTo>
                  <a:pt x="2062" y="2545"/>
                </a:lnTo>
                <a:lnTo>
                  <a:pt x="2041" y="2538"/>
                </a:lnTo>
                <a:lnTo>
                  <a:pt x="2020" y="2535"/>
                </a:lnTo>
                <a:close/>
                <a:moveTo>
                  <a:pt x="2030" y="2304"/>
                </a:moveTo>
                <a:lnTo>
                  <a:pt x="2089" y="2308"/>
                </a:lnTo>
                <a:lnTo>
                  <a:pt x="2146" y="2317"/>
                </a:lnTo>
                <a:lnTo>
                  <a:pt x="2201" y="2332"/>
                </a:lnTo>
                <a:lnTo>
                  <a:pt x="2252" y="2353"/>
                </a:lnTo>
                <a:lnTo>
                  <a:pt x="2302" y="2379"/>
                </a:lnTo>
                <a:lnTo>
                  <a:pt x="2349" y="2409"/>
                </a:lnTo>
                <a:lnTo>
                  <a:pt x="2391" y="2444"/>
                </a:lnTo>
                <a:lnTo>
                  <a:pt x="2430" y="2482"/>
                </a:lnTo>
                <a:lnTo>
                  <a:pt x="2464" y="2525"/>
                </a:lnTo>
                <a:lnTo>
                  <a:pt x="2495" y="2571"/>
                </a:lnTo>
                <a:lnTo>
                  <a:pt x="2521" y="2620"/>
                </a:lnTo>
                <a:lnTo>
                  <a:pt x="2541" y="2673"/>
                </a:lnTo>
                <a:lnTo>
                  <a:pt x="2556" y="2727"/>
                </a:lnTo>
                <a:lnTo>
                  <a:pt x="2566" y="2784"/>
                </a:lnTo>
                <a:lnTo>
                  <a:pt x="2569" y="2842"/>
                </a:lnTo>
                <a:lnTo>
                  <a:pt x="2566" y="2901"/>
                </a:lnTo>
                <a:lnTo>
                  <a:pt x="2556" y="2958"/>
                </a:lnTo>
                <a:lnTo>
                  <a:pt x="2541" y="3012"/>
                </a:lnTo>
                <a:lnTo>
                  <a:pt x="2521" y="3064"/>
                </a:lnTo>
                <a:lnTo>
                  <a:pt x="2495" y="3113"/>
                </a:lnTo>
                <a:lnTo>
                  <a:pt x="2464" y="3160"/>
                </a:lnTo>
                <a:lnTo>
                  <a:pt x="2430" y="3203"/>
                </a:lnTo>
                <a:lnTo>
                  <a:pt x="2391" y="3241"/>
                </a:lnTo>
                <a:lnTo>
                  <a:pt x="2349" y="3276"/>
                </a:lnTo>
                <a:lnTo>
                  <a:pt x="2302" y="3306"/>
                </a:lnTo>
                <a:lnTo>
                  <a:pt x="2252" y="3332"/>
                </a:lnTo>
                <a:lnTo>
                  <a:pt x="2201" y="3353"/>
                </a:lnTo>
                <a:lnTo>
                  <a:pt x="2146" y="3367"/>
                </a:lnTo>
                <a:lnTo>
                  <a:pt x="2089" y="3376"/>
                </a:lnTo>
                <a:lnTo>
                  <a:pt x="2030" y="3379"/>
                </a:lnTo>
                <a:lnTo>
                  <a:pt x="1972" y="3376"/>
                </a:lnTo>
                <a:lnTo>
                  <a:pt x="1915" y="3367"/>
                </a:lnTo>
                <a:lnTo>
                  <a:pt x="1860" y="3353"/>
                </a:lnTo>
                <a:lnTo>
                  <a:pt x="1809" y="3332"/>
                </a:lnTo>
                <a:lnTo>
                  <a:pt x="1759" y="3306"/>
                </a:lnTo>
                <a:lnTo>
                  <a:pt x="1712" y="3276"/>
                </a:lnTo>
                <a:lnTo>
                  <a:pt x="1670" y="3241"/>
                </a:lnTo>
                <a:lnTo>
                  <a:pt x="1631" y="3203"/>
                </a:lnTo>
                <a:lnTo>
                  <a:pt x="1596" y="3160"/>
                </a:lnTo>
                <a:lnTo>
                  <a:pt x="1565" y="3113"/>
                </a:lnTo>
                <a:lnTo>
                  <a:pt x="1540" y="3064"/>
                </a:lnTo>
                <a:lnTo>
                  <a:pt x="1520" y="3012"/>
                </a:lnTo>
                <a:lnTo>
                  <a:pt x="1504" y="2958"/>
                </a:lnTo>
                <a:lnTo>
                  <a:pt x="1495" y="2901"/>
                </a:lnTo>
                <a:lnTo>
                  <a:pt x="1492" y="2842"/>
                </a:lnTo>
                <a:lnTo>
                  <a:pt x="1495" y="2784"/>
                </a:lnTo>
                <a:lnTo>
                  <a:pt x="1504" y="2727"/>
                </a:lnTo>
                <a:lnTo>
                  <a:pt x="1520" y="2673"/>
                </a:lnTo>
                <a:lnTo>
                  <a:pt x="1540" y="2620"/>
                </a:lnTo>
                <a:lnTo>
                  <a:pt x="1565" y="2571"/>
                </a:lnTo>
                <a:lnTo>
                  <a:pt x="1596" y="2525"/>
                </a:lnTo>
                <a:lnTo>
                  <a:pt x="1631" y="2482"/>
                </a:lnTo>
                <a:lnTo>
                  <a:pt x="1670" y="2444"/>
                </a:lnTo>
                <a:lnTo>
                  <a:pt x="1712" y="2409"/>
                </a:lnTo>
                <a:lnTo>
                  <a:pt x="1759" y="2379"/>
                </a:lnTo>
                <a:lnTo>
                  <a:pt x="1809" y="2353"/>
                </a:lnTo>
                <a:lnTo>
                  <a:pt x="1860" y="2332"/>
                </a:lnTo>
                <a:lnTo>
                  <a:pt x="1915" y="2317"/>
                </a:lnTo>
                <a:lnTo>
                  <a:pt x="1972" y="2308"/>
                </a:lnTo>
                <a:lnTo>
                  <a:pt x="2030" y="2304"/>
                </a:lnTo>
                <a:close/>
                <a:moveTo>
                  <a:pt x="505" y="1703"/>
                </a:moveTo>
                <a:lnTo>
                  <a:pt x="482" y="1705"/>
                </a:lnTo>
                <a:lnTo>
                  <a:pt x="463" y="1713"/>
                </a:lnTo>
                <a:lnTo>
                  <a:pt x="444" y="1724"/>
                </a:lnTo>
                <a:lnTo>
                  <a:pt x="430" y="1740"/>
                </a:lnTo>
                <a:lnTo>
                  <a:pt x="418" y="1757"/>
                </a:lnTo>
                <a:lnTo>
                  <a:pt x="411" y="1777"/>
                </a:lnTo>
                <a:lnTo>
                  <a:pt x="409" y="1799"/>
                </a:lnTo>
                <a:lnTo>
                  <a:pt x="411" y="1821"/>
                </a:lnTo>
                <a:lnTo>
                  <a:pt x="418" y="1842"/>
                </a:lnTo>
                <a:lnTo>
                  <a:pt x="430" y="1859"/>
                </a:lnTo>
                <a:lnTo>
                  <a:pt x="444" y="1874"/>
                </a:lnTo>
                <a:lnTo>
                  <a:pt x="463" y="1885"/>
                </a:lnTo>
                <a:lnTo>
                  <a:pt x="482" y="1892"/>
                </a:lnTo>
                <a:lnTo>
                  <a:pt x="505" y="1895"/>
                </a:lnTo>
                <a:lnTo>
                  <a:pt x="1774" y="1895"/>
                </a:lnTo>
                <a:lnTo>
                  <a:pt x="1796" y="1892"/>
                </a:lnTo>
                <a:lnTo>
                  <a:pt x="1816" y="1885"/>
                </a:lnTo>
                <a:lnTo>
                  <a:pt x="1834" y="1874"/>
                </a:lnTo>
                <a:lnTo>
                  <a:pt x="1849" y="1859"/>
                </a:lnTo>
                <a:lnTo>
                  <a:pt x="1860" y="1842"/>
                </a:lnTo>
                <a:lnTo>
                  <a:pt x="1867" y="1821"/>
                </a:lnTo>
                <a:lnTo>
                  <a:pt x="1871" y="1799"/>
                </a:lnTo>
                <a:lnTo>
                  <a:pt x="1867" y="1777"/>
                </a:lnTo>
                <a:lnTo>
                  <a:pt x="1860" y="1757"/>
                </a:lnTo>
                <a:lnTo>
                  <a:pt x="1849" y="1740"/>
                </a:lnTo>
                <a:lnTo>
                  <a:pt x="1834" y="1724"/>
                </a:lnTo>
                <a:lnTo>
                  <a:pt x="1816" y="1713"/>
                </a:lnTo>
                <a:lnTo>
                  <a:pt x="1796" y="1705"/>
                </a:lnTo>
                <a:lnTo>
                  <a:pt x="1774" y="1703"/>
                </a:lnTo>
                <a:lnTo>
                  <a:pt x="505" y="1703"/>
                </a:lnTo>
                <a:close/>
                <a:moveTo>
                  <a:pt x="505" y="1281"/>
                </a:moveTo>
                <a:lnTo>
                  <a:pt x="482" y="1283"/>
                </a:lnTo>
                <a:lnTo>
                  <a:pt x="463" y="1290"/>
                </a:lnTo>
                <a:lnTo>
                  <a:pt x="444" y="1302"/>
                </a:lnTo>
                <a:lnTo>
                  <a:pt x="430" y="1317"/>
                </a:lnTo>
                <a:lnTo>
                  <a:pt x="418" y="1335"/>
                </a:lnTo>
                <a:lnTo>
                  <a:pt x="411" y="1354"/>
                </a:lnTo>
                <a:lnTo>
                  <a:pt x="409" y="1377"/>
                </a:lnTo>
                <a:lnTo>
                  <a:pt x="411" y="1399"/>
                </a:lnTo>
                <a:lnTo>
                  <a:pt x="418" y="1419"/>
                </a:lnTo>
                <a:lnTo>
                  <a:pt x="430" y="1437"/>
                </a:lnTo>
                <a:lnTo>
                  <a:pt x="444" y="1451"/>
                </a:lnTo>
                <a:lnTo>
                  <a:pt x="463" y="1463"/>
                </a:lnTo>
                <a:lnTo>
                  <a:pt x="482" y="1470"/>
                </a:lnTo>
                <a:lnTo>
                  <a:pt x="505" y="1473"/>
                </a:lnTo>
                <a:lnTo>
                  <a:pt x="1774" y="1473"/>
                </a:lnTo>
                <a:lnTo>
                  <a:pt x="1796" y="1470"/>
                </a:lnTo>
                <a:lnTo>
                  <a:pt x="1816" y="1463"/>
                </a:lnTo>
                <a:lnTo>
                  <a:pt x="1834" y="1451"/>
                </a:lnTo>
                <a:lnTo>
                  <a:pt x="1849" y="1437"/>
                </a:lnTo>
                <a:lnTo>
                  <a:pt x="1860" y="1419"/>
                </a:lnTo>
                <a:lnTo>
                  <a:pt x="1867" y="1399"/>
                </a:lnTo>
                <a:lnTo>
                  <a:pt x="1871" y="1377"/>
                </a:lnTo>
                <a:lnTo>
                  <a:pt x="1867" y="1354"/>
                </a:lnTo>
                <a:lnTo>
                  <a:pt x="1860" y="1335"/>
                </a:lnTo>
                <a:lnTo>
                  <a:pt x="1849" y="1317"/>
                </a:lnTo>
                <a:lnTo>
                  <a:pt x="1834" y="1302"/>
                </a:lnTo>
                <a:lnTo>
                  <a:pt x="1816" y="1290"/>
                </a:lnTo>
                <a:lnTo>
                  <a:pt x="1796" y="1283"/>
                </a:lnTo>
                <a:lnTo>
                  <a:pt x="1774" y="1281"/>
                </a:lnTo>
                <a:lnTo>
                  <a:pt x="505" y="1281"/>
                </a:lnTo>
                <a:close/>
                <a:moveTo>
                  <a:pt x="505" y="884"/>
                </a:moveTo>
                <a:lnTo>
                  <a:pt x="482" y="886"/>
                </a:lnTo>
                <a:lnTo>
                  <a:pt x="463" y="894"/>
                </a:lnTo>
                <a:lnTo>
                  <a:pt x="444" y="905"/>
                </a:lnTo>
                <a:lnTo>
                  <a:pt x="430" y="920"/>
                </a:lnTo>
                <a:lnTo>
                  <a:pt x="418" y="938"/>
                </a:lnTo>
                <a:lnTo>
                  <a:pt x="411" y="958"/>
                </a:lnTo>
                <a:lnTo>
                  <a:pt x="409" y="980"/>
                </a:lnTo>
                <a:lnTo>
                  <a:pt x="411" y="1002"/>
                </a:lnTo>
                <a:lnTo>
                  <a:pt x="418" y="1022"/>
                </a:lnTo>
                <a:lnTo>
                  <a:pt x="430" y="1040"/>
                </a:lnTo>
                <a:lnTo>
                  <a:pt x="444" y="1055"/>
                </a:lnTo>
                <a:lnTo>
                  <a:pt x="463" y="1066"/>
                </a:lnTo>
                <a:lnTo>
                  <a:pt x="482" y="1073"/>
                </a:lnTo>
                <a:lnTo>
                  <a:pt x="505" y="1076"/>
                </a:lnTo>
                <a:lnTo>
                  <a:pt x="1774" y="1076"/>
                </a:lnTo>
                <a:lnTo>
                  <a:pt x="1796" y="1073"/>
                </a:lnTo>
                <a:lnTo>
                  <a:pt x="1816" y="1066"/>
                </a:lnTo>
                <a:lnTo>
                  <a:pt x="1834" y="1055"/>
                </a:lnTo>
                <a:lnTo>
                  <a:pt x="1849" y="1040"/>
                </a:lnTo>
                <a:lnTo>
                  <a:pt x="1860" y="1022"/>
                </a:lnTo>
                <a:lnTo>
                  <a:pt x="1867" y="1002"/>
                </a:lnTo>
                <a:lnTo>
                  <a:pt x="1871" y="980"/>
                </a:lnTo>
                <a:lnTo>
                  <a:pt x="1867" y="958"/>
                </a:lnTo>
                <a:lnTo>
                  <a:pt x="1860" y="938"/>
                </a:lnTo>
                <a:lnTo>
                  <a:pt x="1849" y="920"/>
                </a:lnTo>
                <a:lnTo>
                  <a:pt x="1834" y="905"/>
                </a:lnTo>
                <a:lnTo>
                  <a:pt x="1816" y="894"/>
                </a:lnTo>
                <a:lnTo>
                  <a:pt x="1796" y="886"/>
                </a:lnTo>
                <a:lnTo>
                  <a:pt x="1774" y="884"/>
                </a:lnTo>
                <a:lnTo>
                  <a:pt x="505" y="884"/>
                </a:lnTo>
                <a:close/>
                <a:moveTo>
                  <a:pt x="1859" y="31"/>
                </a:moveTo>
                <a:lnTo>
                  <a:pt x="2273" y="423"/>
                </a:lnTo>
                <a:lnTo>
                  <a:pt x="1859" y="423"/>
                </a:lnTo>
                <a:lnTo>
                  <a:pt x="1859" y="31"/>
                </a:lnTo>
                <a:close/>
                <a:moveTo>
                  <a:pt x="101" y="0"/>
                </a:moveTo>
                <a:lnTo>
                  <a:pt x="1667" y="0"/>
                </a:lnTo>
                <a:lnTo>
                  <a:pt x="1667" y="519"/>
                </a:lnTo>
                <a:lnTo>
                  <a:pt x="1670" y="542"/>
                </a:lnTo>
                <a:lnTo>
                  <a:pt x="1678" y="561"/>
                </a:lnTo>
                <a:lnTo>
                  <a:pt x="1690" y="579"/>
                </a:lnTo>
                <a:lnTo>
                  <a:pt x="1706" y="594"/>
                </a:lnTo>
                <a:lnTo>
                  <a:pt x="1725" y="606"/>
                </a:lnTo>
                <a:lnTo>
                  <a:pt x="1745" y="613"/>
                </a:lnTo>
                <a:lnTo>
                  <a:pt x="1767" y="615"/>
                </a:lnTo>
                <a:lnTo>
                  <a:pt x="2308" y="615"/>
                </a:lnTo>
                <a:lnTo>
                  <a:pt x="2308" y="2169"/>
                </a:lnTo>
                <a:lnTo>
                  <a:pt x="2268" y="2153"/>
                </a:lnTo>
                <a:lnTo>
                  <a:pt x="2223" y="2138"/>
                </a:lnTo>
                <a:lnTo>
                  <a:pt x="2177" y="2128"/>
                </a:lnTo>
                <a:lnTo>
                  <a:pt x="2128" y="2120"/>
                </a:lnTo>
                <a:lnTo>
                  <a:pt x="2079" y="2114"/>
                </a:lnTo>
                <a:lnTo>
                  <a:pt x="2028" y="2112"/>
                </a:lnTo>
                <a:lnTo>
                  <a:pt x="1962" y="2115"/>
                </a:lnTo>
                <a:lnTo>
                  <a:pt x="1897" y="2125"/>
                </a:lnTo>
                <a:lnTo>
                  <a:pt x="1834" y="2139"/>
                </a:lnTo>
                <a:lnTo>
                  <a:pt x="1773" y="2159"/>
                </a:lnTo>
                <a:lnTo>
                  <a:pt x="1715" y="2184"/>
                </a:lnTo>
                <a:lnTo>
                  <a:pt x="1660" y="2212"/>
                </a:lnTo>
                <a:lnTo>
                  <a:pt x="1608" y="2247"/>
                </a:lnTo>
                <a:lnTo>
                  <a:pt x="1558" y="2285"/>
                </a:lnTo>
                <a:lnTo>
                  <a:pt x="1513" y="2327"/>
                </a:lnTo>
                <a:lnTo>
                  <a:pt x="1470" y="2373"/>
                </a:lnTo>
                <a:lnTo>
                  <a:pt x="1432" y="2422"/>
                </a:lnTo>
                <a:lnTo>
                  <a:pt x="1398" y="2475"/>
                </a:lnTo>
                <a:lnTo>
                  <a:pt x="1369" y="2530"/>
                </a:lnTo>
                <a:lnTo>
                  <a:pt x="1344" y="2588"/>
                </a:lnTo>
                <a:lnTo>
                  <a:pt x="1324" y="2648"/>
                </a:lnTo>
                <a:lnTo>
                  <a:pt x="1310" y="2711"/>
                </a:lnTo>
                <a:lnTo>
                  <a:pt x="1302" y="2776"/>
                </a:lnTo>
                <a:lnTo>
                  <a:pt x="1299" y="2842"/>
                </a:lnTo>
                <a:lnTo>
                  <a:pt x="1302" y="2910"/>
                </a:lnTo>
                <a:lnTo>
                  <a:pt x="1311" y="2975"/>
                </a:lnTo>
                <a:lnTo>
                  <a:pt x="1326" y="3039"/>
                </a:lnTo>
                <a:lnTo>
                  <a:pt x="1346" y="3100"/>
                </a:lnTo>
                <a:lnTo>
                  <a:pt x="1372" y="3158"/>
                </a:lnTo>
                <a:lnTo>
                  <a:pt x="99" y="3153"/>
                </a:lnTo>
                <a:lnTo>
                  <a:pt x="76" y="3150"/>
                </a:lnTo>
                <a:lnTo>
                  <a:pt x="56" y="3142"/>
                </a:lnTo>
                <a:lnTo>
                  <a:pt x="37" y="3131"/>
                </a:lnTo>
                <a:lnTo>
                  <a:pt x="22" y="3115"/>
                </a:lnTo>
                <a:lnTo>
                  <a:pt x="11" y="3097"/>
                </a:lnTo>
                <a:lnTo>
                  <a:pt x="3" y="3076"/>
                </a:lnTo>
                <a:lnTo>
                  <a:pt x="0" y="3053"/>
                </a:lnTo>
                <a:lnTo>
                  <a:pt x="0" y="96"/>
                </a:lnTo>
                <a:lnTo>
                  <a:pt x="3" y="75"/>
                </a:lnTo>
                <a:lnTo>
                  <a:pt x="11" y="54"/>
                </a:lnTo>
                <a:lnTo>
                  <a:pt x="23" y="37"/>
                </a:lnTo>
                <a:lnTo>
                  <a:pt x="39" y="22"/>
                </a:lnTo>
                <a:lnTo>
                  <a:pt x="57" y="11"/>
                </a:lnTo>
                <a:lnTo>
                  <a:pt x="79" y="3"/>
                </a:lnTo>
                <a:lnTo>
                  <a:pt x="101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1" name="Group 15"/>
          <p:cNvGrpSpPr>
            <a:grpSpLocks noChangeAspect="1"/>
          </p:cNvGrpSpPr>
          <p:nvPr/>
        </p:nvGrpSpPr>
        <p:grpSpPr bwMode="auto">
          <a:xfrm>
            <a:off x="4332443" y="1740240"/>
            <a:ext cx="581025" cy="576262"/>
            <a:chOff x="2727" y="1093"/>
            <a:chExt cx="366" cy="363"/>
          </a:xfrm>
          <a:solidFill>
            <a:schemeClr val="bg1"/>
          </a:solidFill>
        </p:grpSpPr>
        <p:sp>
          <p:nvSpPr>
            <p:cNvPr id="34" name="Freeform 17"/>
            <p:cNvSpPr>
              <a:spLocks/>
            </p:cNvSpPr>
            <p:nvPr/>
          </p:nvSpPr>
          <p:spPr bwMode="auto">
            <a:xfrm>
              <a:off x="2727" y="1423"/>
              <a:ext cx="366" cy="33"/>
            </a:xfrm>
            <a:custGeom>
              <a:avLst/>
              <a:gdLst>
                <a:gd name="T0" fmla="*/ 150 w 3295"/>
                <a:gd name="T1" fmla="*/ 0 h 298"/>
                <a:gd name="T2" fmla="*/ 3145 w 3295"/>
                <a:gd name="T3" fmla="*/ 0 h 298"/>
                <a:gd name="T4" fmla="*/ 3175 w 3295"/>
                <a:gd name="T5" fmla="*/ 4 h 298"/>
                <a:gd name="T6" fmla="*/ 3203 w 3295"/>
                <a:gd name="T7" fmla="*/ 12 h 298"/>
                <a:gd name="T8" fmla="*/ 3228 w 3295"/>
                <a:gd name="T9" fmla="*/ 25 h 298"/>
                <a:gd name="T10" fmla="*/ 3250 w 3295"/>
                <a:gd name="T11" fmla="*/ 44 h 298"/>
                <a:gd name="T12" fmla="*/ 3269 w 3295"/>
                <a:gd name="T13" fmla="*/ 65 h 298"/>
                <a:gd name="T14" fmla="*/ 3282 w 3295"/>
                <a:gd name="T15" fmla="*/ 91 h 298"/>
                <a:gd name="T16" fmla="*/ 3292 w 3295"/>
                <a:gd name="T17" fmla="*/ 119 h 298"/>
                <a:gd name="T18" fmla="*/ 3295 w 3295"/>
                <a:gd name="T19" fmla="*/ 149 h 298"/>
                <a:gd name="T20" fmla="*/ 3292 w 3295"/>
                <a:gd name="T21" fmla="*/ 178 h 298"/>
                <a:gd name="T22" fmla="*/ 3282 w 3295"/>
                <a:gd name="T23" fmla="*/ 206 h 298"/>
                <a:gd name="T24" fmla="*/ 3269 w 3295"/>
                <a:gd name="T25" fmla="*/ 232 h 298"/>
                <a:gd name="T26" fmla="*/ 3250 w 3295"/>
                <a:gd name="T27" fmla="*/ 253 h 298"/>
                <a:gd name="T28" fmla="*/ 3228 w 3295"/>
                <a:gd name="T29" fmla="*/ 272 h 298"/>
                <a:gd name="T30" fmla="*/ 3203 w 3295"/>
                <a:gd name="T31" fmla="*/ 285 h 298"/>
                <a:gd name="T32" fmla="*/ 3175 w 3295"/>
                <a:gd name="T33" fmla="*/ 295 h 298"/>
                <a:gd name="T34" fmla="*/ 3145 w 3295"/>
                <a:gd name="T35" fmla="*/ 298 h 298"/>
                <a:gd name="T36" fmla="*/ 150 w 3295"/>
                <a:gd name="T37" fmla="*/ 298 h 298"/>
                <a:gd name="T38" fmla="*/ 120 w 3295"/>
                <a:gd name="T39" fmla="*/ 295 h 298"/>
                <a:gd name="T40" fmla="*/ 92 w 3295"/>
                <a:gd name="T41" fmla="*/ 285 h 298"/>
                <a:gd name="T42" fmla="*/ 66 w 3295"/>
                <a:gd name="T43" fmla="*/ 272 h 298"/>
                <a:gd name="T44" fmla="*/ 45 w 3295"/>
                <a:gd name="T45" fmla="*/ 253 h 298"/>
                <a:gd name="T46" fmla="*/ 26 w 3295"/>
                <a:gd name="T47" fmla="*/ 232 h 298"/>
                <a:gd name="T48" fmla="*/ 12 w 3295"/>
                <a:gd name="T49" fmla="*/ 206 h 298"/>
                <a:gd name="T50" fmla="*/ 3 w 3295"/>
                <a:gd name="T51" fmla="*/ 178 h 298"/>
                <a:gd name="T52" fmla="*/ 0 w 3295"/>
                <a:gd name="T53" fmla="*/ 149 h 298"/>
                <a:gd name="T54" fmla="*/ 3 w 3295"/>
                <a:gd name="T55" fmla="*/ 119 h 298"/>
                <a:gd name="T56" fmla="*/ 12 w 3295"/>
                <a:gd name="T57" fmla="*/ 91 h 298"/>
                <a:gd name="T58" fmla="*/ 26 w 3295"/>
                <a:gd name="T59" fmla="*/ 65 h 298"/>
                <a:gd name="T60" fmla="*/ 45 w 3295"/>
                <a:gd name="T61" fmla="*/ 44 h 298"/>
                <a:gd name="T62" fmla="*/ 66 w 3295"/>
                <a:gd name="T63" fmla="*/ 25 h 298"/>
                <a:gd name="T64" fmla="*/ 92 w 3295"/>
                <a:gd name="T65" fmla="*/ 12 h 298"/>
                <a:gd name="T66" fmla="*/ 120 w 3295"/>
                <a:gd name="T67" fmla="*/ 4 h 298"/>
                <a:gd name="T68" fmla="*/ 150 w 3295"/>
                <a:gd name="T69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95" h="298">
                  <a:moveTo>
                    <a:pt x="150" y="0"/>
                  </a:moveTo>
                  <a:lnTo>
                    <a:pt x="3145" y="0"/>
                  </a:lnTo>
                  <a:lnTo>
                    <a:pt x="3175" y="4"/>
                  </a:lnTo>
                  <a:lnTo>
                    <a:pt x="3203" y="12"/>
                  </a:lnTo>
                  <a:lnTo>
                    <a:pt x="3228" y="25"/>
                  </a:lnTo>
                  <a:lnTo>
                    <a:pt x="3250" y="44"/>
                  </a:lnTo>
                  <a:lnTo>
                    <a:pt x="3269" y="65"/>
                  </a:lnTo>
                  <a:lnTo>
                    <a:pt x="3282" y="91"/>
                  </a:lnTo>
                  <a:lnTo>
                    <a:pt x="3292" y="119"/>
                  </a:lnTo>
                  <a:lnTo>
                    <a:pt x="3295" y="149"/>
                  </a:lnTo>
                  <a:lnTo>
                    <a:pt x="3292" y="178"/>
                  </a:lnTo>
                  <a:lnTo>
                    <a:pt x="3282" y="206"/>
                  </a:lnTo>
                  <a:lnTo>
                    <a:pt x="3269" y="232"/>
                  </a:lnTo>
                  <a:lnTo>
                    <a:pt x="3250" y="253"/>
                  </a:lnTo>
                  <a:lnTo>
                    <a:pt x="3228" y="272"/>
                  </a:lnTo>
                  <a:lnTo>
                    <a:pt x="3203" y="285"/>
                  </a:lnTo>
                  <a:lnTo>
                    <a:pt x="3175" y="295"/>
                  </a:lnTo>
                  <a:lnTo>
                    <a:pt x="3145" y="298"/>
                  </a:lnTo>
                  <a:lnTo>
                    <a:pt x="150" y="298"/>
                  </a:lnTo>
                  <a:lnTo>
                    <a:pt x="120" y="295"/>
                  </a:lnTo>
                  <a:lnTo>
                    <a:pt x="92" y="285"/>
                  </a:lnTo>
                  <a:lnTo>
                    <a:pt x="66" y="272"/>
                  </a:lnTo>
                  <a:lnTo>
                    <a:pt x="45" y="253"/>
                  </a:lnTo>
                  <a:lnTo>
                    <a:pt x="26" y="232"/>
                  </a:lnTo>
                  <a:lnTo>
                    <a:pt x="12" y="206"/>
                  </a:lnTo>
                  <a:lnTo>
                    <a:pt x="3" y="178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2" y="91"/>
                  </a:lnTo>
                  <a:lnTo>
                    <a:pt x="26" y="65"/>
                  </a:lnTo>
                  <a:lnTo>
                    <a:pt x="45" y="44"/>
                  </a:lnTo>
                  <a:lnTo>
                    <a:pt x="66" y="25"/>
                  </a:lnTo>
                  <a:lnTo>
                    <a:pt x="92" y="12"/>
                  </a:lnTo>
                  <a:lnTo>
                    <a:pt x="120" y="4"/>
                  </a:lnTo>
                  <a:lnTo>
                    <a:pt x="1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8"/>
            <p:cNvSpPr>
              <a:spLocks noEditPoints="1"/>
            </p:cNvSpPr>
            <p:nvPr/>
          </p:nvSpPr>
          <p:spPr bwMode="auto">
            <a:xfrm>
              <a:off x="2748" y="1215"/>
              <a:ext cx="324" cy="198"/>
            </a:xfrm>
            <a:custGeom>
              <a:avLst/>
              <a:gdLst>
                <a:gd name="T0" fmla="*/ 1984 w 2920"/>
                <a:gd name="T1" fmla="*/ 1486 h 1784"/>
                <a:gd name="T2" fmla="*/ 2433 w 2920"/>
                <a:gd name="T3" fmla="*/ 148 h 1784"/>
                <a:gd name="T4" fmla="*/ 1236 w 2920"/>
                <a:gd name="T5" fmla="*/ 148 h 1784"/>
                <a:gd name="T6" fmla="*/ 1685 w 2920"/>
                <a:gd name="T7" fmla="*/ 1486 h 1784"/>
                <a:gd name="T8" fmla="*/ 1236 w 2920"/>
                <a:gd name="T9" fmla="*/ 148 h 1784"/>
                <a:gd name="T10" fmla="*/ 487 w 2920"/>
                <a:gd name="T11" fmla="*/ 1486 h 1784"/>
                <a:gd name="T12" fmla="*/ 936 w 2920"/>
                <a:gd name="T13" fmla="*/ 148 h 1784"/>
                <a:gd name="T14" fmla="*/ 151 w 2920"/>
                <a:gd name="T15" fmla="*/ 0 h 1784"/>
                <a:gd name="T16" fmla="*/ 2790 w 2920"/>
                <a:gd name="T17" fmla="*/ 3 h 1784"/>
                <a:gd name="T18" fmla="*/ 2823 w 2920"/>
                <a:gd name="T19" fmla="*/ 22 h 1784"/>
                <a:gd name="T20" fmla="*/ 2843 w 2920"/>
                <a:gd name="T21" fmla="*/ 55 h 1784"/>
                <a:gd name="T22" fmla="*/ 2843 w 2920"/>
                <a:gd name="T23" fmla="*/ 95 h 1784"/>
                <a:gd name="T24" fmla="*/ 2823 w 2920"/>
                <a:gd name="T25" fmla="*/ 127 h 1784"/>
                <a:gd name="T26" fmla="*/ 2790 w 2920"/>
                <a:gd name="T27" fmla="*/ 146 h 1784"/>
                <a:gd name="T28" fmla="*/ 2733 w 2920"/>
                <a:gd name="T29" fmla="*/ 148 h 1784"/>
                <a:gd name="T30" fmla="*/ 2770 w 2920"/>
                <a:gd name="T31" fmla="*/ 1486 h 1784"/>
                <a:gd name="T32" fmla="*/ 2828 w 2920"/>
                <a:gd name="T33" fmla="*/ 1498 h 1784"/>
                <a:gd name="T34" fmla="*/ 2876 w 2920"/>
                <a:gd name="T35" fmla="*/ 1530 h 1784"/>
                <a:gd name="T36" fmla="*/ 2908 w 2920"/>
                <a:gd name="T37" fmla="*/ 1577 h 1784"/>
                <a:gd name="T38" fmla="*/ 2920 w 2920"/>
                <a:gd name="T39" fmla="*/ 1635 h 1784"/>
                <a:gd name="T40" fmla="*/ 2908 w 2920"/>
                <a:gd name="T41" fmla="*/ 1694 h 1784"/>
                <a:gd name="T42" fmla="*/ 2876 w 2920"/>
                <a:gd name="T43" fmla="*/ 1741 h 1784"/>
                <a:gd name="T44" fmla="*/ 2828 w 2920"/>
                <a:gd name="T45" fmla="*/ 1773 h 1784"/>
                <a:gd name="T46" fmla="*/ 2770 w 2920"/>
                <a:gd name="T47" fmla="*/ 1784 h 1784"/>
                <a:gd name="T48" fmla="*/ 120 w 2920"/>
                <a:gd name="T49" fmla="*/ 1781 h 1784"/>
                <a:gd name="T50" fmla="*/ 67 w 2920"/>
                <a:gd name="T51" fmla="*/ 1758 h 1784"/>
                <a:gd name="T52" fmla="*/ 26 w 2920"/>
                <a:gd name="T53" fmla="*/ 1718 h 1784"/>
                <a:gd name="T54" fmla="*/ 4 w 2920"/>
                <a:gd name="T55" fmla="*/ 1665 h 1784"/>
                <a:gd name="T56" fmla="*/ 4 w 2920"/>
                <a:gd name="T57" fmla="*/ 1605 h 1784"/>
                <a:gd name="T58" fmla="*/ 26 w 2920"/>
                <a:gd name="T59" fmla="*/ 1552 h 1784"/>
                <a:gd name="T60" fmla="*/ 67 w 2920"/>
                <a:gd name="T61" fmla="*/ 1512 h 1784"/>
                <a:gd name="T62" fmla="*/ 120 w 2920"/>
                <a:gd name="T63" fmla="*/ 1489 h 1784"/>
                <a:gd name="T64" fmla="*/ 188 w 2920"/>
                <a:gd name="T65" fmla="*/ 1486 h 1784"/>
                <a:gd name="T66" fmla="*/ 151 w 2920"/>
                <a:gd name="T67" fmla="*/ 148 h 1784"/>
                <a:gd name="T68" fmla="*/ 112 w 2920"/>
                <a:gd name="T69" fmla="*/ 139 h 1784"/>
                <a:gd name="T70" fmla="*/ 85 w 2920"/>
                <a:gd name="T71" fmla="*/ 112 h 1784"/>
                <a:gd name="T72" fmla="*/ 75 w 2920"/>
                <a:gd name="T73" fmla="*/ 74 h 1784"/>
                <a:gd name="T74" fmla="*/ 85 w 2920"/>
                <a:gd name="T75" fmla="*/ 37 h 1784"/>
                <a:gd name="T76" fmla="*/ 112 w 2920"/>
                <a:gd name="T77" fmla="*/ 10 h 1784"/>
                <a:gd name="T78" fmla="*/ 151 w 2920"/>
                <a:gd name="T79" fmla="*/ 0 h 1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20" h="1784">
                  <a:moveTo>
                    <a:pt x="1984" y="148"/>
                  </a:moveTo>
                  <a:lnTo>
                    <a:pt x="1984" y="1486"/>
                  </a:lnTo>
                  <a:lnTo>
                    <a:pt x="2433" y="1486"/>
                  </a:lnTo>
                  <a:lnTo>
                    <a:pt x="2433" y="148"/>
                  </a:lnTo>
                  <a:lnTo>
                    <a:pt x="1984" y="148"/>
                  </a:lnTo>
                  <a:close/>
                  <a:moveTo>
                    <a:pt x="1236" y="148"/>
                  </a:moveTo>
                  <a:lnTo>
                    <a:pt x="1236" y="1486"/>
                  </a:lnTo>
                  <a:lnTo>
                    <a:pt x="1685" y="1486"/>
                  </a:lnTo>
                  <a:lnTo>
                    <a:pt x="1685" y="148"/>
                  </a:lnTo>
                  <a:lnTo>
                    <a:pt x="1236" y="148"/>
                  </a:lnTo>
                  <a:close/>
                  <a:moveTo>
                    <a:pt x="487" y="148"/>
                  </a:moveTo>
                  <a:lnTo>
                    <a:pt x="487" y="1486"/>
                  </a:lnTo>
                  <a:lnTo>
                    <a:pt x="936" y="1486"/>
                  </a:lnTo>
                  <a:lnTo>
                    <a:pt x="936" y="148"/>
                  </a:lnTo>
                  <a:lnTo>
                    <a:pt x="487" y="148"/>
                  </a:lnTo>
                  <a:close/>
                  <a:moveTo>
                    <a:pt x="151" y="0"/>
                  </a:moveTo>
                  <a:lnTo>
                    <a:pt x="2770" y="0"/>
                  </a:lnTo>
                  <a:lnTo>
                    <a:pt x="2790" y="3"/>
                  </a:lnTo>
                  <a:lnTo>
                    <a:pt x="2808" y="10"/>
                  </a:lnTo>
                  <a:lnTo>
                    <a:pt x="2823" y="22"/>
                  </a:lnTo>
                  <a:lnTo>
                    <a:pt x="2835" y="37"/>
                  </a:lnTo>
                  <a:lnTo>
                    <a:pt x="2843" y="55"/>
                  </a:lnTo>
                  <a:lnTo>
                    <a:pt x="2845" y="74"/>
                  </a:lnTo>
                  <a:lnTo>
                    <a:pt x="2843" y="95"/>
                  </a:lnTo>
                  <a:lnTo>
                    <a:pt x="2835" y="112"/>
                  </a:lnTo>
                  <a:lnTo>
                    <a:pt x="2823" y="127"/>
                  </a:lnTo>
                  <a:lnTo>
                    <a:pt x="2808" y="139"/>
                  </a:lnTo>
                  <a:lnTo>
                    <a:pt x="2790" y="146"/>
                  </a:lnTo>
                  <a:lnTo>
                    <a:pt x="2770" y="148"/>
                  </a:lnTo>
                  <a:lnTo>
                    <a:pt x="2733" y="148"/>
                  </a:lnTo>
                  <a:lnTo>
                    <a:pt x="2733" y="1486"/>
                  </a:lnTo>
                  <a:lnTo>
                    <a:pt x="2770" y="1486"/>
                  </a:lnTo>
                  <a:lnTo>
                    <a:pt x="2800" y="1489"/>
                  </a:lnTo>
                  <a:lnTo>
                    <a:pt x="2828" y="1498"/>
                  </a:lnTo>
                  <a:lnTo>
                    <a:pt x="2854" y="1512"/>
                  </a:lnTo>
                  <a:lnTo>
                    <a:pt x="2876" y="1530"/>
                  </a:lnTo>
                  <a:lnTo>
                    <a:pt x="2894" y="1552"/>
                  </a:lnTo>
                  <a:lnTo>
                    <a:pt x="2908" y="1577"/>
                  </a:lnTo>
                  <a:lnTo>
                    <a:pt x="2917" y="1605"/>
                  </a:lnTo>
                  <a:lnTo>
                    <a:pt x="2920" y="1635"/>
                  </a:lnTo>
                  <a:lnTo>
                    <a:pt x="2917" y="1665"/>
                  </a:lnTo>
                  <a:lnTo>
                    <a:pt x="2908" y="1694"/>
                  </a:lnTo>
                  <a:lnTo>
                    <a:pt x="2894" y="1718"/>
                  </a:lnTo>
                  <a:lnTo>
                    <a:pt x="2876" y="1741"/>
                  </a:lnTo>
                  <a:lnTo>
                    <a:pt x="2854" y="1758"/>
                  </a:lnTo>
                  <a:lnTo>
                    <a:pt x="2828" y="1773"/>
                  </a:lnTo>
                  <a:lnTo>
                    <a:pt x="2800" y="1781"/>
                  </a:lnTo>
                  <a:lnTo>
                    <a:pt x="2770" y="1784"/>
                  </a:lnTo>
                  <a:lnTo>
                    <a:pt x="151" y="1784"/>
                  </a:lnTo>
                  <a:lnTo>
                    <a:pt x="120" y="1781"/>
                  </a:lnTo>
                  <a:lnTo>
                    <a:pt x="92" y="1773"/>
                  </a:lnTo>
                  <a:lnTo>
                    <a:pt x="67" y="1758"/>
                  </a:lnTo>
                  <a:lnTo>
                    <a:pt x="44" y="1741"/>
                  </a:lnTo>
                  <a:lnTo>
                    <a:pt x="26" y="1718"/>
                  </a:lnTo>
                  <a:lnTo>
                    <a:pt x="12" y="1694"/>
                  </a:lnTo>
                  <a:lnTo>
                    <a:pt x="4" y="1665"/>
                  </a:lnTo>
                  <a:lnTo>
                    <a:pt x="0" y="1635"/>
                  </a:lnTo>
                  <a:lnTo>
                    <a:pt x="4" y="1605"/>
                  </a:lnTo>
                  <a:lnTo>
                    <a:pt x="12" y="1577"/>
                  </a:lnTo>
                  <a:lnTo>
                    <a:pt x="26" y="1552"/>
                  </a:lnTo>
                  <a:lnTo>
                    <a:pt x="44" y="1530"/>
                  </a:lnTo>
                  <a:lnTo>
                    <a:pt x="67" y="1512"/>
                  </a:lnTo>
                  <a:lnTo>
                    <a:pt x="92" y="1498"/>
                  </a:lnTo>
                  <a:lnTo>
                    <a:pt x="120" y="1489"/>
                  </a:lnTo>
                  <a:lnTo>
                    <a:pt x="151" y="1486"/>
                  </a:lnTo>
                  <a:lnTo>
                    <a:pt x="188" y="1486"/>
                  </a:lnTo>
                  <a:lnTo>
                    <a:pt x="188" y="148"/>
                  </a:lnTo>
                  <a:lnTo>
                    <a:pt x="151" y="148"/>
                  </a:lnTo>
                  <a:lnTo>
                    <a:pt x="130" y="146"/>
                  </a:lnTo>
                  <a:lnTo>
                    <a:pt x="112" y="139"/>
                  </a:lnTo>
                  <a:lnTo>
                    <a:pt x="98" y="127"/>
                  </a:lnTo>
                  <a:lnTo>
                    <a:pt x="85" y="112"/>
                  </a:lnTo>
                  <a:lnTo>
                    <a:pt x="78" y="95"/>
                  </a:lnTo>
                  <a:lnTo>
                    <a:pt x="75" y="74"/>
                  </a:lnTo>
                  <a:lnTo>
                    <a:pt x="78" y="55"/>
                  </a:lnTo>
                  <a:lnTo>
                    <a:pt x="85" y="37"/>
                  </a:lnTo>
                  <a:lnTo>
                    <a:pt x="98" y="22"/>
                  </a:lnTo>
                  <a:lnTo>
                    <a:pt x="112" y="10"/>
                  </a:lnTo>
                  <a:lnTo>
                    <a:pt x="130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9"/>
            <p:cNvSpPr>
              <a:spLocks/>
            </p:cNvSpPr>
            <p:nvPr/>
          </p:nvSpPr>
          <p:spPr bwMode="auto">
            <a:xfrm>
              <a:off x="2727" y="1093"/>
              <a:ext cx="366" cy="107"/>
            </a:xfrm>
            <a:custGeom>
              <a:avLst/>
              <a:gdLst>
                <a:gd name="T0" fmla="*/ 1660 w 3296"/>
                <a:gd name="T1" fmla="*/ 0 h 965"/>
                <a:gd name="T2" fmla="*/ 1685 w 3296"/>
                <a:gd name="T3" fmla="*/ 4 h 965"/>
                <a:gd name="T4" fmla="*/ 1709 w 3296"/>
                <a:gd name="T5" fmla="*/ 12 h 965"/>
                <a:gd name="T6" fmla="*/ 3194 w 3296"/>
                <a:gd name="T7" fmla="*/ 677 h 965"/>
                <a:gd name="T8" fmla="*/ 3218 w 3296"/>
                <a:gd name="T9" fmla="*/ 687 h 965"/>
                <a:gd name="T10" fmla="*/ 3240 w 3296"/>
                <a:gd name="T11" fmla="*/ 701 h 965"/>
                <a:gd name="T12" fmla="*/ 3260 w 3296"/>
                <a:gd name="T13" fmla="*/ 720 h 965"/>
                <a:gd name="T14" fmla="*/ 3274 w 3296"/>
                <a:gd name="T15" fmla="*/ 740 h 965"/>
                <a:gd name="T16" fmla="*/ 3286 w 3296"/>
                <a:gd name="T17" fmla="*/ 764 h 965"/>
                <a:gd name="T18" fmla="*/ 3294 w 3296"/>
                <a:gd name="T19" fmla="*/ 790 h 965"/>
                <a:gd name="T20" fmla="*/ 3296 w 3296"/>
                <a:gd name="T21" fmla="*/ 816 h 965"/>
                <a:gd name="T22" fmla="*/ 3293 w 3296"/>
                <a:gd name="T23" fmla="*/ 847 h 965"/>
                <a:gd name="T24" fmla="*/ 3284 w 3296"/>
                <a:gd name="T25" fmla="*/ 875 h 965"/>
                <a:gd name="T26" fmla="*/ 3270 w 3296"/>
                <a:gd name="T27" fmla="*/ 900 h 965"/>
                <a:gd name="T28" fmla="*/ 3252 w 3296"/>
                <a:gd name="T29" fmla="*/ 922 h 965"/>
                <a:gd name="T30" fmla="*/ 3229 w 3296"/>
                <a:gd name="T31" fmla="*/ 940 h 965"/>
                <a:gd name="T32" fmla="*/ 3205 w 3296"/>
                <a:gd name="T33" fmla="*/ 954 h 965"/>
                <a:gd name="T34" fmla="*/ 3176 w 3296"/>
                <a:gd name="T35" fmla="*/ 962 h 965"/>
                <a:gd name="T36" fmla="*/ 3146 w 3296"/>
                <a:gd name="T37" fmla="*/ 965 h 965"/>
                <a:gd name="T38" fmla="*/ 150 w 3296"/>
                <a:gd name="T39" fmla="*/ 965 h 965"/>
                <a:gd name="T40" fmla="*/ 120 w 3296"/>
                <a:gd name="T41" fmla="*/ 962 h 965"/>
                <a:gd name="T42" fmla="*/ 92 w 3296"/>
                <a:gd name="T43" fmla="*/ 954 h 965"/>
                <a:gd name="T44" fmla="*/ 67 w 3296"/>
                <a:gd name="T45" fmla="*/ 941 h 965"/>
                <a:gd name="T46" fmla="*/ 46 w 3296"/>
                <a:gd name="T47" fmla="*/ 923 h 965"/>
                <a:gd name="T48" fmla="*/ 27 w 3296"/>
                <a:gd name="T49" fmla="*/ 902 h 965"/>
                <a:gd name="T50" fmla="*/ 12 w 3296"/>
                <a:gd name="T51" fmla="*/ 876 h 965"/>
                <a:gd name="T52" fmla="*/ 4 w 3296"/>
                <a:gd name="T53" fmla="*/ 848 h 965"/>
                <a:gd name="T54" fmla="*/ 0 w 3296"/>
                <a:gd name="T55" fmla="*/ 823 h 965"/>
                <a:gd name="T56" fmla="*/ 2 w 3296"/>
                <a:gd name="T57" fmla="*/ 797 h 965"/>
                <a:gd name="T58" fmla="*/ 7 w 3296"/>
                <a:gd name="T59" fmla="*/ 773 h 965"/>
                <a:gd name="T60" fmla="*/ 17 w 3296"/>
                <a:gd name="T61" fmla="*/ 750 h 965"/>
                <a:gd name="T62" fmla="*/ 29 w 3296"/>
                <a:gd name="T63" fmla="*/ 729 h 965"/>
                <a:gd name="T64" fmla="*/ 47 w 3296"/>
                <a:gd name="T65" fmla="*/ 709 h 965"/>
                <a:gd name="T66" fmla="*/ 66 w 3296"/>
                <a:gd name="T67" fmla="*/ 694 h 965"/>
                <a:gd name="T68" fmla="*/ 89 w 3296"/>
                <a:gd name="T69" fmla="*/ 682 h 965"/>
                <a:gd name="T70" fmla="*/ 1586 w 3296"/>
                <a:gd name="T71" fmla="*/ 12 h 965"/>
                <a:gd name="T72" fmla="*/ 1610 w 3296"/>
                <a:gd name="T73" fmla="*/ 4 h 965"/>
                <a:gd name="T74" fmla="*/ 1634 w 3296"/>
                <a:gd name="T75" fmla="*/ 0 h 965"/>
                <a:gd name="T76" fmla="*/ 1660 w 3296"/>
                <a:gd name="T77" fmla="*/ 0 h 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96" h="965">
                  <a:moveTo>
                    <a:pt x="1660" y="0"/>
                  </a:moveTo>
                  <a:lnTo>
                    <a:pt x="1685" y="4"/>
                  </a:lnTo>
                  <a:lnTo>
                    <a:pt x="1709" y="12"/>
                  </a:lnTo>
                  <a:lnTo>
                    <a:pt x="3194" y="677"/>
                  </a:lnTo>
                  <a:lnTo>
                    <a:pt x="3218" y="687"/>
                  </a:lnTo>
                  <a:lnTo>
                    <a:pt x="3240" y="701"/>
                  </a:lnTo>
                  <a:lnTo>
                    <a:pt x="3260" y="720"/>
                  </a:lnTo>
                  <a:lnTo>
                    <a:pt x="3274" y="740"/>
                  </a:lnTo>
                  <a:lnTo>
                    <a:pt x="3286" y="764"/>
                  </a:lnTo>
                  <a:lnTo>
                    <a:pt x="3294" y="790"/>
                  </a:lnTo>
                  <a:lnTo>
                    <a:pt x="3296" y="816"/>
                  </a:lnTo>
                  <a:lnTo>
                    <a:pt x="3293" y="847"/>
                  </a:lnTo>
                  <a:lnTo>
                    <a:pt x="3284" y="875"/>
                  </a:lnTo>
                  <a:lnTo>
                    <a:pt x="3270" y="900"/>
                  </a:lnTo>
                  <a:lnTo>
                    <a:pt x="3252" y="922"/>
                  </a:lnTo>
                  <a:lnTo>
                    <a:pt x="3229" y="940"/>
                  </a:lnTo>
                  <a:lnTo>
                    <a:pt x="3205" y="954"/>
                  </a:lnTo>
                  <a:lnTo>
                    <a:pt x="3176" y="962"/>
                  </a:lnTo>
                  <a:lnTo>
                    <a:pt x="3146" y="965"/>
                  </a:lnTo>
                  <a:lnTo>
                    <a:pt x="150" y="965"/>
                  </a:lnTo>
                  <a:lnTo>
                    <a:pt x="120" y="962"/>
                  </a:lnTo>
                  <a:lnTo>
                    <a:pt x="92" y="954"/>
                  </a:lnTo>
                  <a:lnTo>
                    <a:pt x="67" y="941"/>
                  </a:lnTo>
                  <a:lnTo>
                    <a:pt x="46" y="923"/>
                  </a:lnTo>
                  <a:lnTo>
                    <a:pt x="27" y="902"/>
                  </a:lnTo>
                  <a:lnTo>
                    <a:pt x="12" y="876"/>
                  </a:lnTo>
                  <a:lnTo>
                    <a:pt x="4" y="848"/>
                  </a:lnTo>
                  <a:lnTo>
                    <a:pt x="0" y="823"/>
                  </a:lnTo>
                  <a:lnTo>
                    <a:pt x="2" y="797"/>
                  </a:lnTo>
                  <a:lnTo>
                    <a:pt x="7" y="773"/>
                  </a:lnTo>
                  <a:lnTo>
                    <a:pt x="17" y="750"/>
                  </a:lnTo>
                  <a:lnTo>
                    <a:pt x="29" y="729"/>
                  </a:lnTo>
                  <a:lnTo>
                    <a:pt x="47" y="709"/>
                  </a:lnTo>
                  <a:lnTo>
                    <a:pt x="66" y="694"/>
                  </a:lnTo>
                  <a:lnTo>
                    <a:pt x="89" y="682"/>
                  </a:lnTo>
                  <a:lnTo>
                    <a:pt x="1586" y="12"/>
                  </a:lnTo>
                  <a:lnTo>
                    <a:pt x="1610" y="4"/>
                  </a:lnTo>
                  <a:lnTo>
                    <a:pt x="1634" y="0"/>
                  </a:lnTo>
                  <a:lnTo>
                    <a:pt x="16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58584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1353800" cy="1511654"/>
          </a:xfrm>
        </p:spPr>
        <p:txBody>
          <a:bodyPr>
            <a:normAutofit/>
          </a:bodyPr>
          <a:lstStyle/>
          <a:p>
            <a:r>
              <a:rPr lang="en-US" dirty="0"/>
              <a:t>BENEFIT 6:   CAPITAL GAINS TAX WILL NOT BE     TRIGGER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15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r>
              <a:rPr lang="en-US" sz="2400" dirty="0">
                <a:solidFill>
                  <a:schemeClr val="tx1"/>
                </a:solidFill>
              </a:rPr>
              <a:t>     </a:t>
            </a:r>
          </a:p>
          <a:p>
            <a:pPr algn="ctr"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Capital gains tax will not be triggered and foreign tax credits will remain available if any capital gains tax is due after the property is sold.</a:t>
            </a:r>
          </a:p>
          <a:p>
            <a:pPr algn="ctr"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 algn="ctr"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(There are several variables relating </a:t>
            </a:r>
          </a:p>
          <a:p>
            <a:pPr algn="ctr"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to potential tax liabilities)</a:t>
            </a:r>
          </a:p>
          <a:p>
            <a:pPr algn="ctr"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691373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1353800" cy="814797"/>
          </a:xfrm>
        </p:spPr>
        <p:txBody>
          <a:bodyPr>
            <a:normAutofit/>
          </a:bodyPr>
          <a:lstStyle/>
          <a:p>
            <a:r>
              <a:rPr lang="en-US" dirty="0"/>
              <a:t>  BENEFIT 7:   EASE IN SPLITTING ASSE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16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r>
              <a:rPr lang="en-US" sz="2400" dirty="0">
                <a:solidFill>
                  <a:schemeClr val="tx1"/>
                </a:solidFill>
              </a:rPr>
              <a:t>      </a:t>
            </a:r>
          </a:p>
          <a:p>
            <a:pPr>
              <a:spcBef>
                <a:spcPts val="600"/>
              </a:spcBef>
            </a:pPr>
            <a:endParaRPr lang="en-US" sz="24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There is an ease in splitting assets among family members for tax curtailment advantages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In the case of estate taxes, the more the 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family member owners, the greater the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tax exemptions.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245821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1353800" cy="814797"/>
          </a:xfrm>
        </p:spPr>
        <p:txBody>
          <a:bodyPr>
            <a:normAutofit fontScale="90000"/>
          </a:bodyPr>
          <a:lstStyle/>
          <a:p>
            <a:r>
              <a:rPr lang="en-US" dirty="0"/>
              <a:t>  BENEFIT 8:  TRUST PLACEMENT NEGATES TAX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17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Placing property in the trust has no gift or income tax consequences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Especially when placed in the Aloha Commitment Trust® as opposed to gifting the property to others which would trigger gift and/or 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income taxes which can be avoided.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348993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1690688"/>
          </a:xfrm>
        </p:spPr>
        <p:txBody>
          <a:bodyPr/>
          <a:lstStyle/>
          <a:p>
            <a:r>
              <a:rPr lang="en-US" dirty="0"/>
              <a:t>BENEFIT 9:  CIRCUMVENT THE DUE ON SALE CLAU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18</a:t>
            </a:fld>
            <a:endParaRPr lang="en-US"/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84138" y="1258888"/>
            <a:ext cx="1400175" cy="5006975"/>
          </a:xfrm>
          <a:custGeom>
            <a:avLst/>
            <a:gdLst>
              <a:gd name="T0" fmla="*/ 80 w 7346"/>
              <a:gd name="T1" fmla="*/ 0 h 26310"/>
              <a:gd name="T2" fmla="*/ 80 w 7346"/>
              <a:gd name="T3" fmla="*/ 26310 h 26310"/>
              <a:gd name="T4" fmla="*/ 0 w 7346"/>
              <a:gd name="T5" fmla="*/ 26230 h 26310"/>
              <a:gd name="T6" fmla="*/ 0 w 7346"/>
              <a:gd name="T7" fmla="*/ 81 h 26310"/>
              <a:gd name="T8" fmla="*/ 80 w 7346"/>
              <a:gd name="T9" fmla="*/ 0 h 26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346" h="26310">
                <a:moveTo>
                  <a:pt x="80" y="0"/>
                </a:moveTo>
                <a:cubicBezTo>
                  <a:pt x="7346" y="7266"/>
                  <a:pt x="7346" y="19045"/>
                  <a:pt x="80" y="26310"/>
                </a:cubicBezTo>
                <a:lnTo>
                  <a:pt x="0" y="26230"/>
                </a:lnTo>
                <a:cubicBezTo>
                  <a:pt x="7221" y="19009"/>
                  <a:pt x="7221" y="7302"/>
                  <a:pt x="0" y="81"/>
                </a:cubicBezTo>
                <a:lnTo>
                  <a:pt x="8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Rectangle 6"/>
          <p:cNvSpPr>
            <a:spLocks noChangeArrowheads="1"/>
          </p:cNvSpPr>
          <p:nvPr/>
        </p:nvSpPr>
        <p:spPr bwMode="auto">
          <a:xfrm>
            <a:off x="609600" y="1411925"/>
            <a:ext cx="11214100" cy="517428"/>
          </a:xfrm>
          <a:prstGeom prst="rect">
            <a:avLst/>
          </a:prstGeom>
          <a:solidFill>
            <a:srgbClr val="00569B">
              <a:alpha val="3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        </a:t>
            </a:r>
            <a:r>
              <a:rPr lang="en-US" sz="2400" b="1" dirty="0"/>
              <a:t>Potential for lender to not discover the transfer of sale</a:t>
            </a:r>
            <a:r>
              <a:rPr lang="en-US" dirty="0"/>
              <a:t>.</a:t>
            </a:r>
          </a:p>
        </p:txBody>
      </p:sp>
      <p:sp>
        <p:nvSpPr>
          <p:cNvPr id="41" name="Oval 8"/>
          <p:cNvSpPr>
            <a:spLocks noChangeArrowheads="1"/>
          </p:cNvSpPr>
          <p:nvPr/>
        </p:nvSpPr>
        <p:spPr bwMode="auto">
          <a:xfrm>
            <a:off x="69850" y="1312863"/>
            <a:ext cx="598488" cy="596900"/>
          </a:xfrm>
          <a:prstGeom prst="ellipse">
            <a:avLst/>
          </a:prstGeom>
          <a:solidFill>
            <a:srgbClr val="FFFFFF"/>
          </a:solidFill>
          <a:ln w="0">
            <a:solidFill>
              <a:srgbClr val="00569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>
                <a:solidFill>
                  <a:srgbClr val="00569B"/>
                </a:solidFill>
              </a:rPr>
              <a:t>1</a:t>
            </a:r>
          </a:p>
        </p:txBody>
      </p:sp>
      <p:sp>
        <p:nvSpPr>
          <p:cNvPr id="42" name="Rectangle 10"/>
          <p:cNvSpPr>
            <a:spLocks noChangeArrowheads="1"/>
          </p:cNvSpPr>
          <p:nvPr/>
        </p:nvSpPr>
        <p:spPr bwMode="auto">
          <a:xfrm>
            <a:off x="803275" y="2069356"/>
            <a:ext cx="10779125" cy="517428"/>
          </a:xfrm>
          <a:prstGeom prst="rect">
            <a:avLst/>
          </a:prstGeom>
          <a:solidFill>
            <a:srgbClr val="26867C">
              <a:alpha val="3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Oval 12"/>
          <p:cNvSpPr>
            <a:spLocks noChangeArrowheads="1"/>
          </p:cNvSpPr>
          <p:nvPr/>
        </p:nvSpPr>
        <p:spPr bwMode="auto">
          <a:xfrm>
            <a:off x="503238" y="2028826"/>
            <a:ext cx="598488" cy="598488"/>
          </a:xfrm>
          <a:prstGeom prst="ellipse">
            <a:avLst/>
          </a:prstGeom>
          <a:solidFill>
            <a:srgbClr val="FFFFFF"/>
          </a:solidFill>
          <a:ln w="0">
            <a:solidFill>
              <a:srgbClr val="26867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>
                <a:solidFill>
                  <a:srgbClr val="26867C"/>
                </a:solidFill>
              </a:rPr>
              <a:t>2</a:t>
            </a:r>
          </a:p>
        </p:txBody>
      </p:sp>
      <p:sp>
        <p:nvSpPr>
          <p:cNvPr id="44" name="Rectangle 14"/>
          <p:cNvSpPr>
            <a:spLocks noChangeArrowheads="1"/>
          </p:cNvSpPr>
          <p:nvPr/>
        </p:nvSpPr>
        <p:spPr bwMode="auto">
          <a:xfrm>
            <a:off x="1242920" y="2785318"/>
            <a:ext cx="10541001" cy="517428"/>
          </a:xfrm>
          <a:prstGeom prst="rect">
            <a:avLst/>
          </a:prstGeom>
          <a:solidFill>
            <a:srgbClr val="00569B">
              <a:alpha val="3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Oval 16"/>
          <p:cNvSpPr>
            <a:spLocks noChangeArrowheads="1"/>
          </p:cNvSpPr>
          <p:nvPr/>
        </p:nvSpPr>
        <p:spPr bwMode="auto">
          <a:xfrm>
            <a:off x="739775" y="2746376"/>
            <a:ext cx="600075" cy="598488"/>
          </a:xfrm>
          <a:prstGeom prst="ellipse">
            <a:avLst/>
          </a:prstGeom>
          <a:solidFill>
            <a:srgbClr val="FFFFFF"/>
          </a:solidFill>
          <a:ln w="0">
            <a:solidFill>
              <a:srgbClr val="00569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>
                <a:solidFill>
                  <a:srgbClr val="00569B"/>
                </a:solidFill>
              </a:rPr>
              <a:t>3</a:t>
            </a:r>
          </a:p>
        </p:txBody>
      </p:sp>
      <p:sp>
        <p:nvSpPr>
          <p:cNvPr id="46" name="Rectangle 18"/>
          <p:cNvSpPr>
            <a:spLocks noChangeArrowheads="1"/>
          </p:cNvSpPr>
          <p:nvPr/>
        </p:nvSpPr>
        <p:spPr bwMode="auto">
          <a:xfrm>
            <a:off x="1116014" y="3504456"/>
            <a:ext cx="10466386" cy="517428"/>
          </a:xfrm>
          <a:prstGeom prst="rect">
            <a:avLst/>
          </a:prstGeom>
          <a:solidFill>
            <a:srgbClr val="26867C">
              <a:alpha val="3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7" name="Oval 20"/>
          <p:cNvSpPr>
            <a:spLocks noChangeArrowheads="1"/>
          </p:cNvSpPr>
          <p:nvPr/>
        </p:nvSpPr>
        <p:spPr bwMode="auto">
          <a:xfrm>
            <a:off x="815975" y="3463926"/>
            <a:ext cx="600075" cy="596900"/>
          </a:xfrm>
          <a:prstGeom prst="ellipse">
            <a:avLst/>
          </a:prstGeom>
          <a:solidFill>
            <a:srgbClr val="FFFFFF"/>
          </a:solidFill>
          <a:ln w="0">
            <a:solidFill>
              <a:srgbClr val="26867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>
                <a:solidFill>
                  <a:srgbClr val="26867C"/>
                </a:solidFill>
              </a:rPr>
              <a:t>4</a:t>
            </a:r>
          </a:p>
        </p:txBody>
      </p:sp>
      <p:sp>
        <p:nvSpPr>
          <p:cNvPr id="48" name="Rectangle 22"/>
          <p:cNvSpPr>
            <a:spLocks noChangeArrowheads="1"/>
          </p:cNvSpPr>
          <p:nvPr/>
        </p:nvSpPr>
        <p:spPr bwMode="auto">
          <a:xfrm>
            <a:off x="1041399" y="4222006"/>
            <a:ext cx="10541001" cy="517428"/>
          </a:xfrm>
          <a:prstGeom prst="rect">
            <a:avLst/>
          </a:prstGeom>
          <a:solidFill>
            <a:srgbClr val="00569B">
              <a:alpha val="3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Oval 24"/>
          <p:cNvSpPr>
            <a:spLocks noChangeArrowheads="1"/>
          </p:cNvSpPr>
          <p:nvPr/>
        </p:nvSpPr>
        <p:spPr bwMode="auto">
          <a:xfrm>
            <a:off x="739775" y="4181476"/>
            <a:ext cx="600075" cy="596900"/>
          </a:xfrm>
          <a:prstGeom prst="ellipse">
            <a:avLst/>
          </a:prstGeom>
          <a:solidFill>
            <a:srgbClr val="FFFFFF"/>
          </a:solidFill>
          <a:ln w="0">
            <a:solidFill>
              <a:srgbClr val="00569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>
                <a:solidFill>
                  <a:srgbClr val="00569B"/>
                </a:solidFill>
              </a:rPr>
              <a:t>5</a:t>
            </a:r>
          </a:p>
        </p:txBody>
      </p:sp>
      <p:sp>
        <p:nvSpPr>
          <p:cNvPr id="50" name="Rectangle 26"/>
          <p:cNvSpPr>
            <a:spLocks noChangeArrowheads="1"/>
          </p:cNvSpPr>
          <p:nvPr/>
        </p:nvSpPr>
        <p:spPr bwMode="auto">
          <a:xfrm>
            <a:off x="514974" y="5035100"/>
            <a:ext cx="10779125" cy="517428"/>
          </a:xfrm>
          <a:prstGeom prst="rect">
            <a:avLst/>
          </a:prstGeom>
          <a:solidFill>
            <a:srgbClr val="26867C">
              <a:alpha val="3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/>
              <a:t>B       </a:t>
            </a:r>
            <a:r>
              <a:rPr lang="en-US" sz="2400" b="1" dirty="0"/>
              <a:t>Beneficial interest can be any personal property</a:t>
            </a:r>
          </a:p>
        </p:txBody>
      </p:sp>
      <p:sp>
        <p:nvSpPr>
          <p:cNvPr id="51" name="Oval 28"/>
          <p:cNvSpPr>
            <a:spLocks noChangeArrowheads="1"/>
          </p:cNvSpPr>
          <p:nvPr/>
        </p:nvSpPr>
        <p:spPr bwMode="auto">
          <a:xfrm>
            <a:off x="503238" y="4897438"/>
            <a:ext cx="598488" cy="598488"/>
          </a:xfrm>
          <a:prstGeom prst="ellipse">
            <a:avLst/>
          </a:prstGeom>
          <a:solidFill>
            <a:srgbClr val="FFFFFF"/>
          </a:solidFill>
          <a:ln w="0">
            <a:solidFill>
              <a:srgbClr val="26867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>
                <a:solidFill>
                  <a:srgbClr val="26867C"/>
                </a:solidFill>
              </a:rPr>
              <a:t>6</a:t>
            </a:r>
          </a:p>
        </p:txBody>
      </p:sp>
      <p:sp>
        <p:nvSpPr>
          <p:cNvPr id="52" name="Rectangle 30"/>
          <p:cNvSpPr>
            <a:spLocks noChangeArrowheads="1"/>
          </p:cNvSpPr>
          <p:nvPr/>
        </p:nvSpPr>
        <p:spPr bwMode="auto">
          <a:xfrm>
            <a:off x="561919" y="5659484"/>
            <a:ext cx="11214100" cy="517428"/>
          </a:xfrm>
          <a:prstGeom prst="rect">
            <a:avLst/>
          </a:prstGeom>
          <a:solidFill>
            <a:srgbClr val="00569B">
              <a:alpha val="3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Oval 32"/>
          <p:cNvSpPr>
            <a:spLocks noChangeArrowheads="1"/>
          </p:cNvSpPr>
          <p:nvPr/>
        </p:nvSpPr>
        <p:spPr bwMode="auto">
          <a:xfrm>
            <a:off x="69850" y="5614988"/>
            <a:ext cx="598488" cy="596900"/>
          </a:xfrm>
          <a:prstGeom prst="ellipse">
            <a:avLst/>
          </a:prstGeom>
          <a:solidFill>
            <a:srgbClr val="FFFFFF"/>
          </a:solidFill>
          <a:ln w="0">
            <a:solidFill>
              <a:srgbClr val="00569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>
                <a:solidFill>
                  <a:srgbClr val="00569B"/>
                </a:solidFill>
              </a:rPr>
              <a:t>7</a:t>
            </a:r>
          </a:p>
        </p:txBody>
      </p:sp>
      <p:sp>
        <p:nvSpPr>
          <p:cNvPr id="55" name="Rectangle 54"/>
          <p:cNvSpPr/>
          <p:nvPr/>
        </p:nvSpPr>
        <p:spPr>
          <a:xfrm>
            <a:off x="1097852" y="2093688"/>
            <a:ext cx="10142234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quires that 100% of the beneficial interest be transferred</a:t>
            </a:r>
          </a:p>
        </p:txBody>
      </p:sp>
      <p:sp>
        <p:nvSpPr>
          <p:cNvPr id="56" name="Rectangle 55"/>
          <p:cNvSpPr/>
          <p:nvPr/>
        </p:nvSpPr>
        <p:spPr>
          <a:xfrm>
            <a:off x="1335710" y="2813200"/>
            <a:ext cx="9613370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asier to get waiver letter from lender</a:t>
            </a:r>
          </a:p>
        </p:txBody>
      </p:sp>
      <p:sp>
        <p:nvSpPr>
          <p:cNvPr id="57" name="Rectangle 56"/>
          <p:cNvSpPr/>
          <p:nvPr/>
        </p:nvSpPr>
        <p:spPr>
          <a:xfrm>
            <a:off x="1335710" y="3532338"/>
            <a:ext cx="9613370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nvey from seller to trustee </a:t>
            </a:r>
          </a:p>
        </p:txBody>
      </p:sp>
      <p:sp>
        <p:nvSpPr>
          <p:cNvPr id="58" name="Rectangle 57"/>
          <p:cNvSpPr/>
          <p:nvPr/>
        </p:nvSpPr>
        <p:spPr>
          <a:xfrm>
            <a:off x="1335710" y="4249093"/>
            <a:ext cx="9613370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5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 </a:t>
            </a:r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Unrecorded assignment of beneficial interest</a:t>
            </a:r>
          </a:p>
        </p:txBody>
      </p:sp>
      <p:sp>
        <p:nvSpPr>
          <p:cNvPr id="59" name="Rectangle 58"/>
          <p:cNvSpPr/>
          <p:nvPr/>
        </p:nvSpPr>
        <p:spPr>
          <a:xfrm>
            <a:off x="1097852" y="5035100"/>
            <a:ext cx="9613370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5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858837" y="5497939"/>
            <a:ext cx="9613370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5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 World has no knowledge that buyer is now the 100% beneficiary</a:t>
            </a:r>
            <a:r>
              <a:rPr lang="en-US" sz="15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582511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1353800" cy="814797"/>
          </a:xfrm>
        </p:spPr>
        <p:txBody>
          <a:bodyPr>
            <a:normAutofit fontScale="90000"/>
          </a:bodyPr>
          <a:lstStyle/>
          <a:p>
            <a:r>
              <a:rPr lang="en-US" dirty="0"/>
              <a:t>  BENEFIT 10:     LOW PROFILE ON PUBLIC RECOR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19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The transactions pertaining to the property do not appear on public record with the Land Trust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(due on sale clause is only one advantage)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835684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8176" y="65693"/>
            <a:ext cx="7897651" cy="1171375"/>
          </a:xfrm>
        </p:spPr>
        <p:txBody>
          <a:bodyPr>
            <a:normAutofit fontScale="90000"/>
          </a:bodyPr>
          <a:lstStyle/>
          <a:p>
            <a:r>
              <a:rPr lang="en-US" dirty="0"/>
              <a:t>How can I take my practice to the next level?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4A728F-E02D-4D34-97C6-5F00DA40958C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524000" y="1231672"/>
            <a:ext cx="1484606" cy="5369957"/>
          </a:xfrm>
          <a:prstGeom prst="rect">
            <a:avLst/>
          </a:prstGeom>
          <a:solidFill>
            <a:srgbClr val="33B3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Frame 9"/>
          <p:cNvSpPr/>
          <p:nvPr/>
        </p:nvSpPr>
        <p:spPr>
          <a:xfrm>
            <a:off x="5541942" y="1422152"/>
            <a:ext cx="1001486" cy="4989243"/>
          </a:xfrm>
          <a:prstGeom prst="frame">
            <a:avLst>
              <a:gd name="adj1" fmla="val 5797"/>
            </a:avLst>
          </a:prstGeom>
          <a:solidFill>
            <a:srgbClr val="40E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80" name="Picture 7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86" t="6335" r="22179" b="3969"/>
          <a:stretch/>
        </p:blipFill>
        <p:spPr>
          <a:xfrm>
            <a:off x="1524000" y="1528435"/>
            <a:ext cx="4787900" cy="4781272"/>
          </a:xfrm>
          <a:prstGeom prst="rect">
            <a:avLst/>
          </a:prstGeom>
        </p:spPr>
      </p:pic>
      <p:sp>
        <p:nvSpPr>
          <p:cNvPr id="12" name="Freeform 11"/>
          <p:cNvSpPr/>
          <p:nvPr/>
        </p:nvSpPr>
        <p:spPr>
          <a:xfrm>
            <a:off x="5541942" y="1525814"/>
            <a:ext cx="1001486" cy="4781673"/>
          </a:xfrm>
          <a:custGeom>
            <a:avLst/>
            <a:gdLst>
              <a:gd name="connsiteX0" fmla="*/ 943430 w 1001486"/>
              <a:gd name="connsiteY0" fmla="*/ 0 h 4781673"/>
              <a:gd name="connsiteX1" fmla="*/ 1001486 w 1001486"/>
              <a:gd name="connsiteY1" fmla="*/ 0 h 4781673"/>
              <a:gd name="connsiteX2" fmla="*/ 1001486 w 1001486"/>
              <a:gd name="connsiteY2" fmla="*/ 4781673 h 4781673"/>
              <a:gd name="connsiteX3" fmla="*/ 943430 w 1001486"/>
              <a:gd name="connsiteY3" fmla="*/ 4781673 h 4781673"/>
              <a:gd name="connsiteX4" fmla="*/ 0 w 1001486"/>
              <a:gd name="connsiteY4" fmla="*/ 0 h 4781673"/>
              <a:gd name="connsiteX5" fmla="*/ 58056 w 1001486"/>
              <a:gd name="connsiteY5" fmla="*/ 0 h 4781673"/>
              <a:gd name="connsiteX6" fmla="*/ 58056 w 1001486"/>
              <a:gd name="connsiteY6" fmla="*/ 4781673 h 4781673"/>
              <a:gd name="connsiteX7" fmla="*/ 0 w 1001486"/>
              <a:gd name="connsiteY7" fmla="*/ 4781673 h 4781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1486" h="4781673">
                <a:moveTo>
                  <a:pt x="943430" y="0"/>
                </a:moveTo>
                <a:lnTo>
                  <a:pt x="1001486" y="0"/>
                </a:lnTo>
                <a:lnTo>
                  <a:pt x="1001486" y="4781673"/>
                </a:lnTo>
                <a:lnTo>
                  <a:pt x="943430" y="4781673"/>
                </a:lnTo>
                <a:close/>
                <a:moveTo>
                  <a:pt x="0" y="0"/>
                </a:moveTo>
                <a:lnTo>
                  <a:pt x="58056" y="0"/>
                </a:lnTo>
                <a:lnTo>
                  <a:pt x="58056" y="4781673"/>
                </a:lnTo>
                <a:lnTo>
                  <a:pt x="0" y="478167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1524001" y="1525812"/>
            <a:ext cx="4732282" cy="4781674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440729" y="1740065"/>
            <a:ext cx="3153588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en-US" sz="1600">
                <a:solidFill>
                  <a:prstClr val="black"/>
                </a:solidFill>
                <a:cs typeface="Arial" panose="020B0604020202020204" pitchFamily="34" charset="0"/>
              </a:rPr>
              <a:t>Booming market </a:t>
            </a:r>
            <a:r>
              <a:rPr lang="en-US" sz="1600" dirty="0">
                <a:solidFill>
                  <a:prstClr val="black"/>
                </a:solidFill>
                <a:cs typeface="Arial" panose="020B0604020202020204" pitchFamily="34" charset="0"/>
              </a:rPr>
              <a:t>potentials</a:t>
            </a:r>
          </a:p>
        </p:txBody>
      </p:sp>
      <p:sp>
        <p:nvSpPr>
          <p:cNvPr id="84" name="Rectangle 83"/>
          <p:cNvSpPr/>
          <p:nvPr/>
        </p:nvSpPr>
        <p:spPr>
          <a:xfrm>
            <a:off x="6402630" y="2357096"/>
            <a:ext cx="2802690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  <a:cs typeface="Arial" panose="020B0604020202020204" pitchFamily="34" charset="0"/>
              </a:rPr>
              <a:t>  Increasing need for land trusts</a:t>
            </a:r>
          </a:p>
        </p:txBody>
      </p:sp>
      <p:sp>
        <p:nvSpPr>
          <p:cNvPr id="85" name="Rectangle 84"/>
          <p:cNvSpPr/>
          <p:nvPr/>
        </p:nvSpPr>
        <p:spPr>
          <a:xfrm>
            <a:off x="6402630" y="3003290"/>
            <a:ext cx="1965538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  <a:cs typeface="Arial" panose="020B0604020202020204" pitchFamily="34" charset="0"/>
              </a:rPr>
              <a:t>  Cross-Border Clients</a:t>
            </a:r>
          </a:p>
        </p:txBody>
      </p:sp>
      <p:sp>
        <p:nvSpPr>
          <p:cNvPr id="86" name="Rectangle 85"/>
          <p:cNvSpPr/>
          <p:nvPr/>
        </p:nvSpPr>
        <p:spPr>
          <a:xfrm>
            <a:off x="6402630" y="3663630"/>
            <a:ext cx="2280240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  <a:cs typeface="Arial" panose="020B0604020202020204" pitchFamily="34" charset="0"/>
              </a:rPr>
              <a:t>  Clients will seek you out</a:t>
            </a:r>
          </a:p>
        </p:txBody>
      </p:sp>
      <p:sp>
        <p:nvSpPr>
          <p:cNvPr id="87" name="Rectangle 86"/>
          <p:cNvSpPr/>
          <p:nvPr/>
        </p:nvSpPr>
        <p:spPr>
          <a:xfrm>
            <a:off x="6402631" y="4352899"/>
            <a:ext cx="2909643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  <a:cs typeface="Arial" panose="020B0604020202020204" pitchFamily="34" charset="0"/>
              </a:rPr>
              <a:t>  Elevate your professional status</a:t>
            </a:r>
          </a:p>
        </p:txBody>
      </p:sp>
      <p:sp>
        <p:nvSpPr>
          <p:cNvPr id="88" name="Rectangle 87"/>
          <p:cNvSpPr/>
          <p:nvPr/>
        </p:nvSpPr>
        <p:spPr>
          <a:xfrm>
            <a:off x="6402631" y="5055299"/>
            <a:ext cx="3700841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  <a:cs typeface="Arial" panose="020B0604020202020204" pitchFamily="34" charset="0"/>
              </a:rPr>
              <a:t>   Resolve transaction issues</a:t>
            </a:r>
          </a:p>
        </p:txBody>
      </p:sp>
      <p:grpSp>
        <p:nvGrpSpPr>
          <p:cNvPr id="166" name="Group 165"/>
          <p:cNvGrpSpPr/>
          <p:nvPr/>
        </p:nvGrpSpPr>
        <p:grpSpPr>
          <a:xfrm>
            <a:off x="5664200" y="2170560"/>
            <a:ext cx="4977852" cy="3373404"/>
            <a:chOff x="4140200" y="2062984"/>
            <a:chExt cx="4977852" cy="3373404"/>
          </a:xfrm>
        </p:grpSpPr>
        <p:cxnSp>
          <p:nvCxnSpPr>
            <p:cNvPr id="21" name="Straight Connector 20"/>
            <p:cNvCxnSpPr/>
            <p:nvPr/>
          </p:nvCxnSpPr>
          <p:spPr>
            <a:xfrm>
              <a:off x="4140200" y="2062984"/>
              <a:ext cx="4977852" cy="0"/>
            </a:xfrm>
            <a:prstGeom prst="line">
              <a:avLst/>
            </a:prstGeom>
            <a:ln w="0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4140200" y="2705392"/>
              <a:ext cx="4977852" cy="0"/>
            </a:xfrm>
            <a:prstGeom prst="line">
              <a:avLst/>
            </a:prstGeom>
            <a:ln w="0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4140200" y="3388141"/>
              <a:ext cx="4977852" cy="0"/>
            </a:xfrm>
            <a:prstGeom prst="line">
              <a:avLst/>
            </a:prstGeom>
            <a:ln w="0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140200" y="4070890"/>
              <a:ext cx="4977852" cy="0"/>
            </a:xfrm>
            <a:prstGeom prst="line">
              <a:avLst/>
            </a:prstGeom>
            <a:ln w="0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4140200" y="4753639"/>
              <a:ext cx="4977852" cy="0"/>
            </a:xfrm>
            <a:prstGeom prst="line">
              <a:avLst/>
            </a:prstGeom>
            <a:ln w="0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4140200" y="5436388"/>
              <a:ext cx="4977852" cy="0"/>
            </a:xfrm>
            <a:prstGeom prst="line">
              <a:avLst/>
            </a:prstGeom>
            <a:ln w="0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4" name="Group 4"/>
          <p:cNvGrpSpPr>
            <a:grpSpLocks noChangeAspect="1"/>
          </p:cNvGrpSpPr>
          <p:nvPr/>
        </p:nvGrpSpPr>
        <p:grpSpPr bwMode="auto">
          <a:xfrm>
            <a:off x="5713252" y="2986671"/>
            <a:ext cx="415575" cy="371792"/>
            <a:chOff x="2151" y="2182"/>
            <a:chExt cx="560" cy="501"/>
          </a:xfrm>
          <a:solidFill>
            <a:schemeClr val="bg1"/>
          </a:solidFill>
        </p:grpSpPr>
        <p:sp>
          <p:nvSpPr>
            <p:cNvPr id="96" name="Freeform 5"/>
            <p:cNvSpPr>
              <a:spLocks/>
            </p:cNvSpPr>
            <p:nvPr/>
          </p:nvSpPr>
          <p:spPr bwMode="auto">
            <a:xfrm>
              <a:off x="2238" y="2414"/>
              <a:ext cx="473" cy="269"/>
            </a:xfrm>
            <a:custGeom>
              <a:avLst/>
              <a:gdLst>
                <a:gd name="T0" fmla="*/ 610 w 1628"/>
                <a:gd name="T1" fmla="*/ 434 h 925"/>
                <a:gd name="T2" fmla="*/ 679 w 1628"/>
                <a:gd name="T3" fmla="*/ 454 h 925"/>
                <a:gd name="T4" fmla="*/ 799 w 1628"/>
                <a:gd name="T5" fmla="*/ 500 h 925"/>
                <a:gd name="T6" fmla="*/ 1028 w 1628"/>
                <a:gd name="T7" fmla="*/ 550 h 925"/>
                <a:gd name="T8" fmla="*/ 1231 w 1628"/>
                <a:gd name="T9" fmla="*/ 522 h 925"/>
                <a:gd name="T10" fmla="*/ 1365 w 1628"/>
                <a:gd name="T11" fmla="*/ 434 h 925"/>
                <a:gd name="T12" fmla="*/ 1521 w 1628"/>
                <a:gd name="T13" fmla="*/ 347 h 925"/>
                <a:gd name="T14" fmla="*/ 1612 w 1628"/>
                <a:gd name="T15" fmla="*/ 388 h 925"/>
                <a:gd name="T16" fmla="*/ 1612 w 1628"/>
                <a:gd name="T17" fmla="*/ 457 h 925"/>
                <a:gd name="T18" fmla="*/ 1607 w 1628"/>
                <a:gd name="T19" fmla="*/ 481 h 925"/>
                <a:gd name="T20" fmla="*/ 1591 w 1628"/>
                <a:gd name="T21" fmla="*/ 580 h 925"/>
                <a:gd name="T22" fmla="*/ 1486 w 1628"/>
                <a:gd name="T23" fmla="*/ 680 h 925"/>
                <a:gd name="T24" fmla="*/ 1354 w 1628"/>
                <a:gd name="T25" fmla="*/ 784 h 925"/>
                <a:gd name="T26" fmla="*/ 1189 w 1628"/>
                <a:gd name="T27" fmla="*/ 853 h 925"/>
                <a:gd name="T28" fmla="*/ 906 w 1628"/>
                <a:gd name="T29" fmla="*/ 904 h 925"/>
                <a:gd name="T30" fmla="*/ 777 w 1628"/>
                <a:gd name="T31" fmla="*/ 922 h 925"/>
                <a:gd name="T32" fmla="*/ 690 w 1628"/>
                <a:gd name="T33" fmla="*/ 909 h 925"/>
                <a:gd name="T34" fmla="*/ 433 w 1628"/>
                <a:gd name="T35" fmla="*/ 775 h 925"/>
                <a:gd name="T36" fmla="*/ 139 w 1628"/>
                <a:gd name="T37" fmla="*/ 612 h 925"/>
                <a:gd name="T38" fmla="*/ 37 w 1628"/>
                <a:gd name="T39" fmla="*/ 587 h 925"/>
                <a:gd name="T40" fmla="*/ 3 w 1628"/>
                <a:gd name="T41" fmla="*/ 544 h 925"/>
                <a:gd name="T42" fmla="*/ 21 w 1628"/>
                <a:gd name="T43" fmla="*/ 323 h 925"/>
                <a:gd name="T44" fmla="*/ 38 w 1628"/>
                <a:gd name="T45" fmla="*/ 112 h 925"/>
                <a:gd name="T46" fmla="*/ 73 w 1628"/>
                <a:gd name="T47" fmla="*/ 65 h 925"/>
                <a:gd name="T48" fmla="*/ 381 w 1628"/>
                <a:gd name="T49" fmla="*/ 1 h 925"/>
                <a:gd name="T50" fmla="*/ 683 w 1628"/>
                <a:gd name="T51" fmla="*/ 85 h 925"/>
                <a:gd name="T52" fmla="*/ 727 w 1628"/>
                <a:gd name="T53" fmla="*/ 110 h 925"/>
                <a:gd name="T54" fmla="*/ 902 w 1628"/>
                <a:gd name="T55" fmla="*/ 162 h 925"/>
                <a:gd name="T56" fmla="*/ 1204 w 1628"/>
                <a:gd name="T57" fmla="*/ 225 h 925"/>
                <a:gd name="T58" fmla="*/ 1282 w 1628"/>
                <a:gd name="T59" fmla="*/ 318 h 925"/>
                <a:gd name="T60" fmla="*/ 1224 w 1628"/>
                <a:gd name="T61" fmla="*/ 460 h 925"/>
                <a:gd name="T62" fmla="*/ 1154 w 1628"/>
                <a:gd name="T63" fmla="*/ 474 h 925"/>
                <a:gd name="T64" fmla="*/ 843 w 1628"/>
                <a:gd name="T65" fmla="*/ 421 h 925"/>
                <a:gd name="T66" fmla="*/ 765 w 1628"/>
                <a:gd name="T67" fmla="*/ 422 h 925"/>
                <a:gd name="T68" fmla="*/ 610 w 1628"/>
                <a:gd name="T69" fmla="*/ 434 h 9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28" h="925">
                  <a:moveTo>
                    <a:pt x="610" y="434"/>
                  </a:moveTo>
                  <a:cubicBezTo>
                    <a:pt x="633" y="441"/>
                    <a:pt x="656" y="450"/>
                    <a:pt x="679" y="454"/>
                  </a:cubicBezTo>
                  <a:cubicBezTo>
                    <a:pt x="722" y="462"/>
                    <a:pt x="762" y="479"/>
                    <a:pt x="799" y="500"/>
                  </a:cubicBezTo>
                  <a:cubicBezTo>
                    <a:pt x="871" y="540"/>
                    <a:pt x="947" y="555"/>
                    <a:pt x="1028" y="550"/>
                  </a:cubicBezTo>
                  <a:cubicBezTo>
                    <a:pt x="1097" y="546"/>
                    <a:pt x="1165" y="541"/>
                    <a:pt x="1231" y="522"/>
                  </a:cubicBezTo>
                  <a:cubicBezTo>
                    <a:pt x="1285" y="507"/>
                    <a:pt x="1327" y="475"/>
                    <a:pt x="1365" y="434"/>
                  </a:cubicBezTo>
                  <a:cubicBezTo>
                    <a:pt x="1407" y="389"/>
                    <a:pt x="1458" y="356"/>
                    <a:pt x="1521" y="347"/>
                  </a:cubicBezTo>
                  <a:cubicBezTo>
                    <a:pt x="1558" y="343"/>
                    <a:pt x="1590" y="356"/>
                    <a:pt x="1612" y="388"/>
                  </a:cubicBezTo>
                  <a:cubicBezTo>
                    <a:pt x="1628" y="411"/>
                    <a:pt x="1627" y="434"/>
                    <a:pt x="1612" y="457"/>
                  </a:cubicBezTo>
                  <a:cubicBezTo>
                    <a:pt x="1607" y="465"/>
                    <a:pt x="1602" y="471"/>
                    <a:pt x="1607" y="481"/>
                  </a:cubicBezTo>
                  <a:cubicBezTo>
                    <a:pt x="1624" y="517"/>
                    <a:pt x="1614" y="550"/>
                    <a:pt x="1591" y="580"/>
                  </a:cubicBezTo>
                  <a:cubicBezTo>
                    <a:pt x="1561" y="619"/>
                    <a:pt x="1524" y="649"/>
                    <a:pt x="1486" y="680"/>
                  </a:cubicBezTo>
                  <a:cubicBezTo>
                    <a:pt x="1442" y="715"/>
                    <a:pt x="1397" y="749"/>
                    <a:pt x="1354" y="784"/>
                  </a:cubicBezTo>
                  <a:cubicBezTo>
                    <a:pt x="1305" y="823"/>
                    <a:pt x="1252" y="845"/>
                    <a:pt x="1189" y="853"/>
                  </a:cubicBezTo>
                  <a:cubicBezTo>
                    <a:pt x="1094" y="865"/>
                    <a:pt x="1000" y="887"/>
                    <a:pt x="906" y="904"/>
                  </a:cubicBezTo>
                  <a:cubicBezTo>
                    <a:pt x="863" y="911"/>
                    <a:pt x="820" y="917"/>
                    <a:pt x="777" y="922"/>
                  </a:cubicBezTo>
                  <a:cubicBezTo>
                    <a:pt x="747" y="925"/>
                    <a:pt x="718" y="921"/>
                    <a:pt x="690" y="909"/>
                  </a:cubicBezTo>
                  <a:cubicBezTo>
                    <a:pt x="600" y="871"/>
                    <a:pt x="517" y="822"/>
                    <a:pt x="433" y="775"/>
                  </a:cubicBezTo>
                  <a:cubicBezTo>
                    <a:pt x="335" y="720"/>
                    <a:pt x="240" y="662"/>
                    <a:pt x="139" y="612"/>
                  </a:cubicBezTo>
                  <a:cubicBezTo>
                    <a:pt x="106" y="596"/>
                    <a:pt x="71" y="594"/>
                    <a:pt x="37" y="587"/>
                  </a:cubicBezTo>
                  <a:cubicBezTo>
                    <a:pt x="9" y="582"/>
                    <a:pt x="0" y="571"/>
                    <a:pt x="3" y="544"/>
                  </a:cubicBezTo>
                  <a:cubicBezTo>
                    <a:pt x="9" y="470"/>
                    <a:pt x="15" y="396"/>
                    <a:pt x="21" y="323"/>
                  </a:cubicBezTo>
                  <a:cubicBezTo>
                    <a:pt x="27" y="252"/>
                    <a:pt x="33" y="182"/>
                    <a:pt x="38" y="112"/>
                  </a:cubicBezTo>
                  <a:cubicBezTo>
                    <a:pt x="40" y="88"/>
                    <a:pt x="50" y="74"/>
                    <a:pt x="73" y="65"/>
                  </a:cubicBezTo>
                  <a:cubicBezTo>
                    <a:pt x="173" y="27"/>
                    <a:pt x="274" y="3"/>
                    <a:pt x="381" y="1"/>
                  </a:cubicBezTo>
                  <a:cubicBezTo>
                    <a:pt x="490" y="0"/>
                    <a:pt x="590" y="31"/>
                    <a:pt x="683" y="85"/>
                  </a:cubicBezTo>
                  <a:cubicBezTo>
                    <a:pt x="698" y="93"/>
                    <a:pt x="713" y="101"/>
                    <a:pt x="727" y="110"/>
                  </a:cubicBezTo>
                  <a:cubicBezTo>
                    <a:pt x="779" y="149"/>
                    <a:pt x="840" y="157"/>
                    <a:pt x="902" y="162"/>
                  </a:cubicBezTo>
                  <a:cubicBezTo>
                    <a:pt x="1005" y="169"/>
                    <a:pt x="1107" y="186"/>
                    <a:pt x="1204" y="225"/>
                  </a:cubicBezTo>
                  <a:cubicBezTo>
                    <a:pt x="1246" y="243"/>
                    <a:pt x="1278" y="270"/>
                    <a:pt x="1282" y="318"/>
                  </a:cubicBezTo>
                  <a:cubicBezTo>
                    <a:pt x="1286" y="374"/>
                    <a:pt x="1270" y="424"/>
                    <a:pt x="1224" y="460"/>
                  </a:cubicBezTo>
                  <a:cubicBezTo>
                    <a:pt x="1204" y="476"/>
                    <a:pt x="1179" y="479"/>
                    <a:pt x="1154" y="474"/>
                  </a:cubicBezTo>
                  <a:cubicBezTo>
                    <a:pt x="1051" y="454"/>
                    <a:pt x="947" y="437"/>
                    <a:pt x="843" y="421"/>
                  </a:cubicBezTo>
                  <a:cubicBezTo>
                    <a:pt x="817" y="417"/>
                    <a:pt x="791" y="418"/>
                    <a:pt x="765" y="422"/>
                  </a:cubicBezTo>
                  <a:cubicBezTo>
                    <a:pt x="714" y="431"/>
                    <a:pt x="663" y="433"/>
                    <a:pt x="610" y="4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7" name="Freeform 6"/>
            <p:cNvSpPr>
              <a:spLocks noEditPoints="1"/>
            </p:cNvSpPr>
            <p:nvPr/>
          </p:nvSpPr>
          <p:spPr bwMode="auto">
            <a:xfrm>
              <a:off x="2357" y="2259"/>
              <a:ext cx="259" cy="220"/>
            </a:xfrm>
            <a:custGeom>
              <a:avLst/>
              <a:gdLst>
                <a:gd name="T0" fmla="*/ 891 w 892"/>
                <a:gd name="T1" fmla="*/ 468 h 758"/>
                <a:gd name="T2" fmla="*/ 890 w 892"/>
                <a:gd name="T3" fmla="*/ 567 h 758"/>
                <a:gd name="T4" fmla="*/ 890 w 892"/>
                <a:gd name="T5" fmla="*/ 705 h 758"/>
                <a:gd name="T6" fmla="*/ 889 w 892"/>
                <a:gd name="T7" fmla="*/ 747 h 758"/>
                <a:gd name="T8" fmla="*/ 878 w 892"/>
                <a:gd name="T9" fmla="*/ 752 h 758"/>
                <a:gd name="T10" fmla="*/ 658 w 892"/>
                <a:gd name="T11" fmla="*/ 665 h 758"/>
                <a:gd name="T12" fmla="*/ 650 w 892"/>
                <a:gd name="T13" fmla="*/ 664 h 758"/>
                <a:gd name="T14" fmla="*/ 606 w 892"/>
                <a:gd name="T15" fmla="*/ 653 h 758"/>
                <a:gd name="T16" fmla="*/ 600 w 892"/>
                <a:gd name="T17" fmla="*/ 609 h 758"/>
                <a:gd name="T18" fmla="*/ 578 w 892"/>
                <a:gd name="T19" fmla="*/ 589 h 758"/>
                <a:gd name="T20" fmla="*/ 484 w 892"/>
                <a:gd name="T21" fmla="*/ 589 h 758"/>
                <a:gd name="T22" fmla="*/ 460 w 892"/>
                <a:gd name="T23" fmla="*/ 613 h 758"/>
                <a:gd name="T24" fmla="*/ 459 w 892"/>
                <a:gd name="T25" fmla="*/ 627 h 758"/>
                <a:gd name="T26" fmla="*/ 450 w 892"/>
                <a:gd name="T27" fmla="*/ 638 h 758"/>
                <a:gd name="T28" fmla="*/ 437 w 892"/>
                <a:gd name="T29" fmla="*/ 628 h 758"/>
                <a:gd name="T30" fmla="*/ 436 w 892"/>
                <a:gd name="T31" fmla="*/ 614 h 758"/>
                <a:gd name="T32" fmla="*/ 410 w 892"/>
                <a:gd name="T33" fmla="*/ 589 h 758"/>
                <a:gd name="T34" fmla="*/ 248 w 892"/>
                <a:gd name="T35" fmla="*/ 548 h 758"/>
                <a:gd name="T36" fmla="*/ 33 w 892"/>
                <a:gd name="T37" fmla="*/ 485 h 758"/>
                <a:gd name="T38" fmla="*/ 5 w 892"/>
                <a:gd name="T39" fmla="*/ 475 h 758"/>
                <a:gd name="T40" fmla="*/ 13 w 892"/>
                <a:gd name="T41" fmla="*/ 432 h 758"/>
                <a:gd name="T42" fmla="*/ 21 w 892"/>
                <a:gd name="T43" fmla="*/ 423 h 758"/>
                <a:gd name="T44" fmla="*/ 429 w 892"/>
                <a:gd name="T45" fmla="*/ 15 h 758"/>
                <a:gd name="T46" fmla="*/ 466 w 892"/>
                <a:gd name="T47" fmla="*/ 14 h 758"/>
                <a:gd name="T48" fmla="*/ 870 w 892"/>
                <a:gd name="T49" fmla="*/ 419 h 758"/>
                <a:gd name="T50" fmla="*/ 891 w 892"/>
                <a:gd name="T51" fmla="*/ 468 h 758"/>
                <a:gd name="T52" fmla="*/ 436 w 892"/>
                <a:gd name="T53" fmla="*/ 497 h 758"/>
                <a:gd name="T54" fmla="*/ 435 w 892"/>
                <a:gd name="T55" fmla="*/ 497 h 758"/>
                <a:gd name="T56" fmla="*/ 435 w 892"/>
                <a:gd name="T57" fmla="*/ 447 h 758"/>
                <a:gd name="T58" fmla="*/ 414 w 892"/>
                <a:gd name="T59" fmla="*/ 425 h 758"/>
                <a:gd name="T60" fmla="*/ 318 w 892"/>
                <a:gd name="T61" fmla="*/ 425 h 758"/>
                <a:gd name="T62" fmla="*/ 294 w 892"/>
                <a:gd name="T63" fmla="*/ 448 h 758"/>
                <a:gd name="T64" fmla="*/ 294 w 892"/>
                <a:gd name="T65" fmla="*/ 543 h 758"/>
                <a:gd name="T66" fmla="*/ 317 w 892"/>
                <a:gd name="T67" fmla="*/ 567 h 758"/>
                <a:gd name="T68" fmla="*/ 413 w 892"/>
                <a:gd name="T69" fmla="*/ 567 h 758"/>
                <a:gd name="T70" fmla="*/ 436 w 892"/>
                <a:gd name="T71" fmla="*/ 543 h 758"/>
                <a:gd name="T72" fmla="*/ 436 w 892"/>
                <a:gd name="T73" fmla="*/ 497 h 758"/>
                <a:gd name="T74" fmla="*/ 460 w 892"/>
                <a:gd name="T75" fmla="*/ 496 h 758"/>
                <a:gd name="T76" fmla="*/ 460 w 892"/>
                <a:gd name="T77" fmla="*/ 542 h 758"/>
                <a:gd name="T78" fmla="*/ 483 w 892"/>
                <a:gd name="T79" fmla="*/ 567 h 758"/>
                <a:gd name="T80" fmla="*/ 579 w 892"/>
                <a:gd name="T81" fmla="*/ 567 h 758"/>
                <a:gd name="T82" fmla="*/ 600 w 892"/>
                <a:gd name="T83" fmla="*/ 546 h 758"/>
                <a:gd name="T84" fmla="*/ 600 w 892"/>
                <a:gd name="T85" fmla="*/ 446 h 758"/>
                <a:gd name="T86" fmla="*/ 577 w 892"/>
                <a:gd name="T87" fmla="*/ 425 h 758"/>
                <a:gd name="T88" fmla="*/ 483 w 892"/>
                <a:gd name="T89" fmla="*/ 425 h 758"/>
                <a:gd name="T90" fmla="*/ 460 w 892"/>
                <a:gd name="T91" fmla="*/ 448 h 758"/>
                <a:gd name="T92" fmla="*/ 460 w 892"/>
                <a:gd name="T93" fmla="*/ 496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92" h="758">
                  <a:moveTo>
                    <a:pt x="891" y="468"/>
                  </a:moveTo>
                  <a:cubicBezTo>
                    <a:pt x="886" y="501"/>
                    <a:pt x="891" y="534"/>
                    <a:pt x="890" y="567"/>
                  </a:cubicBezTo>
                  <a:cubicBezTo>
                    <a:pt x="889" y="613"/>
                    <a:pt x="890" y="659"/>
                    <a:pt x="890" y="705"/>
                  </a:cubicBezTo>
                  <a:cubicBezTo>
                    <a:pt x="890" y="719"/>
                    <a:pt x="890" y="733"/>
                    <a:pt x="889" y="747"/>
                  </a:cubicBezTo>
                  <a:cubicBezTo>
                    <a:pt x="889" y="755"/>
                    <a:pt x="886" y="758"/>
                    <a:pt x="878" y="752"/>
                  </a:cubicBezTo>
                  <a:cubicBezTo>
                    <a:pt x="815" y="698"/>
                    <a:pt x="736" y="683"/>
                    <a:pt x="658" y="665"/>
                  </a:cubicBezTo>
                  <a:cubicBezTo>
                    <a:pt x="655" y="665"/>
                    <a:pt x="653" y="664"/>
                    <a:pt x="650" y="664"/>
                  </a:cubicBezTo>
                  <a:cubicBezTo>
                    <a:pt x="635" y="660"/>
                    <a:pt x="617" y="663"/>
                    <a:pt x="606" y="653"/>
                  </a:cubicBezTo>
                  <a:cubicBezTo>
                    <a:pt x="594" y="642"/>
                    <a:pt x="602" y="624"/>
                    <a:pt x="600" y="609"/>
                  </a:cubicBezTo>
                  <a:cubicBezTo>
                    <a:pt x="598" y="595"/>
                    <a:pt x="592" y="589"/>
                    <a:pt x="578" y="589"/>
                  </a:cubicBezTo>
                  <a:cubicBezTo>
                    <a:pt x="547" y="589"/>
                    <a:pt x="515" y="589"/>
                    <a:pt x="484" y="589"/>
                  </a:cubicBezTo>
                  <a:cubicBezTo>
                    <a:pt x="467" y="589"/>
                    <a:pt x="460" y="597"/>
                    <a:pt x="460" y="613"/>
                  </a:cubicBezTo>
                  <a:cubicBezTo>
                    <a:pt x="460" y="618"/>
                    <a:pt x="460" y="623"/>
                    <a:pt x="459" y="627"/>
                  </a:cubicBezTo>
                  <a:cubicBezTo>
                    <a:pt x="459" y="633"/>
                    <a:pt x="457" y="638"/>
                    <a:pt x="450" y="638"/>
                  </a:cubicBezTo>
                  <a:cubicBezTo>
                    <a:pt x="443" y="637"/>
                    <a:pt x="438" y="635"/>
                    <a:pt x="437" y="628"/>
                  </a:cubicBezTo>
                  <a:cubicBezTo>
                    <a:pt x="436" y="624"/>
                    <a:pt x="435" y="619"/>
                    <a:pt x="436" y="614"/>
                  </a:cubicBezTo>
                  <a:cubicBezTo>
                    <a:pt x="436" y="596"/>
                    <a:pt x="427" y="587"/>
                    <a:pt x="410" y="589"/>
                  </a:cubicBezTo>
                  <a:cubicBezTo>
                    <a:pt x="350" y="598"/>
                    <a:pt x="300" y="576"/>
                    <a:pt x="248" y="548"/>
                  </a:cubicBezTo>
                  <a:cubicBezTo>
                    <a:pt x="182" y="511"/>
                    <a:pt x="108" y="494"/>
                    <a:pt x="33" y="485"/>
                  </a:cubicBezTo>
                  <a:cubicBezTo>
                    <a:pt x="23" y="484"/>
                    <a:pt x="9" y="489"/>
                    <a:pt x="5" y="475"/>
                  </a:cubicBezTo>
                  <a:cubicBezTo>
                    <a:pt x="2" y="461"/>
                    <a:pt x="0" y="445"/>
                    <a:pt x="13" y="432"/>
                  </a:cubicBezTo>
                  <a:cubicBezTo>
                    <a:pt x="16" y="429"/>
                    <a:pt x="18" y="426"/>
                    <a:pt x="21" y="423"/>
                  </a:cubicBezTo>
                  <a:cubicBezTo>
                    <a:pt x="157" y="287"/>
                    <a:pt x="294" y="151"/>
                    <a:pt x="429" y="15"/>
                  </a:cubicBezTo>
                  <a:cubicBezTo>
                    <a:pt x="444" y="0"/>
                    <a:pt x="452" y="0"/>
                    <a:pt x="466" y="14"/>
                  </a:cubicBezTo>
                  <a:cubicBezTo>
                    <a:pt x="600" y="150"/>
                    <a:pt x="735" y="284"/>
                    <a:pt x="870" y="419"/>
                  </a:cubicBezTo>
                  <a:cubicBezTo>
                    <a:pt x="884" y="433"/>
                    <a:pt x="892" y="448"/>
                    <a:pt x="891" y="468"/>
                  </a:cubicBezTo>
                  <a:close/>
                  <a:moveTo>
                    <a:pt x="436" y="497"/>
                  </a:moveTo>
                  <a:cubicBezTo>
                    <a:pt x="435" y="497"/>
                    <a:pt x="435" y="497"/>
                    <a:pt x="435" y="497"/>
                  </a:cubicBezTo>
                  <a:cubicBezTo>
                    <a:pt x="435" y="480"/>
                    <a:pt x="435" y="464"/>
                    <a:pt x="435" y="447"/>
                  </a:cubicBezTo>
                  <a:cubicBezTo>
                    <a:pt x="436" y="432"/>
                    <a:pt x="429" y="425"/>
                    <a:pt x="414" y="425"/>
                  </a:cubicBezTo>
                  <a:cubicBezTo>
                    <a:pt x="382" y="425"/>
                    <a:pt x="350" y="425"/>
                    <a:pt x="318" y="425"/>
                  </a:cubicBezTo>
                  <a:cubicBezTo>
                    <a:pt x="303" y="425"/>
                    <a:pt x="294" y="433"/>
                    <a:pt x="294" y="448"/>
                  </a:cubicBezTo>
                  <a:cubicBezTo>
                    <a:pt x="293" y="480"/>
                    <a:pt x="293" y="512"/>
                    <a:pt x="294" y="543"/>
                  </a:cubicBezTo>
                  <a:cubicBezTo>
                    <a:pt x="294" y="558"/>
                    <a:pt x="302" y="567"/>
                    <a:pt x="317" y="567"/>
                  </a:cubicBezTo>
                  <a:cubicBezTo>
                    <a:pt x="349" y="567"/>
                    <a:pt x="381" y="567"/>
                    <a:pt x="413" y="567"/>
                  </a:cubicBezTo>
                  <a:cubicBezTo>
                    <a:pt x="429" y="567"/>
                    <a:pt x="436" y="559"/>
                    <a:pt x="436" y="543"/>
                  </a:cubicBezTo>
                  <a:cubicBezTo>
                    <a:pt x="435" y="528"/>
                    <a:pt x="436" y="512"/>
                    <a:pt x="436" y="497"/>
                  </a:cubicBezTo>
                  <a:close/>
                  <a:moveTo>
                    <a:pt x="460" y="496"/>
                  </a:moveTo>
                  <a:cubicBezTo>
                    <a:pt x="460" y="511"/>
                    <a:pt x="460" y="526"/>
                    <a:pt x="460" y="542"/>
                  </a:cubicBezTo>
                  <a:cubicBezTo>
                    <a:pt x="459" y="558"/>
                    <a:pt x="467" y="567"/>
                    <a:pt x="483" y="567"/>
                  </a:cubicBezTo>
                  <a:cubicBezTo>
                    <a:pt x="515" y="567"/>
                    <a:pt x="547" y="567"/>
                    <a:pt x="579" y="567"/>
                  </a:cubicBezTo>
                  <a:cubicBezTo>
                    <a:pt x="593" y="567"/>
                    <a:pt x="600" y="559"/>
                    <a:pt x="600" y="546"/>
                  </a:cubicBezTo>
                  <a:cubicBezTo>
                    <a:pt x="600" y="512"/>
                    <a:pt x="600" y="479"/>
                    <a:pt x="600" y="446"/>
                  </a:cubicBezTo>
                  <a:cubicBezTo>
                    <a:pt x="600" y="431"/>
                    <a:pt x="591" y="425"/>
                    <a:pt x="577" y="425"/>
                  </a:cubicBezTo>
                  <a:cubicBezTo>
                    <a:pt x="546" y="425"/>
                    <a:pt x="514" y="425"/>
                    <a:pt x="483" y="425"/>
                  </a:cubicBezTo>
                  <a:cubicBezTo>
                    <a:pt x="467" y="425"/>
                    <a:pt x="460" y="432"/>
                    <a:pt x="460" y="448"/>
                  </a:cubicBezTo>
                  <a:cubicBezTo>
                    <a:pt x="460" y="464"/>
                    <a:pt x="460" y="480"/>
                    <a:pt x="460" y="4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8" name="Freeform 7"/>
            <p:cNvSpPr>
              <a:spLocks/>
            </p:cNvSpPr>
            <p:nvPr/>
          </p:nvSpPr>
          <p:spPr bwMode="auto">
            <a:xfrm>
              <a:off x="2311" y="2182"/>
              <a:ext cx="350" cy="205"/>
            </a:xfrm>
            <a:custGeom>
              <a:avLst/>
              <a:gdLst>
                <a:gd name="T0" fmla="*/ 1201 w 1203"/>
                <a:gd name="T1" fmla="*/ 621 h 704"/>
                <a:gd name="T2" fmla="*/ 1157 w 1203"/>
                <a:gd name="T3" fmla="*/ 691 h 704"/>
                <a:gd name="T4" fmla="*/ 1070 w 1203"/>
                <a:gd name="T5" fmla="*/ 674 h 704"/>
                <a:gd name="T6" fmla="*/ 886 w 1203"/>
                <a:gd name="T7" fmla="*/ 490 h 704"/>
                <a:gd name="T8" fmla="*/ 622 w 1203"/>
                <a:gd name="T9" fmla="*/ 226 h 704"/>
                <a:gd name="T10" fmla="*/ 585 w 1203"/>
                <a:gd name="T11" fmla="*/ 227 h 704"/>
                <a:gd name="T12" fmla="*/ 145 w 1203"/>
                <a:gd name="T13" fmla="*/ 666 h 704"/>
                <a:gd name="T14" fmla="*/ 89 w 1203"/>
                <a:gd name="T15" fmla="*/ 697 h 704"/>
                <a:gd name="T16" fmla="*/ 16 w 1203"/>
                <a:gd name="T17" fmla="*/ 660 h 704"/>
                <a:gd name="T18" fmla="*/ 17 w 1203"/>
                <a:gd name="T19" fmla="*/ 581 h 704"/>
                <a:gd name="T20" fmla="*/ 38 w 1203"/>
                <a:gd name="T21" fmla="*/ 557 h 704"/>
                <a:gd name="T22" fmla="*/ 560 w 1203"/>
                <a:gd name="T23" fmla="*/ 35 h 704"/>
                <a:gd name="T24" fmla="*/ 648 w 1203"/>
                <a:gd name="T25" fmla="*/ 35 h 704"/>
                <a:gd name="T26" fmla="*/ 1171 w 1203"/>
                <a:gd name="T27" fmla="*/ 558 h 704"/>
                <a:gd name="T28" fmla="*/ 1201 w 1203"/>
                <a:gd name="T29" fmla="*/ 621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03" h="704">
                  <a:moveTo>
                    <a:pt x="1201" y="621"/>
                  </a:moveTo>
                  <a:cubicBezTo>
                    <a:pt x="1200" y="653"/>
                    <a:pt x="1187" y="678"/>
                    <a:pt x="1157" y="691"/>
                  </a:cubicBezTo>
                  <a:cubicBezTo>
                    <a:pt x="1127" y="704"/>
                    <a:pt x="1095" y="699"/>
                    <a:pt x="1070" y="674"/>
                  </a:cubicBezTo>
                  <a:cubicBezTo>
                    <a:pt x="1009" y="613"/>
                    <a:pt x="948" y="552"/>
                    <a:pt x="886" y="490"/>
                  </a:cubicBezTo>
                  <a:cubicBezTo>
                    <a:pt x="798" y="402"/>
                    <a:pt x="710" y="314"/>
                    <a:pt x="622" y="226"/>
                  </a:cubicBezTo>
                  <a:cubicBezTo>
                    <a:pt x="604" y="208"/>
                    <a:pt x="604" y="208"/>
                    <a:pt x="585" y="227"/>
                  </a:cubicBezTo>
                  <a:cubicBezTo>
                    <a:pt x="438" y="373"/>
                    <a:pt x="292" y="520"/>
                    <a:pt x="145" y="666"/>
                  </a:cubicBezTo>
                  <a:cubicBezTo>
                    <a:pt x="129" y="682"/>
                    <a:pt x="112" y="696"/>
                    <a:pt x="89" y="697"/>
                  </a:cubicBezTo>
                  <a:cubicBezTo>
                    <a:pt x="57" y="700"/>
                    <a:pt x="33" y="687"/>
                    <a:pt x="16" y="660"/>
                  </a:cubicBezTo>
                  <a:cubicBezTo>
                    <a:pt x="0" y="634"/>
                    <a:pt x="2" y="607"/>
                    <a:pt x="17" y="581"/>
                  </a:cubicBezTo>
                  <a:cubicBezTo>
                    <a:pt x="23" y="572"/>
                    <a:pt x="31" y="564"/>
                    <a:pt x="38" y="557"/>
                  </a:cubicBezTo>
                  <a:cubicBezTo>
                    <a:pt x="212" y="383"/>
                    <a:pt x="386" y="209"/>
                    <a:pt x="560" y="35"/>
                  </a:cubicBezTo>
                  <a:cubicBezTo>
                    <a:pt x="595" y="0"/>
                    <a:pt x="613" y="0"/>
                    <a:pt x="648" y="35"/>
                  </a:cubicBezTo>
                  <a:cubicBezTo>
                    <a:pt x="822" y="210"/>
                    <a:pt x="997" y="384"/>
                    <a:pt x="1171" y="558"/>
                  </a:cubicBezTo>
                  <a:cubicBezTo>
                    <a:pt x="1189" y="576"/>
                    <a:pt x="1203" y="595"/>
                    <a:pt x="1201" y="6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9" name="Freeform 8"/>
            <p:cNvSpPr>
              <a:spLocks/>
            </p:cNvSpPr>
            <p:nvPr/>
          </p:nvSpPr>
          <p:spPr bwMode="auto">
            <a:xfrm>
              <a:off x="2151" y="2402"/>
              <a:ext cx="84" cy="216"/>
            </a:xfrm>
            <a:custGeom>
              <a:avLst/>
              <a:gdLst>
                <a:gd name="T0" fmla="*/ 0 w 291"/>
                <a:gd name="T1" fmla="*/ 602 h 744"/>
                <a:gd name="T2" fmla="*/ 56 w 291"/>
                <a:gd name="T3" fmla="*/ 38 h 744"/>
                <a:gd name="T4" fmla="*/ 103 w 291"/>
                <a:gd name="T5" fmla="*/ 1 h 744"/>
                <a:gd name="T6" fmla="*/ 245 w 291"/>
                <a:gd name="T7" fmla="*/ 6 h 744"/>
                <a:gd name="T8" fmla="*/ 286 w 291"/>
                <a:gd name="T9" fmla="*/ 55 h 744"/>
                <a:gd name="T10" fmla="*/ 239 w 291"/>
                <a:gd name="T11" fmla="*/ 435 h 744"/>
                <a:gd name="T12" fmla="*/ 229 w 291"/>
                <a:gd name="T13" fmla="*/ 700 h 744"/>
                <a:gd name="T14" fmla="*/ 188 w 291"/>
                <a:gd name="T15" fmla="*/ 742 h 744"/>
                <a:gd name="T16" fmla="*/ 34 w 291"/>
                <a:gd name="T17" fmla="*/ 735 h 744"/>
                <a:gd name="T18" fmla="*/ 0 w 291"/>
                <a:gd name="T19" fmla="*/ 697 h 744"/>
                <a:gd name="T20" fmla="*/ 0 w 291"/>
                <a:gd name="T21" fmla="*/ 602 h 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1" h="744">
                  <a:moveTo>
                    <a:pt x="0" y="602"/>
                  </a:moveTo>
                  <a:cubicBezTo>
                    <a:pt x="2" y="412"/>
                    <a:pt x="17" y="224"/>
                    <a:pt x="56" y="38"/>
                  </a:cubicBezTo>
                  <a:cubicBezTo>
                    <a:pt x="63" y="5"/>
                    <a:pt x="68" y="0"/>
                    <a:pt x="103" y="1"/>
                  </a:cubicBezTo>
                  <a:cubicBezTo>
                    <a:pt x="150" y="2"/>
                    <a:pt x="197" y="4"/>
                    <a:pt x="245" y="6"/>
                  </a:cubicBezTo>
                  <a:cubicBezTo>
                    <a:pt x="281" y="8"/>
                    <a:pt x="291" y="20"/>
                    <a:pt x="286" y="55"/>
                  </a:cubicBezTo>
                  <a:cubicBezTo>
                    <a:pt x="267" y="182"/>
                    <a:pt x="250" y="308"/>
                    <a:pt x="239" y="435"/>
                  </a:cubicBezTo>
                  <a:cubicBezTo>
                    <a:pt x="232" y="523"/>
                    <a:pt x="222" y="612"/>
                    <a:pt x="229" y="700"/>
                  </a:cubicBezTo>
                  <a:cubicBezTo>
                    <a:pt x="232" y="731"/>
                    <a:pt x="219" y="744"/>
                    <a:pt x="188" y="742"/>
                  </a:cubicBezTo>
                  <a:cubicBezTo>
                    <a:pt x="137" y="740"/>
                    <a:pt x="86" y="737"/>
                    <a:pt x="34" y="735"/>
                  </a:cubicBezTo>
                  <a:cubicBezTo>
                    <a:pt x="10" y="733"/>
                    <a:pt x="0" y="722"/>
                    <a:pt x="0" y="697"/>
                  </a:cubicBezTo>
                  <a:cubicBezTo>
                    <a:pt x="0" y="665"/>
                    <a:pt x="0" y="633"/>
                    <a:pt x="0" y="6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90" name="Rectangle 89"/>
          <p:cNvSpPr/>
          <p:nvPr/>
        </p:nvSpPr>
        <p:spPr>
          <a:xfrm>
            <a:off x="6402630" y="5712384"/>
            <a:ext cx="3787522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  <a:cs typeface="Arial" panose="020B0604020202020204" pitchFamily="34" charset="0"/>
              </a:rPr>
              <a:t>  Tax Curtailment strategies</a:t>
            </a:r>
          </a:p>
        </p:txBody>
      </p:sp>
      <p:grpSp>
        <p:nvGrpSpPr>
          <p:cNvPr id="106" name="Group 15"/>
          <p:cNvGrpSpPr>
            <a:grpSpLocks noChangeAspect="1"/>
          </p:cNvGrpSpPr>
          <p:nvPr/>
        </p:nvGrpSpPr>
        <p:grpSpPr bwMode="auto">
          <a:xfrm>
            <a:off x="5782359" y="1683334"/>
            <a:ext cx="283235" cy="398231"/>
            <a:chOff x="1764" y="590"/>
            <a:chExt cx="2229" cy="3134"/>
          </a:xfrm>
          <a:solidFill>
            <a:schemeClr val="bg1"/>
          </a:solidFill>
        </p:grpSpPr>
        <p:sp>
          <p:nvSpPr>
            <p:cNvPr id="109" name="Freeform 17"/>
            <p:cNvSpPr>
              <a:spLocks/>
            </p:cNvSpPr>
            <p:nvPr/>
          </p:nvSpPr>
          <p:spPr bwMode="auto">
            <a:xfrm>
              <a:off x="3358" y="719"/>
              <a:ext cx="506" cy="505"/>
            </a:xfrm>
            <a:custGeom>
              <a:avLst/>
              <a:gdLst>
                <a:gd name="T0" fmla="*/ 0 w 1010"/>
                <a:gd name="T1" fmla="*/ 0 h 1010"/>
                <a:gd name="T2" fmla="*/ 1010 w 1010"/>
                <a:gd name="T3" fmla="*/ 1010 h 1010"/>
                <a:gd name="T4" fmla="*/ 0 w 1010"/>
                <a:gd name="T5" fmla="*/ 1010 h 1010"/>
                <a:gd name="T6" fmla="*/ 0 w 1010"/>
                <a:gd name="T7" fmla="*/ 0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10" h="1010">
                  <a:moveTo>
                    <a:pt x="0" y="0"/>
                  </a:moveTo>
                  <a:lnTo>
                    <a:pt x="1010" y="1010"/>
                  </a:lnTo>
                  <a:lnTo>
                    <a:pt x="0" y="101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0" name="Freeform 18"/>
            <p:cNvSpPr>
              <a:spLocks noEditPoints="1"/>
            </p:cNvSpPr>
            <p:nvPr/>
          </p:nvSpPr>
          <p:spPr bwMode="auto">
            <a:xfrm>
              <a:off x="1764" y="590"/>
              <a:ext cx="2229" cy="3134"/>
            </a:xfrm>
            <a:custGeom>
              <a:avLst/>
              <a:gdLst>
                <a:gd name="T0" fmla="*/ 772 w 4458"/>
                <a:gd name="T1" fmla="*/ 2517 h 6269"/>
                <a:gd name="T2" fmla="*/ 715 w 4458"/>
                <a:gd name="T3" fmla="*/ 2549 h 6269"/>
                <a:gd name="T4" fmla="*/ 680 w 4458"/>
                <a:gd name="T5" fmla="*/ 2608 h 6269"/>
                <a:gd name="T6" fmla="*/ 677 w 4458"/>
                <a:gd name="T7" fmla="*/ 5415 h 6269"/>
                <a:gd name="T8" fmla="*/ 696 w 4458"/>
                <a:gd name="T9" fmla="*/ 5488 h 6269"/>
                <a:gd name="T10" fmla="*/ 747 w 4458"/>
                <a:gd name="T11" fmla="*/ 5539 h 6269"/>
                <a:gd name="T12" fmla="*/ 820 w 4458"/>
                <a:gd name="T13" fmla="*/ 5558 h 6269"/>
                <a:gd name="T14" fmla="*/ 3641 w 4458"/>
                <a:gd name="T15" fmla="*/ 5554 h 6269"/>
                <a:gd name="T16" fmla="*/ 3694 w 4458"/>
                <a:gd name="T17" fmla="*/ 5524 h 6269"/>
                <a:gd name="T18" fmla="*/ 3726 w 4458"/>
                <a:gd name="T19" fmla="*/ 5470 h 6269"/>
                <a:gd name="T20" fmla="*/ 3728 w 4458"/>
                <a:gd name="T21" fmla="*/ 5404 h 6269"/>
                <a:gd name="T22" fmla="*/ 3694 w 4458"/>
                <a:gd name="T23" fmla="*/ 5347 h 6269"/>
                <a:gd name="T24" fmla="*/ 3637 w 4458"/>
                <a:gd name="T25" fmla="*/ 5312 h 6269"/>
                <a:gd name="T26" fmla="*/ 1113 w 4458"/>
                <a:gd name="T27" fmla="*/ 5308 h 6269"/>
                <a:gd name="T28" fmla="*/ 2232 w 4458"/>
                <a:gd name="T29" fmla="*/ 4885 h 6269"/>
                <a:gd name="T30" fmla="*/ 2289 w 4458"/>
                <a:gd name="T31" fmla="*/ 4920 h 6269"/>
                <a:gd name="T32" fmla="*/ 2354 w 4458"/>
                <a:gd name="T33" fmla="*/ 4920 h 6269"/>
                <a:gd name="T34" fmla="*/ 2411 w 4458"/>
                <a:gd name="T35" fmla="*/ 4885 h 6269"/>
                <a:gd name="T36" fmla="*/ 3526 w 4458"/>
                <a:gd name="T37" fmla="*/ 4085 h 6269"/>
                <a:gd name="T38" fmla="*/ 3545 w 4458"/>
                <a:gd name="T39" fmla="*/ 4150 h 6269"/>
                <a:gd name="T40" fmla="*/ 3591 w 4458"/>
                <a:gd name="T41" fmla="*/ 4198 h 6269"/>
                <a:gd name="T42" fmla="*/ 3656 w 4458"/>
                <a:gd name="T43" fmla="*/ 4213 h 6269"/>
                <a:gd name="T44" fmla="*/ 3717 w 4458"/>
                <a:gd name="T45" fmla="*/ 4196 h 6269"/>
                <a:gd name="T46" fmla="*/ 3761 w 4458"/>
                <a:gd name="T47" fmla="*/ 4152 h 6269"/>
                <a:gd name="T48" fmla="*/ 3778 w 4458"/>
                <a:gd name="T49" fmla="*/ 4089 h 6269"/>
                <a:gd name="T50" fmla="*/ 3768 w 4458"/>
                <a:gd name="T51" fmla="*/ 3487 h 6269"/>
                <a:gd name="T52" fmla="*/ 3749 w 4458"/>
                <a:gd name="T53" fmla="*/ 3416 h 6269"/>
                <a:gd name="T54" fmla="*/ 3698 w 4458"/>
                <a:gd name="T55" fmla="*/ 3367 h 6269"/>
                <a:gd name="T56" fmla="*/ 3627 w 4458"/>
                <a:gd name="T57" fmla="*/ 3348 h 6269"/>
                <a:gd name="T58" fmla="*/ 2983 w 4458"/>
                <a:gd name="T59" fmla="*/ 3352 h 6269"/>
                <a:gd name="T60" fmla="*/ 2930 w 4458"/>
                <a:gd name="T61" fmla="*/ 3382 h 6269"/>
                <a:gd name="T62" fmla="*/ 2897 w 4458"/>
                <a:gd name="T63" fmla="*/ 3435 h 6269"/>
                <a:gd name="T64" fmla="*/ 2895 w 4458"/>
                <a:gd name="T65" fmla="*/ 3502 h 6269"/>
                <a:gd name="T66" fmla="*/ 2930 w 4458"/>
                <a:gd name="T67" fmla="*/ 3559 h 6269"/>
                <a:gd name="T68" fmla="*/ 2987 w 4458"/>
                <a:gd name="T69" fmla="*/ 3592 h 6269"/>
                <a:gd name="T70" fmla="*/ 3336 w 4458"/>
                <a:gd name="T71" fmla="*/ 3597 h 6269"/>
                <a:gd name="T72" fmla="*/ 1965 w 4458"/>
                <a:gd name="T73" fmla="*/ 4268 h 6269"/>
                <a:gd name="T74" fmla="*/ 1908 w 4458"/>
                <a:gd name="T75" fmla="*/ 4236 h 6269"/>
                <a:gd name="T76" fmla="*/ 1845 w 4458"/>
                <a:gd name="T77" fmla="*/ 4236 h 6269"/>
                <a:gd name="T78" fmla="*/ 1786 w 4458"/>
                <a:gd name="T79" fmla="*/ 4268 h 6269"/>
                <a:gd name="T80" fmla="*/ 926 w 4458"/>
                <a:gd name="T81" fmla="*/ 2637 h 6269"/>
                <a:gd name="T82" fmla="*/ 911 w 4458"/>
                <a:gd name="T83" fmla="*/ 2574 h 6269"/>
                <a:gd name="T84" fmla="*/ 867 w 4458"/>
                <a:gd name="T85" fmla="*/ 2530 h 6269"/>
                <a:gd name="T86" fmla="*/ 806 w 4458"/>
                <a:gd name="T87" fmla="*/ 2513 h 6269"/>
                <a:gd name="T88" fmla="*/ 2899 w 4458"/>
                <a:gd name="T89" fmla="*/ 0 h 6269"/>
                <a:gd name="T90" fmla="*/ 2905 w 4458"/>
                <a:gd name="T91" fmla="*/ 1452 h 6269"/>
                <a:gd name="T92" fmla="*/ 2941 w 4458"/>
                <a:gd name="T93" fmla="*/ 1515 h 6269"/>
                <a:gd name="T94" fmla="*/ 3006 w 4458"/>
                <a:gd name="T95" fmla="*/ 1553 h 6269"/>
                <a:gd name="T96" fmla="*/ 4458 w 4458"/>
                <a:gd name="T97" fmla="*/ 1558 h 6269"/>
                <a:gd name="T98" fmla="*/ 0 w 4458"/>
                <a:gd name="T99" fmla="*/ 6269 h 6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458" h="6269">
                  <a:moveTo>
                    <a:pt x="806" y="2513"/>
                  </a:moveTo>
                  <a:lnTo>
                    <a:pt x="772" y="2517"/>
                  </a:lnTo>
                  <a:lnTo>
                    <a:pt x="741" y="2530"/>
                  </a:lnTo>
                  <a:lnTo>
                    <a:pt x="715" y="2549"/>
                  </a:lnTo>
                  <a:lnTo>
                    <a:pt x="694" y="2576"/>
                  </a:lnTo>
                  <a:lnTo>
                    <a:pt x="680" y="2608"/>
                  </a:lnTo>
                  <a:lnTo>
                    <a:pt x="677" y="2643"/>
                  </a:lnTo>
                  <a:lnTo>
                    <a:pt x="677" y="5415"/>
                  </a:lnTo>
                  <a:lnTo>
                    <a:pt x="682" y="5453"/>
                  </a:lnTo>
                  <a:lnTo>
                    <a:pt x="696" y="5488"/>
                  </a:lnTo>
                  <a:lnTo>
                    <a:pt x="719" y="5516"/>
                  </a:lnTo>
                  <a:lnTo>
                    <a:pt x="747" y="5539"/>
                  </a:lnTo>
                  <a:lnTo>
                    <a:pt x="781" y="5552"/>
                  </a:lnTo>
                  <a:lnTo>
                    <a:pt x="820" y="5558"/>
                  </a:lnTo>
                  <a:lnTo>
                    <a:pt x="3608" y="5558"/>
                  </a:lnTo>
                  <a:lnTo>
                    <a:pt x="3641" y="5554"/>
                  </a:lnTo>
                  <a:lnTo>
                    <a:pt x="3669" y="5541"/>
                  </a:lnTo>
                  <a:lnTo>
                    <a:pt x="3694" y="5524"/>
                  </a:lnTo>
                  <a:lnTo>
                    <a:pt x="3713" y="5499"/>
                  </a:lnTo>
                  <a:lnTo>
                    <a:pt x="3726" y="5470"/>
                  </a:lnTo>
                  <a:lnTo>
                    <a:pt x="3732" y="5438"/>
                  </a:lnTo>
                  <a:lnTo>
                    <a:pt x="3728" y="5404"/>
                  </a:lnTo>
                  <a:lnTo>
                    <a:pt x="3715" y="5371"/>
                  </a:lnTo>
                  <a:lnTo>
                    <a:pt x="3694" y="5347"/>
                  </a:lnTo>
                  <a:lnTo>
                    <a:pt x="3667" y="5326"/>
                  </a:lnTo>
                  <a:lnTo>
                    <a:pt x="3637" y="5312"/>
                  </a:lnTo>
                  <a:lnTo>
                    <a:pt x="3602" y="5308"/>
                  </a:lnTo>
                  <a:lnTo>
                    <a:pt x="1113" y="5308"/>
                  </a:lnTo>
                  <a:lnTo>
                    <a:pt x="1883" y="4537"/>
                  </a:lnTo>
                  <a:lnTo>
                    <a:pt x="2232" y="4885"/>
                  </a:lnTo>
                  <a:lnTo>
                    <a:pt x="2259" y="4906"/>
                  </a:lnTo>
                  <a:lnTo>
                    <a:pt x="2289" y="4920"/>
                  </a:lnTo>
                  <a:lnTo>
                    <a:pt x="2322" y="4924"/>
                  </a:lnTo>
                  <a:lnTo>
                    <a:pt x="2354" y="4920"/>
                  </a:lnTo>
                  <a:lnTo>
                    <a:pt x="2384" y="4906"/>
                  </a:lnTo>
                  <a:lnTo>
                    <a:pt x="2411" y="4885"/>
                  </a:lnTo>
                  <a:lnTo>
                    <a:pt x="3526" y="3771"/>
                  </a:lnTo>
                  <a:lnTo>
                    <a:pt x="3526" y="4085"/>
                  </a:lnTo>
                  <a:lnTo>
                    <a:pt x="3532" y="4119"/>
                  </a:lnTo>
                  <a:lnTo>
                    <a:pt x="3545" y="4150"/>
                  </a:lnTo>
                  <a:lnTo>
                    <a:pt x="3564" y="4177"/>
                  </a:lnTo>
                  <a:lnTo>
                    <a:pt x="3591" y="4198"/>
                  </a:lnTo>
                  <a:lnTo>
                    <a:pt x="3622" y="4209"/>
                  </a:lnTo>
                  <a:lnTo>
                    <a:pt x="3656" y="4213"/>
                  </a:lnTo>
                  <a:lnTo>
                    <a:pt x="3688" y="4209"/>
                  </a:lnTo>
                  <a:lnTo>
                    <a:pt x="3717" y="4196"/>
                  </a:lnTo>
                  <a:lnTo>
                    <a:pt x="3742" y="4177"/>
                  </a:lnTo>
                  <a:lnTo>
                    <a:pt x="3761" y="4152"/>
                  </a:lnTo>
                  <a:lnTo>
                    <a:pt x="3772" y="4121"/>
                  </a:lnTo>
                  <a:lnTo>
                    <a:pt x="3778" y="4089"/>
                  </a:lnTo>
                  <a:lnTo>
                    <a:pt x="3768" y="4089"/>
                  </a:lnTo>
                  <a:lnTo>
                    <a:pt x="3768" y="3487"/>
                  </a:lnTo>
                  <a:lnTo>
                    <a:pt x="3763" y="3449"/>
                  </a:lnTo>
                  <a:lnTo>
                    <a:pt x="3749" y="3416"/>
                  </a:lnTo>
                  <a:lnTo>
                    <a:pt x="3726" y="3388"/>
                  </a:lnTo>
                  <a:lnTo>
                    <a:pt x="3698" y="3367"/>
                  </a:lnTo>
                  <a:lnTo>
                    <a:pt x="3665" y="3352"/>
                  </a:lnTo>
                  <a:lnTo>
                    <a:pt x="3627" y="3348"/>
                  </a:lnTo>
                  <a:lnTo>
                    <a:pt x="3015" y="3348"/>
                  </a:lnTo>
                  <a:lnTo>
                    <a:pt x="2983" y="3352"/>
                  </a:lnTo>
                  <a:lnTo>
                    <a:pt x="2954" y="3363"/>
                  </a:lnTo>
                  <a:lnTo>
                    <a:pt x="2930" y="3382"/>
                  </a:lnTo>
                  <a:lnTo>
                    <a:pt x="2911" y="3407"/>
                  </a:lnTo>
                  <a:lnTo>
                    <a:pt x="2897" y="3435"/>
                  </a:lnTo>
                  <a:lnTo>
                    <a:pt x="2891" y="3468"/>
                  </a:lnTo>
                  <a:lnTo>
                    <a:pt x="2895" y="3502"/>
                  </a:lnTo>
                  <a:lnTo>
                    <a:pt x="2909" y="3533"/>
                  </a:lnTo>
                  <a:lnTo>
                    <a:pt x="2930" y="3559"/>
                  </a:lnTo>
                  <a:lnTo>
                    <a:pt x="2956" y="3578"/>
                  </a:lnTo>
                  <a:lnTo>
                    <a:pt x="2987" y="3592"/>
                  </a:lnTo>
                  <a:lnTo>
                    <a:pt x="3021" y="3597"/>
                  </a:lnTo>
                  <a:lnTo>
                    <a:pt x="3336" y="3597"/>
                  </a:lnTo>
                  <a:lnTo>
                    <a:pt x="2314" y="4617"/>
                  </a:lnTo>
                  <a:lnTo>
                    <a:pt x="1965" y="4268"/>
                  </a:lnTo>
                  <a:lnTo>
                    <a:pt x="1938" y="4247"/>
                  </a:lnTo>
                  <a:lnTo>
                    <a:pt x="1908" y="4236"/>
                  </a:lnTo>
                  <a:lnTo>
                    <a:pt x="1876" y="4232"/>
                  </a:lnTo>
                  <a:lnTo>
                    <a:pt x="1845" y="4236"/>
                  </a:lnTo>
                  <a:lnTo>
                    <a:pt x="1815" y="4247"/>
                  </a:lnTo>
                  <a:lnTo>
                    <a:pt x="1786" y="4268"/>
                  </a:lnTo>
                  <a:lnTo>
                    <a:pt x="926" y="5129"/>
                  </a:lnTo>
                  <a:lnTo>
                    <a:pt x="926" y="2637"/>
                  </a:lnTo>
                  <a:lnTo>
                    <a:pt x="923" y="2605"/>
                  </a:lnTo>
                  <a:lnTo>
                    <a:pt x="911" y="2574"/>
                  </a:lnTo>
                  <a:lnTo>
                    <a:pt x="892" y="2549"/>
                  </a:lnTo>
                  <a:lnTo>
                    <a:pt x="867" y="2530"/>
                  </a:lnTo>
                  <a:lnTo>
                    <a:pt x="839" y="2517"/>
                  </a:lnTo>
                  <a:lnTo>
                    <a:pt x="806" y="2513"/>
                  </a:lnTo>
                  <a:close/>
                  <a:moveTo>
                    <a:pt x="0" y="0"/>
                  </a:moveTo>
                  <a:lnTo>
                    <a:pt x="2899" y="0"/>
                  </a:lnTo>
                  <a:lnTo>
                    <a:pt x="2899" y="1414"/>
                  </a:lnTo>
                  <a:lnTo>
                    <a:pt x="2905" y="1452"/>
                  </a:lnTo>
                  <a:lnTo>
                    <a:pt x="2920" y="1486"/>
                  </a:lnTo>
                  <a:lnTo>
                    <a:pt x="2941" y="1515"/>
                  </a:lnTo>
                  <a:lnTo>
                    <a:pt x="2972" y="1538"/>
                  </a:lnTo>
                  <a:lnTo>
                    <a:pt x="3006" y="1553"/>
                  </a:lnTo>
                  <a:lnTo>
                    <a:pt x="3044" y="1558"/>
                  </a:lnTo>
                  <a:lnTo>
                    <a:pt x="4458" y="1558"/>
                  </a:lnTo>
                  <a:lnTo>
                    <a:pt x="4458" y="6269"/>
                  </a:lnTo>
                  <a:lnTo>
                    <a:pt x="0" y="626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12" name="Group 21"/>
          <p:cNvGrpSpPr>
            <a:grpSpLocks noChangeAspect="1"/>
          </p:cNvGrpSpPr>
          <p:nvPr/>
        </p:nvGrpSpPr>
        <p:grpSpPr bwMode="auto">
          <a:xfrm>
            <a:off x="5750875" y="2311727"/>
            <a:ext cx="375275" cy="375504"/>
            <a:chOff x="3690" y="746"/>
            <a:chExt cx="3276" cy="3278"/>
          </a:xfrm>
          <a:solidFill>
            <a:schemeClr val="bg1"/>
          </a:solidFill>
        </p:grpSpPr>
        <p:sp>
          <p:nvSpPr>
            <p:cNvPr id="115" name="Freeform 23"/>
            <p:cNvSpPr>
              <a:spLocks/>
            </p:cNvSpPr>
            <p:nvPr/>
          </p:nvSpPr>
          <p:spPr bwMode="auto">
            <a:xfrm>
              <a:off x="4249" y="1330"/>
              <a:ext cx="1417" cy="298"/>
            </a:xfrm>
            <a:custGeom>
              <a:avLst/>
              <a:gdLst>
                <a:gd name="T0" fmla="*/ 297 w 2832"/>
                <a:gd name="T1" fmla="*/ 0 h 596"/>
                <a:gd name="T2" fmla="*/ 2533 w 2832"/>
                <a:gd name="T3" fmla="*/ 0 h 596"/>
                <a:gd name="T4" fmla="*/ 2593 w 2832"/>
                <a:gd name="T5" fmla="*/ 6 h 596"/>
                <a:gd name="T6" fmla="*/ 2649 w 2832"/>
                <a:gd name="T7" fmla="*/ 22 h 596"/>
                <a:gd name="T8" fmla="*/ 2701 w 2832"/>
                <a:gd name="T9" fmla="*/ 50 h 596"/>
                <a:gd name="T10" fmla="*/ 2744 w 2832"/>
                <a:gd name="T11" fmla="*/ 86 h 596"/>
                <a:gd name="T12" fmla="*/ 2780 w 2832"/>
                <a:gd name="T13" fmla="*/ 132 h 596"/>
                <a:gd name="T14" fmla="*/ 2808 w 2832"/>
                <a:gd name="T15" fmla="*/ 181 h 596"/>
                <a:gd name="T16" fmla="*/ 2826 w 2832"/>
                <a:gd name="T17" fmla="*/ 237 h 596"/>
                <a:gd name="T18" fmla="*/ 2832 w 2832"/>
                <a:gd name="T19" fmla="*/ 297 h 596"/>
                <a:gd name="T20" fmla="*/ 2826 w 2832"/>
                <a:gd name="T21" fmla="*/ 357 h 596"/>
                <a:gd name="T22" fmla="*/ 2808 w 2832"/>
                <a:gd name="T23" fmla="*/ 413 h 596"/>
                <a:gd name="T24" fmla="*/ 2780 w 2832"/>
                <a:gd name="T25" fmla="*/ 465 h 596"/>
                <a:gd name="T26" fmla="*/ 2744 w 2832"/>
                <a:gd name="T27" fmla="*/ 508 h 596"/>
                <a:gd name="T28" fmla="*/ 2701 w 2832"/>
                <a:gd name="T29" fmla="*/ 544 h 596"/>
                <a:gd name="T30" fmla="*/ 2649 w 2832"/>
                <a:gd name="T31" fmla="*/ 572 h 596"/>
                <a:gd name="T32" fmla="*/ 2593 w 2832"/>
                <a:gd name="T33" fmla="*/ 590 h 596"/>
                <a:gd name="T34" fmla="*/ 2533 w 2832"/>
                <a:gd name="T35" fmla="*/ 596 h 596"/>
                <a:gd name="T36" fmla="*/ 297 w 2832"/>
                <a:gd name="T37" fmla="*/ 596 h 596"/>
                <a:gd name="T38" fmla="*/ 237 w 2832"/>
                <a:gd name="T39" fmla="*/ 590 h 596"/>
                <a:gd name="T40" fmla="*/ 181 w 2832"/>
                <a:gd name="T41" fmla="*/ 572 h 596"/>
                <a:gd name="T42" fmla="*/ 132 w 2832"/>
                <a:gd name="T43" fmla="*/ 544 h 596"/>
                <a:gd name="T44" fmla="*/ 86 w 2832"/>
                <a:gd name="T45" fmla="*/ 508 h 596"/>
                <a:gd name="T46" fmla="*/ 50 w 2832"/>
                <a:gd name="T47" fmla="*/ 465 h 596"/>
                <a:gd name="T48" fmla="*/ 22 w 2832"/>
                <a:gd name="T49" fmla="*/ 413 h 596"/>
                <a:gd name="T50" fmla="*/ 6 w 2832"/>
                <a:gd name="T51" fmla="*/ 357 h 596"/>
                <a:gd name="T52" fmla="*/ 0 w 2832"/>
                <a:gd name="T53" fmla="*/ 297 h 596"/>
                <a:gd name="T54" fmla="*/ 6 w 2832"/>
                <a:gd name="T55" fmla="*/ 237 h 596"/>
                <a:gd name="T56" fmla="*/ 22 w 2832"/>
                <a:gd name="T57" fmla="*/ 181 h 596"/>
                <a:gd name="T58" fmla="*/ 50 w 2832"/>
                <a:gd name="T59" fmla="*/ 132 h 596"/>
                <a:gd name="T60" fmla="*/ 86 w 2832"/>
                <a:gd name="T61" fmla="*/ 86 h 596"/>
                <a:gd name="T62" fmla="*/ 132 w 2832"/>
                <a:gd name="T63" fmla="*/ 50 h 596"/>
                <a:gd name="T64" fmla="*/ 181 w 2832"/>
                <a:gd name="T65" fmla="*/ 22 h 596"/>
                <a:gd name="T66" fmla="*/ 237 w 2832"/>
                <a:gd name="T67" fmla="*/ 6 h 596"/>
                <a:gd name="T68" fmla="*/ 297 w 2832"/>
                <a:gd name="T69" fmla="*/ 0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832" h="596">
                  <a:moveTo>
                    <a:pt x="297" y="0"/>
                  </a:moveTo>
                  <a:lnTo>
                    <a:pt x="2533" y="0"/>
                  </a:lnTo>
                  <a:lnTo>
                    <a:pt x="2593" y="6"/>
                  </a:lnTo>
                  <a:lnTo>
                    <a:pt x="2649" y="22"/>
                  </a:lnTo>
                  <a:lnTo>
                    <a:pt x="2701" y="50"/>
                  </a:lnTo>
                  <a:lnTo>
                    <a:pt x="2744" y="86"/>
                  </a:lnTo>
                  <a:lnTo>
                    <a:pt x="2780" y="132"/>
                  </a:lnTo>
                  <a:lnTo>
                    <a:pt x="2808" y="181"/>
                  </a:lnTo>
                  <a:lnTo>
                    <a:pt x="2826" y="237"/>
                  </a:lnTo>
                  <a:lnTo>
                    <a:pt x="2832" y="297"/>
                  </a:lnTo>
                  <a:lnTo>
                    <a:pt x="2826" y="357"/>
                  </a:lnTo>
                  <a:lnTo>
                    <a:pt x="2808" y="413"/>
                  </a:lnTo>
                  <a:lnTo>
                    <a:pt x="2780" y="465"/>
                  </a:lnTo>
                  <a:lnTo>
                    <a:pt x="2744" y="508"/>
                  </a:lnTo>
                  <a:lnTo>
                    <a:pt x="2701" y="544"/>
                  </a:lnTo>
                  <a:lnTo>
                    <a:pt x="2649" y="572"/>
                  </a:lnTo>
                  <a:lnTo>
                    <a:pt x="2593" y="590"/>
                  </a:lnTo>
                  <a:lnTo>
                    <a:pt x="2533" y="596"/>
                  </a:lnTo>
                  <a:lnTo>
                    <a:pt x="297" y="596"/>
                  </a:lnTo>
                  <a:lnTo>
                    <a:pt x="237" y="590"/>
                  </a:lnTo>
                  <a:lnTo>
                    <a:pt x="181" y="572"/>
                  </a:lnTo>
                  <a:lnTo>
                    <a:pt x="132" y="544"/>
                  </a:lnTo>
                  <a:lnTo>
                    <a:pt x="86" y="508"/>
                  </a:lnTo>
                  <a:lnTo>
                    <a:pt x="50" y="465"/>
                  </a:lnTo>
                  <a:lnTo>
                    <a:pt x="22" y="413"/>
                  </a:lnTo>
                  <a:lnTo>
                    <a:pt x="6" y="357"/>
                  </a:lnTo>
                  <a:lnTo>
                    <a:pt x="0" y="297"/>
                  </a:lnTo>
                  <a:lnTo>
                    <a:pt x="6" y="237"/>
                  </a:lnTo>
                  <a:lnTo>
                    <a:pt x="22" y="181"/>
                  </a:lnTo>
                  <a:lnTo>
                    <a:pt x="50" y="132"/>
                  </a:lnTo>
                  <a:lnTo>
                    <a:pt x="86" y="86"/>
                  </a:lnTo>
                  <a:lnTo>
                    <a:pt x="132" y="50"/>
                  </a:lnTo>
                  <a:lnTo>
                    <a:pt x="181" y="22"/>
                  </a:lnTo>
                  <a:lnTo>
                    <a:pt x="237" y="6"/>
                  </a:lnTo>
                  <a:lnTo>
                    <a:pt x="2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6" name="Freeform 24"/>
            <p:cNvSpPr>
              <a:spLocks/>
            </p:cNvSpPr>
            <p:nvPr/>
          </p:nvSpPr>
          <p:spPr bwMode="auto">
            <a:xfrm>
              <a:off x="4249" y="1888"/>
              <a:ext cx="1417" cy="298"/>
            </a:xfrm>
            <a:custGeom>
              <a:avLst/>
              <a:gdLst>
                <a:gd name="T0" fmla="*/ 297 w 2832"/>
                <a:gd name="T1" fmla="*/ 0 h 596"/>
                <a:gd name="T2" fmla="*/ 2533 w 2832"/>
                <a:gd name="T3" fmla="*/ 0 h 596"/>
                <a:gd name="T4" fmla="*/ 2593 w 2832"/>
                <a:gd name="T5" fmla="*/ 6 h 596"/>
                <a:gd name="T6" fmla="*/ 2649 w 2832"/>
                <a:gd name="T7" fmla="*/ 24 h 596"/>
                <a:gd name="T8" fmla="*/ 2701 w 2832"/>
                <a:gd name="T9" fmla="*/ 52 h 596"/>
                <a:gd name="T10" fmla="*/ 2744 w 2832"/>
                <a:gd name="T11" fmla="*/ 88 h 596"/>
                <a:gd name="T12" fmla="*/ 2780 w 2832"/>
                <a:gd name="T13" fmla="*/ 132 h 596"/>
                <a:gd name="T14" fmla="*/ 2808 w 2832"/>
                <a:gd name="T15" fmla="*/ 184 h 596"/>
                <a:gd name="T16" fmla="*/ 2826 w 2832"/>
                <a:gd name="T17" fmla="*/ 240 h 596"/>
                <a:gd name="T18" fmla="*/ 2832 w 2832"/>
                <a:gd name="T19" fmla="*/ 299 h 596"/>
                <a:gd name="T20" fmla="*/ 2826 w 2832"/>
                <a:gd name="T21" fmla="*/ 359 h 596"/>
                <a:gd name="T22" fmla="*/ 2808 w 2832"/>
                <a:gd name="T23" fmla="*/ 415 h 596"/>
                <a:gd name="T24" fmla="*/ 2780 w 2832"/>
                <a:gd name="T25" fmla="*/ 465 h 596"/>
                <a:gd name="T26" fmla="*/ 2744 w 2832"/>
                <a:gd name="T27" fmla="*/ 509 h 596"/>
                <a:gd name="T28" fmla="*/ 2701 w 2832"/>
                <a:gd name="T29" fmla="*/ 547 h 596"/>
                <a:gd name="T30" fmla="*/ 2649 w 2832"/>
                <a:gd name="T31" fmla="*/ 572 h 596"/>
                <a:gd name="T32" fmla="*/ 2593 w 2832"/>
                <a:gd name="T33" fmla="*/ 590 h 596"/>
                <a:gd name="T34" fmla="*/ 2533 w 2832"/>
                <a:gd name="T35" fmla="*/ 596 h 596"/>
                <a:gd name="T36" fmla="*/ 297 w 2832"/>
                <a:gd name="T37" fmla="*/ 596 h 596"/>
                <a:gd name="T38" fmla="*/ 237 w 2832"/>
                <a:gd name="T39" fmla="*/ 590 h 596"/>
                <a:gd name="T40" fmla="*/ 181 w 2832"/>
                <a:gd name="T41" fmla="*/ 572 h 596"/>
                <a:gd name="T42" fmla="*/ 132 w 2832"/>
                <a:gd name="T43" fmla="*/ 547 h 596"/>
                <a:gd name="T44" fmla="*/ 86 w 2832"/>
                <a:gd name="T45" fmla="*/ 509 h 596"/>
                <a:gd name="T46" fmla="*/ 50 w 2832"/>
                <a:gd name="T47" fmla="*/ 465 h 596"/>
                <a:gd name="T48" fmla="*/ 22 w 2832"/>
                <a:gd name="T49" fmla="*/ 415 h 596"/>
                <a:gd name="T50" fmla="*/ 6 w 2832"/>
                <a:gd name="T51" fmla="*/ 359 h 596"/>
                <a:gd name="T52" fmla="*/ 0 w 2832"/>
                <a:gd name="T53" fmla="*/ 299 h 596"/>
                <a:gd name="T54" fmla="*/ 6 w 2832"/>
                <a:gd name="T55" fmla="*/ 240 h 596"/>
                <a:gd name="T56" fmla="*/ 22 w 2832"/>
                <a:gd name="T57" fmla="*/ 184 h 596"/>
                <a:gd name="T58" fmla="*/ 50 w 2832"/>
                <a:gd name="T59" fmla="*/ 132 h 596"/>
                <a:gd name="T60" fmla="*/ 86 w 2832"/>
                <a:gd name="T61" fmla="*/ 88 h 596"/>
                <a:gd name="T62" fmla="*/ 132 w 2832"/>
                <a:gd name="T63" fmla="*/ 52 h 596"/>
                <a:gd name="T64" fmla="*/ 181 w 2832"/>
                <a:gd name="T65" fmla="*/ 24 h 596"/>
                <a:gd name="T66" fmla="*/ 237 w 2832"/>
                <a:gd name="T67" fmla="*/ 6 h 596"/>
                <a:gd name="T68" fmla="*/ 297 w 2832"/>
                <a:gd name="T69" fmla="*/ 0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832" h="596">
                  <a:moveTo>
                    <a:pt x="297" y="0"/>
                  </a:moveTo>
                  <a:lnTo>
                    <a:pt x="2533" y="0"/>
                  </a:lnTo>
                  <a:lnTo>
                    <a:pt x="2593" y="6"/>
                  </a:lnTo>
                  <a:lnTo>
                    <a:pt x="2649" y="24"/>
                  </a:lnTo>
                  <a:lnTo>
                    <a:pt x="2701" y="52"/>
                  </a:lnTo>
                  <a:lnTo>
                    <a:pt x="2744" y="88"/>
                  </a:lnTo>
                  <a:lnTo>
                    <a:pt x="2780" y="132"/>
                  </a:lnTo>
                  <a:lnTo>
                    <a:pt x="2808" y="184"/>
                  </a:lnTo>
                  <a:lnTo>
                    <a:pt x="2826" y="240"/>
                  </a:lnTo>
                  <a:lnTo>
                    <a:pt x="2832" y="299"/>
                  </a:lnTo>
                  <a:lnTo>
                    <a:pt x="2826" y="359"/>
                  </a:lnTo>
                  <a:lnTo>
                    <a:pt x="2808" y="415"/>
                  </a:lnTo>
                  <a:lnTo>
                    <a:pt x="2780" y="465"/>
                  </a:lnTo>
                  <a:lnTo>
                    <a:pt x="2744" y="509"/>
                  </a:lnTo>
                  <a:lnTo>
                    <a:pt x="2701" y="547"/>
                  </a:lnTo>
                  <a:lnTo>
                    <a:pt x="2649" y="572"/>
                  </a:lnTo>
                  <a:lnTo>
                    <a:pt x="2593" y="590"/>
                  </a:lnTo>
                  <a:lnTo>
                    <a:pt x="2533" y="596"/>
                  </a:lnTo>
                  <a:lnTo>
                    <a:pt x="297" y="596"/>
                  </a:lnTo>
                  <a:lnTo>
                    <a:pt x="237" y="590"/>
                  </a:lnTo>
                  <a:lnTo>
                    <a:pt x="181" y="572"/>
                  </a:lnTo>
                  <a:lnTo>
                    <a:pt x="132" y="547"/>
                  </a:lnTo>
                  <a:lnTo>
                    <a:pt x="86" y="509"/>
                  </a:lnTo>
                  <a:lnTo>
                    <a:pt x="50" y="465"/>
                  </a:lnTo>
                  <a:lnTo>
                    <a:pt x="22" y="415"/>
                  </a:lnTo>
                  <a:lnTo>
                    <a:pt x="6" y="359"/>
                  </a:lnTo>
                  <a:lnTo>
                    <a:pt x="0" y="299"/>
                  </a:lnTo>
                  <a:lnTo>
                    <a:pt x="6" y="240"/>
                  </a:lnTo>
                  <a:lnTo>
                    <a:pt x="22" y="184"/>
                  </a:lnTo>
                  <a:lnTo>
                    <a:pt x="50" y="132"/>
                  </a:lnTo>
                  <a:lnTo>
                    <a:pt x="86" y="88"/>
                  </a:lnTo>
                  <a:lnTo>
                    <a:pt x="132" y="52"/>
                  </a:lnTo>
                  <a:lnTo>
                    <a:pt x="181" y="24"/>
                  </a:lnTo>
                  <a:lnTo>
                    <a:pt x="237" y="6"/>
                  </a:lnTo>
                  <a:lnTo>
                    <a:pt x="2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7" name="Freeform 25"/>
            <p:cNvSpPr>
              <a:spLocks/>
            </p:cNvSpPr>
            <p:nvPr/>
          </p:nvSpPr>
          <p:spPr bwMode="auto">
            <a:xfrm>
              <a:off x="4249" y="2447"/>
              <a:ext cx="857" cy="298"/>
            </a:xfrm>
            <a:custGeom>
              <a:avLst/>
              <a:gdLst>
                <a:gd name="T0" fmla="*/ 297 w 1713"/>
                <a:gd name="T1" fmla="*/ 0 h 596"/>
                <a:gd name="T2" fmla="*/ 1416 w 1713"/>
                <a:gd name="T3" fmla="*/ 0 h 596"/>
                <a:gd name="T4" fmla="*/ 1476 w 1713"/>
                <a:gd name="T5" fmla="*/ 6 h 596"/>
                <a:gd name="T6" fmla="*/ 1532 w 1713"/>
                <a:gd name="T7" fmla="*/ 24 h 596"/>
                <a:gd name="T8" fmla="*/ 1582 w 1713"/>
                <a:gd name="T9" fmla="*/ 49 h 596"/>
                <a:gd name="T10" fmla="*/ 1625 w 1713"/>
                <a:gd name="T11" fmla="*/ 87 h 596"/>
                <a:gd name="T12" fmla="*/ 1663 w 1713"/>
                <a:gd name="T13" fmla="*/ 131 h 596"/>
                <a:gd name="T14" fmla="*/ 1689 w 1713"/>
                <a:gd name="T15" fmla="*/ 181 h 596"/>
                <a:gd name="T16" fmla="*/ 1707 w 1713"/>
                <a:gd name="T17" fmla="*/ 237 h 596"/>
                <a:gd name="T18" fmla="*/ 1713 w 1713"/>
                <a:gd name="T19" fmla="*/ 297 h 596"/>
                <a:gd name="T20" fmla="*/ 1707 w 1713"/>
                <a:gd name="T21" fmla="*/ 356 h 596"/>
                <a:gd name="T22" fmla="*/ 1689 w 1713"/>
                <a:gd name="T23" fmla="*/ 412 h 596"/>
                <a:gd name="T24" fmla="*/ 1663 w 1713"/>
                <a:gd name="T25" fmla="*/ 464 h 596"/>
                <a:gd name="T26" fmla="*/ 1625 w 1713"/>
                <a:gd name="T27" fmla="*/ 508 h 596"/>
                <a:gd name="T28" fmla="*/ 1582 w 1713"/>
                <a:gd name="T29" fmla="*/ 544 h 596"/>
                <a:gd name="T30" fmla="*/ 1532 w 1713"/>
                <a:gd name="T31" fmla="*/ 572 h 596"/>
                <a:gd name="T32" fmla="*/ 1476 w 1713"/>
                <a:gd name="T33" fmla="*/ 590 h 596"/>
                <a:gd name="T34" fmla="*/ 1416 w 1713"/>
                <a:gd name="T35" fmla="*/ 596 h 596"/>
                <a:gd name="T36" fmla="*/ 297 w 1713"/>
                <a:gd name="T37" fmla="*/ 596 h 596"/>
                <a:gd name="T38" fmla="*/ 237 w 1713"/>
                <a:gd name="T39" fmla="*/ 590 h 596"/>
                <a:gd name="T40" fmla="*/ 181 w 1713"/>
                <a:gd name="T41" fmla="*/ 572 h 596"/>
                <a:gd name="T42" fmla="*/ 132 w 1713"/>
                <a:gd name="T43" fmla="*/ 544 h 596"/>
                <a:gd name="T44" fmla="*/ 86 w 1713"/>
                <a:gd name="T45" fmla="*/ 508 h 596"/>
                <a:gd name="T46" fmla="*/ 50 w 1713"/>
                <a:gd name="T47" fmla="*/ 464 h 596"/>
                <a:gd name="T48" fmla="*/ 22 w 1713"/>
                <a:gd name="T49" fmla="*/ 414 h 596"/>
                <a:gd name="T50" fmla="*/ 6 w 1713"/>
                <a:gd name="T51" fmla="*/ 356 h 596"/>
                <a:gd name="T52" fmla="*/ 0 w 1713"/>
                <a:gd name="T53" fmla="*/ 297 h 596"/>
                <a:gd name="T54" fmla="*/ 6 w 1713"/>
                <a:gd name="T55" fmla="*/ 237 h 596"/>
                <a:gd name="T56" fmla="*/ 22 w 1713"/>
                <a:gd name="T57" fmla="*/ 181 h 596"/>
                <a:gd name="T58" fmla="*/ 50 w 1713"/>
                <a:gd name="T59" fmla="*/ 131 h 596"/>
                <a:gd name="T60" fmla="*/ 86 w 1713"/>
                <a:gd name="T61" fmla="*/ 87 h 596"/>
                <a:gd name="T62" fmla="*/ 132 w 1713"/>
                <a:gd name="T63" fmla="*/ 49 h 596"/>
                <a:gd name="T64" fmla="*/ 181 w 1713"/>
                <a:gd name="T65" fmla="*/ 24 h 596"/>
                <a:gd name="T66" fmla="*/ 237 w 1713"/>
                <a:gd name="T67" fmla="*/ 6 h 596"/>
                <a:gd name="T68" fmla="*/ 297 w 1713"/>
                <a:gd name="T69" fmla="*/ 0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13" h="596">
                  <a:moveTo>
                    <a:pt x="297" y="0"/>
                  </a:moveTo>
                  <a:lnTo>
                    <a:pt x="1416" y="0"/>
                  </a:lnTo>
                  <a:lnTo>
                    <a:pt x="1476" y="6"/>
                  </a:lnTo>
                  <a:lnTo>
                    <a:pt x="1532" y="24"/>
                  </a:lnTo>
                  <a:lnTo>
                    <a:pt x="1582" y="49"/>
                  </a:lnTo>
                  <a:lnTo>
                    <a:pt x="1625" y="87"/>
                  </a:lnTo>
                  <a:lnTo>
                    <a:pt x="1663" y="131"/>
                  </a:lnTo>
                  <a:lnTo>
                    <a:pt x="1689" y="181"/>
                  </a:lnTo>
                  <a:lnTo>
                    <a:pt x="1707" y="237"/>
                  </a:lnTo>
                  <a:lnTo>
                    <a:pt x="1713" y="297"/>
                  </a:lnTo>
                  <a:lnTo>
                    <a:pt x="1707" y="356"/>
                  </a:lnTo>
                  <a:lnTo>
                    <a:pt x="1689" y="412"/>
                  </a:lnTo>
                  <a:lnTo>
                    <a:pt x="1663" y="464"/>
                  </a:lnTo>
                  <a:lnTo>
                    <a:pt x="1625" y="508"/>
                  </a:lnTo>
                  <a:lnTo>
                    <a:pt x="1582" y="544"/>
                  </a:lnTo>
                  <a:lnTo>
                    <a:pt x="1532" y="572"/>
                  </a:lnTo>
                  <a:lnTo>
                    <a:pt x="1476" y="590"/>
                  </a:lnTo>
                  <a:lnTo>
                    <a:pt x="1416" y="596"/>
                  </a:lnTo>
                  <a:lnTo>
                    <a:pt x="297" y="596"/>
                  </a:lnTo>
                  <a:lnTo>
                    <a:pt x="237" y="590"/>
                  </a:lnTo>
                  <a:lnTo>
                    <a:pt x="181" y="572"/>
                  </a:lnTo>
                  <a:lnTo>
                    <a:pt x="132" y="544"/>
                  </a:lnTo>
                  <a:lnTo>
                    <a:pt x="86" y="508"/>
                  </a:lnTo>
                  <a:lnTo>
                    <a:pt x="50" y="464"/>
                  </a:lnTo>
                  <a:lnTo>
                    <a:pt x="22" y="414"/>
                  </a:lnTo>
                  <a:lnTo>
                    <a:pt x="6" y="356"/>
                  </a:lnTo>
                  <a:lnTo>
                    <a:pt x="0" y="297"/>
                  </a:lnTo>
                  <a:lnTo>
                    <a:pt x="6" y="237"/>
                  </a:lnTo>
                  <a:lnTo>
                    <a:pt x="22" y="181"/>
                  </a:lnTo>
                  <a:lnTo>
                    <a:pt x="50" y="131"/>
                  </a:lnTo>
                  <a:lnTo>
                    <a:pt x="86" y="87"/>
                  </a:lnTo>
                  <a:lnTo>
                    <a:pt x="132" y="49"/>
                  </a:lnTo>
                  <a:lnTo>
                    <a:pt x="181" y="24"/>
                  </a:lnTo>
                  <a:lnTo>
                    <a:pt x="237" y="6"/>
                  </a:lnTo>
                  <a:lnTo>
                    <a:pt x="2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8" name="Freeform 26"/>
            <p:cNvSpPr>
              <a:spLocks/>
            </p:cNvSpPr>
            <p:nvPr/>
          </p:nvSpPr>
          <p:spPr bwMode="auto">
            <a:xfrm>
              <a:off x="3690" y="746"/>
              <a:ext cx="2534" cy="3278"/>
            </a:xfrm>
            <a:custGeom>
              <a:avLst/>
              <a:gdLst>
                <a:gd name="T0" fmla="*/ 297 w 5068"/>
                <a:gd name="T1" fmla="*/ 0 h 6556"/>
                <a:gd name="T2" fmla="*/ 4771 w 5068"/>
                <a:gd name="T3" fmla="*/ 0 h 6556"/>
                <a:gd name="T4" fmla="*/ 4831 w 5068"/>
                <a:gd name="T5" fmla="*/ 6 h 6556"/>
                <a:gd name="T6" fmla="*/ 4887 w 5068"/>
                <a:gd name="T7" fmla="*/ 24 h 6556"/>
                <a:gd name="T8" fmla="*/ 4936 w 5068"/>
                <a:gd name="T9" fmla="*/ 52 h 6556"/>
                <a:gd name="T10" fmla="*/ 4982 w 5068"/>
                <a:gd name="T11" fmla="*/ 88 h 6556"/>
                <a:gd name="T12" fmla="*/ 5018 w 5068"/>
                <a:gd name="T13" fmla="*/ 132 h 6556"/>
                <a:gd name="T14" fmla="*/ 5046 w 5068"/>
                <a:gd name="T15" fmla="*/ 181 h 6556"/>
                <a:gd name="T16" fmla="*/ 5062 w 5068"/>
                <a:gd name="T17" fmla="*/ 237 h 6556"/>
                <a:gd name="T18" fmla="*/ 5068 w 5068"/>
                <a:gd name="T19" fmla="*/ 299 h 6556"/>
                <a:gd name="T20" fmla="*/ 5068 w 5068"/>
                <a:gd name="T21" fmla="*/ 741 h 6556"/>
                <a:gd name="T22" fmla="*/ 4472 w 5068"/>
                <a:gd name="T23" fmla="*/ 1774 h 6556"/>
                <a:gd name="T24" fmla="*/ 4472 w 5068"/>
                <a:gd name="T25" fmla="*/ 596 h 6556"/>
                <a:gd name="T26" fmla="*/ 596 w 5068"/>
                <a:gd name="T27" fmla="*/ 596 h 6556"/>
                <a:gd name="T28" fmla="*/ 596 w 5068"/>
                <a:gd name="T29" fmla="*/ 5960 h 6556"/>
                <a:gd name="T30" fmla="*/ 4472 w 5068"/>
                <a:gd name="T31" fmla="*/ 5960 h 6556"/>
                <a:gd name="T32" fmla="*/ 4472 w 5068"/>
                <a:gd name="T33" fmla="*/ 5219 h 6556"/>
                <a:gd name="T34" fmla="*/ 4785 w 5068"/>
                <a:gd name="T35" fmla="*/ 5011 h 6556"/>
                <a:gd name="T36" fmla="*/ 4839 w 5068"/>
                <a:gd name="T37" fmla="*/ 4969 h 6556"/>
                <a:gd name="T38" fmla="*/ 4887 w 5068"/>
                <a:gd name="T39" fmla="*/ 4920 h 6556"/>
                <a:gd name="T40" fmla="*/ 4926 w 5068"/>
                <a:gd name="T41" fmla="*/ 4862 h 6556"/>
                <a:gd name="T42" fmla="*/ 5068 w 5068"/>
                <a:gd name="T43" fmla="*/ 4617 h 6556"/>
                <a:gd name="T44" fmla="*/ 5068 w 5068"/>
                <a:gd name="T45" fmla="*/ 6257 h 6556"/>
                <a:gd name="T46" fmla="*/ 5062 w 5068"/>
                <a:gd name="T47" fmla="*/ 6319 h 6556"/>
                <a:gd name="T48" fmla="*/ 5046 w 5068"/>
                <a:gd name="T49" fmla="*/ 6375 h 6556"/>
                <a:gd name="T50" fmla="*/ 5018 w 5068"/>
                <a:gd name="T51" fmla="*/ 6424 h 6556"/>
                <a:gd name="T52" fmla="*/ 4982 w 5068"/>
                <a:gd name="T53" fmla="*/ 6468 h 6556"/>
                <a:gd name="T54" fmla="*/ 4936 w 5068"/>
                <a:gd name="T55" fmla="*/ 6504 h 6556"/>
                <a:gd name="T56" fmla="*/ 4887 w 5068"/>
                <a:gd name="T57" fmla="*/ 6532 h 6556"/>
                <a:gd name="T58" fmla="*/ 4831 w 5068"/>
                <a:gd name="T59" fmla="*/ 6550 h 6556"/>
                <a:gd name="T60" fmla="*/ 4771 w 5068"/>
                <a:gd name="T61" fmla="*/ 6556 h 6556"/>
                <a:gd name="T62" fmla="*/ 297 w 5068"/>
                <a:gd name="T63" fmla="*/ 6556 h 6556"/>
                <a:gd name="T64" fmla="*/ 237 w 5068"/>
                <a:gd name="T65" fmla="*/ 6550 h 6556"/>
                <a:gd name="T66" fmla="*/ 182 w 5068"/>
                <a:gd name="T67" fmla="*/ 6532 h 6556"/>
                <a:gd name="T68" fmla="*/ 132 w 5068"/>
                <a:gd name="T69" fmla="*/ 6504 h 6556"/>
                <a:gd name="T70" fmla="*/ 88 w 5068"/>
                <a:gd name="T71" fmla="*/ 6468 h 6556"/>
                <a:gd name="T72" fmla="*/ 52 w 5068"/>
                <a:gd name="T73" fmla="*/ 6424 h 6556"/>
                <a:gd name="T74" fmla="*/ 24 w 5068"/>
                <a:gd name="T75" fmla="*/ 6375 h 6556"/>
                <a:gd name="T76" fmla="*/ 6 w 5068"/>
                <a:gd name="T77" fmla="*/ 6319 h 6556"/>
                <a:gd name="T78" fmla="*/ 0 w 5068"/>
                <a:gd name="T79" fmla="*/ 6257 h 6556"/>
                <a:gd name="T80" fmla="*/ 0 w 5068"/>
                <a:gd name="T81" fmla="*/ 299 h 6556"/>
                <a:gd name="T82" fmla="*/ 6 w 5068"/>
                <a:gd name="T83" fmla="*/ 237 h 6556"/>
                <a:gd name="T84" fmla="*/ 24 w 5068"/>
                <a:gd name="T85" fmla="*/ 181 h 6556"/>
                <a:gd name="T86" fmla="*/ 52 w 5068"/>
                <a:gd name="T87" fmla="*/ 132 h 6556"/>
                <a:gd name="T88" fmla="*/ 88 w 5068"/>
                <a:gd name="T89" fmla="*/ 88 h 6556"/>
                <a:gd name="T90" fmla="*/ 132 w 5068"/>
                <a:gd name="T91" fmla="*/ 52 h 6556"/>
                <a:gd name="T92" fmla="*/ 182 w 5068"/>
                <a:gd name="T93" fmla="*/ 24 h 6556"/>
                <a:gd name="T94" fmla="*/ 237 w 5068"/>
                <a:gd name="T95" fmla="*/ 6 h 6556"/>
                <a:gd name="T96" fmla="*/ 297 w 5068"/>
                <a:gd name="T97" fmla="*/ 0 h 6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068" h="6556">
                  <a:moveTo>
                    <a:pt x="297" y="0"/>
                  </a:moveTo>
                  <a:lnTo>
                    <a:pt x="4771" y="0"/>
                  </a:lnTo>
                  <a:lnTo>
                    <a:pt x="4831" y="6"/>
                  </a:lnTo>
                  <a:lnTo>
                    <a:pt x="4887" y="24"/>
                  </a:lnTo>
                  <a:lnTo>
                    <a:pt x="4936" y="52"/>
                  </a:lnTo>
                  <a:lnTo>
                    <a:pt x="4982" y="88"/>
                  </a:lnTo>
                  <a:lnTo>
                    <a:pt x="5018" y="132"/>
                  </a:lnTo>
                  <a:lnTo>
                    <a:pt x="5046" y="181"/>
                  </a:lnTo>
                  <a:lnTo>
                    <a:pt x="5062" y="237"/>
                  </a:lnTo>
                  <a:lnTo>
                    <a:pt x="5068" y="299"/>
                  </a:lnTo>
                  <a:lnTo>
                    <a:pt x="5068" y="741"/>
                  </a:lnTo>
                  <a:lnTo>
                    <a:pt x="4472" y="1774"/>
                  </a:lnTo>
                  <a:lnTo>
                    <a:pt x="4472" y="596"/>
                  </a:lnTo>
                  <a:lnTo>
                    <a:pt x="596" y="596"/>
                  </a:lnTo>
                  <a:lnTo>
                    <a:pt x="596" y="5960"/>
                  </a:lnTo>
                  <a:lnTo>
                    <a:pt x="4472" y="5960"/>
                  </a:lnTo>
                  <a:lnTo>
                    <a:pt x="4472" y="5219"/>
                  </a:lnTo>
                  <a:lnTo>
                    <a:pt x="4785" y="5011"/>
                  </a:lnTo>
                  <a:lnTo>
                    <a:pt x="4839" y="4969"/>
                  </a:lnTo>
                  <a:lnTo>
                    <a:pt x="4887" y="4920"/>
                  </a:lnTo>
                  <a:lnTo>
                    <a:pt x="4926" y="4862"/>
                  </a:lnTo>
                  <a:lnTo>
                    <a:pt x="5068" y="4617"/>
                  </a:lnTo>
                  <a:lnTo>
                    <a:pt x="5068" y="6257"/>
                  </a:lnTo>
                  <a:lnTo>
                    <a:pt x="5062" y="6319"/>
                  </a:lnTo>
                  <a:lnTo>
                    <a:pt x="5046" y="6375"/>
                  </a:lnTo>
                  <a:lnTo>
                    <a:pt x="5018" y="6424"/>
                  </a:lnTo>
                  <a:lnTo>
                    <a:pt x="4982" y="6468"/>
                  </a:lnTo>
                  <a:lnTo>
                    <a:pt x="4936" y="6504"/>
                  </a:lnTo>
                  <a:lnTo>
                    <a:pt x="4887" y="6532"/>
                  </a:lnTo>
                  <a:lnTo>
                    <a:pt x="4831" y="6550"/>
                  </a:lnTo>
                  <a:lnTo>
                    <a:pt x="4771" y="6556"/>
                  </a:lnTo>
                  <a:lnTo>
                    <a:pt x="297" y="6556"/>
                  </a:lnTo>
                  <a:lnTo>
                    <a:pt x="237" y="6550"/>
                  </a:lnTo>
                  <a:lnTo>
                    <a:pt x="182" y="6532"/>
                  </a:lnTo>
                  <a:lnTo>
                    <a:pt x="132" y="6504"/>
                  </a:lnTo>
                  <a:lnTo>
                    <a:pt x="88" y="6468"/>
                  </a:lnTo>
                  <a:lnTo>
                    <a:pt x="52" y="6424"/>
                  </a:lnTo>
                  <a:lnTo>
                    <a:pt x="24" y="6375"/>
                  </a:lnTo>
                  <a:lnTo>
                    <a:pt x="6" y="6319"/>
                  </a:lnTo>
                  <a:lnTo>
                    <a:pt x="0" y="6257"/>
                  </a:lnTo>
                  <a:lnTo>
                    <a:pt x="0" y="299"/>
                  </a:lnTo>
                  <a:lnTo>
                    <a:pt x="6" y="237"/>
                  </a:lnTo>
                  <a:lnTo>
                    <a:pt x="24" y="181"/>
                  </a:lnTo>
                  <a:lnTo>
                    <a:pt x="52" y="132"/>
                  </a:lnTo>
                  <a:lnTo>
                    <a:pt x="88" y="88"/>
                  </a:lnTo>
                  <a:lnTo>
                    <a:pt x="132" y="52"/>
                  </a:lnTo>
                  <a:lnTo>
                    <a:pt x="182" y="24"/>
                  </a:lnTo>
                  <a:lnTo>
                    <a:pt x="237" y="6"/>
                  </a:lnTo>
                  <a:lnTo>
                    <a:pt x="2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9" name="Freeform 27"/>
            <p:cNvSpPr>
              <a:spLocks noEditPoints="1"/>
            </p:cNvSpPr>
            <p:nvPr/>
          </p:nvSpPr>
          <p:spPr bwMode="auto">
            <a:xfrm>
              <a:off x="5398" y="1113"/>
              <a:ext cx="1568" cy="2348"/>
            </a:xfrm>
            <a:custGeom>
              <a:avLst/>
              <a:gdLst>
                <a:gd name="T0" fmla="*/ 259 w 3135"/>
                <a:gd name="T1" fmla="*/ 3956 h 4696"/>
                <a:gd name="T2" fmla="*/ 440 w 3135"/>
                <a:gd name="T3" fmla="*/ 4042 h 4696"/>
                <a:gd name="T4" fmla="*/ 606 w 3135"/>
                <a:gd name="T5" fmla="*/ 4156 h 4696"/>
                <a:gd name="T6" fmla="*/ 865 w 3135"/>
                <a:gd name="T7" fmla="*/ 3922 h 4696"/>
                <a:gd name="T8" fmla="*/ 768 w 3135"/>
                <a:gd name="T9" fmla="*/ 3833 h 4696"/>
                <a:gd name="T10" fmla="*/ 620 w 3135"/>
                <a:gd name="T11" fmla="*/ 3733 h 4696"/>
                <a:gd name="T12" fmla="*/ 484 w 3135"/>
                <a:gd name="T13" fmla="*/ 3665 h 4696"/>
                <a:gd name="T14" fmla="*/ 371 w 3135"/>
                <a:gd name="T15" fmla="*/ 3625 h 4696"/>
                <a:gd name="T16" fmla="*/ 279 w 3135"/>
                <a:gd name="T17" fmla="*/ 3605 h 4696"/>
                <a:gd name="T18" fmla="*/ 2204 w 3135"/>
                <a:gd name="T19" fmla="*/ 0 h 4696"/>
                <a:gd name="T20" fmla="*/ 2311 w 3135"/>
                <a:gd name="T21" fmla="*/ 13 h 4696"/>
                <a:gd name="T22" fmla="*/ 2443 w 3135"/>
                <a:gd name="T23" fmla="*/ 49 h 4696"/>
                <a:gd name="T24" fmla="*/ 2599 w 3135"/>
                <a:gd name="T25" fmla="*/ 115 h 4696"/>
                <a:gd name="T26" fmla="*/ 2772 w 3135"/>
                <a:gd name="T27" fmla="*/ 215 h 4696"/>
                <a:gd name="T28" fmla="*/ 2912 w 3135"/>
                <a:gd name="T29" fmla="*/ 324 h 4696"/>
                <a:gd name="T30" fmla="*/ 3011 w 3135"/>
                <a:gd name="T31" fmla="*/ 428 h 4696"/>
                <a:gd name="T32" fmla="*/ 3075 w 3135"/>
                <a:gd name="T33" fmla="*/ 518 h 4696"/>
                <a:gd name="T34" fmla="*/ 3111 w 3135"/>
                <a:gd name="T35" fmla="*/ 590 h 4696"/>
                <a:gd name="T36" fmla="*/ 3129 w 3135"/>
                <a:gd name="T37" fmla="*/ 635 h 4696"/>
                <a:gd name="T38" fmla="*/ 3135 w 3135"/>
                <a:gd name="T39" fmla="*/ 683 h 4696"/>
                <a:gd name="T40" fmla="*/ 3115 w 3135"/>
                <a:gd name="T41" fmla="*/ 753 h 4696"/>
                <a:gd name="T42" fmla="*/ 1230 w 3135"/>
                <a:gd name="T43" fmla="*/ 4006 h 4696"/>
                <a:gd name="T44" fmla="*/ 231 w 3135"/>
                <a:gd name="T45" fmla="*/ 4672 h 4696"/>
                <a:gd name="T46" fmla="*/ 153 w 3135"/>
                <a:gd name="T47" fmla="*/ 4696 h 4696"/>
                <a:gd name="T48" fmla="*/ 73 w 3135"/>
                <a:gd name="T49" fmla="*/ 4676 h 4696"/>
                <a:gd name="T50" fmla="*/ 26 w 3135"/>
                <a:gd name="T51" fmla="*/ 4632 h 4696"/>
                <a:gd name="T52" fmla="*/ 2 w 3135"/>
                <a:gd name="T53" fmla="*/ 4572 h 4696"/>
                <a:gd name="T54" fmla="*/ 69 w 3135"/>
                <a:gd name="T55" fmla="*/ 3374 h 4696"/>
                <a:gd name="T56" fmla="*/ 89 w 3135"/>
                <a:gd name="T57" fmla="*/ 3308 h 4696"/>
                <a:gd name="T58" fmla="*/ 1974 w 3135"/>
                <a:gd name="T59" fmla="*/ 53 h 4696"/>
                <a:gd name="T60" fmla="*/ 2036 w 3135"/>
                <a:gd name="T61" fmla="*/ 15 h 4696"/>
                <a:gd name="T62" fmla="*/ 2064 w 3135"/>
                <a:gd name="T63" fmla="*/ 7 h 4696"/>
                <a:gd name="T64" fmla="*/ 2120 w 3135"/>
                <a:gd name="T65" fmla="*/ 2 h 4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35" h="4696">
                  <a:moveTo>
                    <a:pt x="279" y="3605"/>
                  </a:moveTo>
                  <a:lnTo>
                    <a:pt x="259" y="3956"/>
                  </a:lnTo>
                  <a:lnTo>
                    <a:pt x="349" y="3994"/>
                  </a:lnTo>
                  <a:lnTo>
                    <a:pt x="440" y="4042"/>
                  </a:lnTo>
                  <a:lnTo>
                    <a:pt x="526" y="4098"/>
                  </a:lnTo>
                  <a:lnTo>
                    <a:pt x="606" y="4156"/>
                  </a:lnTo>
                  <a:lnTo>
                    <a:pt x="897" y="3962"/>
                  </a:lnTo>
                  <a:lnTo>
                    <a:pt x="865" y="3922"/>
                  </a:lnTo>
                  <a:lnTo>
                    <a:pt x="821" y="3879"/>
                  </a:lnTo>
                  <a:lnTo>
                    <a:pt x="768" y="3833"/>
                  </a:lnTo>
                  <a:lnTo>
                    <a:pt x="700" y="3783"/>
                  </a:lnTo>
                  <a:lnTo>
                    <a:pt x="620" y="3733"/>
                  </a:lnTo>
                  <a:lnTo>
                    <a:pt x="548" y="3695"/>
                  </a:lnTo>
                  <a:lnTo>
                    <a:pt x="484" y="3665"/>
                  </a:lnTo>
                  <a:lnTo>
                    <a:pt x="424" y="3641"/>
                  </a:lnTo>
                  <a:lnTo>
                    <a:pt x="371" y="3625"/>
                  </a:lnTo>
                  <a:lnTo>
                    <a:pt x="321" y="3613"/>
                  </a:lnTo>
                  <a:lnTo>
                    <a:pt x="279" y="3605"/>
                  </a:lnTo>
                  <a:close/>
                  <a:moveTo>
                    <a:pt x="2158" y="0"/>
                  </a:moveTo>
                  <a:lnTo>
                    <a:pt x="2204" y="0"/>
                  </a:lnTo>
                  <a:lnTo>
                    <a:pt x="2253" y="6"/>
                  </a:lnTo>
                  <a:lnTo>
                    <a:pt x="2311" y="13"/>
                  </a:lnTo>
                  <a:lnTo>
                    <a:pt x="2375" y="29"/>
                  </a:lnTo>
                  <a:lnTo>
                    <a:pt x="2443" y="49"/>
                  </a:lnTo>
                  <a:lnTo>
                    <a:pt x="2519" y="77"/>
                  </a:lnTo>
                  <a:lnTo>
                    <a:pt x="2599" y="115"/>
                  </a:lnTo>
                  <a:lnTo>
                    <a:pt x="2682" y="159"/>
                  </a:lnTo>
                  <a:lnTo>
                    <a:pt x="2772" y="215"/>
                  </a:lnTo>
                  <a:lnTo>
                    <a:pt x="2848" y="271"/>
                  </a:lnTo>
                  <a:lnTo>
                    <a:pt x="2912" y="324"/>
                  </a:lnTo>
                  <a:lnTo>
                    <a:pt x="2966" y="378"/>
                  </a:lnTo>
                  <a:lnTo>
                    <a:pt x="3011" y="428"/>
                  </a:lnTo>
                  <a:lnTo>
                    <a:pt x="3047" y="476"/>
                  </a:lnTo>
                  <a:lnTo>
                    <a:pt x="3075" y="518"/>
                  </a:lnTo>
                  <a:lnTo>
                    <a:pt x="3097" y="558"/>
                  </a:lnTo>
                  <a:lnTo>
                    <a:pt x="3111" y="590"/>
                  </a:lnTo>
                  <a:lnTo>
                    <a:pt x="3123" y="615"/>
                  </a:lnTo>
                  <a:lnTo>
                    <a:pt x="3129" y="635"/>
                  </a:lnTo>
                  <a:lnTo>
                    <a:pt x="3131" y="645"/>
                  </a:lnTo>
                  <a:lnTo>
                    <a:pt x="3135" y="683"/>
                  </a:lnTo>
                  <a:lnTo>
                    <a:pt x="3129" y="719"/>
                  </a:lnTo>
                  <a:lnTo>
                    <a:pt x="3115" y="753"/>
                  </a:lnTo>
                  <a:lnTo>
                    <a:pt x="1250" y="3980"/>
                  </a:lnTo>
                  <a:lnTo>
                    <a:pt x="1230" y="4006"/>
                  </a:lnTo>
                  <a:lnTo>
                    <a:pt x="1204" y="4028"/>
                  </a:lnTo>
                  <a:lnTo>
                    <a:pt x="231" y="4672"/>
                  </a:lnTo>
                  <a:lnTo>
                    <a:pt x="193" y="4690"/>
                  </a:lnTo>
                  <a:lnTo>
                    <a:pt x="153" y="4696"/>
                  </a:lnTo>
                  <a:lnTo>
                    <a:pt x="111" y="4692"/>
                  </a:lnTo>
                  <a:lnTo>
                    <a:pt x="73" y="4676"/>
                  </a:lnTo>
                  <a:lnTo>
                    <a:pt x="48" y="4656"/>
                  </a:lnTo>
                  <a:lnTo>
                    <a:pt x="26" y="4632"/>
                  </a:lnTo>
                  <a:lnTo>
                    <a:pt x="10" y="4602"/>
                  </a:lnTo>
                  <a:lnTo>
                    <a:pt x="2" y="4572"/>
                  </a:lnTo>
                  <a:lnTo>
                    <a:pt x="0" y="4538"/>
                  </a:lnTo>
                  <a:lnTo>
                    <a:pt x="69" y="3374"/>
                  </a:lnTo>
                  <a:lnTo>
                    <a:pt x="75" y="3340"/>
                  </a:lnTo>
                  <a:lnTo>
                    <a:pt x="89" y="3308"/>
                  </a:lnTo>
                  <a:lnTo>
                    <a:pt x="1952" y="83"/>
                  </a:lnTo>
                  <a:lnTo>
                    <a:pt x="1974" y="53"/>
                  </a:lnTo>
                  <a:lnTo>
                    <a:pt x="2004" y="29"/>
                  </a:lnTo>
                  <a:lnTo>
                    <a:pt x="2036" y="15"/>
                  </a:lnTo>
                  <a:lnTo>
                    <a:pt x="2046" y="11"/>
                  </a:lnTo>
                  <a:lnTo>
                    <a:pt x="2064" y="7"/>
                  </a:lnTo>
                  <a:lnTo>
                    <a:pt x="2088" y="4"/>
                  </a:lnTo>
                  <a:lnTo>
                    <a:pt x="2120" y="2"/>
                  </a:lnTo>
                  <a:lnTo>
                    <a:pt x="21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0" name="Freeform 28"/>
            <p:cNvSpPr>
              <a:spLocks/>
            </p:cNvSpPr>
            <p:nvPr/>
          </p:nvSpPr>
          <p:spPr bwMode="auto">
            <a:xfrm>
              <a:off x="4165" y="2995"/>
              <a:ext cx="1139" cy="587"/>
            </a:xfrm>
            <a:custGeom>
              <a:avLst/>
              <a:gdLst>
                <a:gd name="T0" fmla="*/ 1097 w 2278"/>
                <a:gd name="T1" fmla="*/ 10 h 1172"/>
                <a:gd name="T2" fmla="*/ 1149 w 2278"/>
                <a:gd name="T3" fmla="*/ 56 h 1172"/>
                <a:gd name="T4" fmla="*/ 1165 w 2278"/>
                <a:gd name="T5" fmla="*/ 219 h 1172"/>
                <a:gd name="T6" fmla="*/ 1103 w 2278"/>
                <a:gd name="T7" fmla="*/ 397 h 1172"/>
                <a:gd name="T8" fmla="*/ 1121 w 2278"/>
                <a:gd name="T9" fmla="*/ 480 h 1172"/>
                <a:gd name="T10" fmla="*/ 1189 w 2278"/>
                <a:gd name="T11" fmla="*/ 534 h 1172"/>
                <a:gd name="T12" fmla="*/ 1287 w 2278"/>
                <a:gd name="T13" fmla="*/ 572 h 1172"/>
                <a:gd name="T14" fmla="*/ 1357 w 2278"/>
                <a:gd name="T15" fmla="*/ 668 h 1172"/>
                <a:gd name="T16" fmla="*/ 1470 w 2278"/>
                <a:gd name="T17" fmla="*/ 698 h 1172"/>
                <a:gd name="T18" fmla="*/ 1768 w 2278"/>
                <a:gd name="T19" fmla="*/ 706 h 1172"/>
                <a:gd name="T20" fmla="*/ 2065 w 2278"/>
                <a:gd name="T21" fmla="*/ 731 h 1172"/>
                <a:gd name="T22" fmla="*/ 2228 w 2278"/>
                <a:gd name="T23" fmla="*/ 751 h 1172"/>
                <a:gd name="T24" fmla="*/ 2274 w 2278"/>
                <a:gd name="T25" fmla="*/ 819 h 1172"/>
                <a:gd name="T26" fmla="*/ 2266 w 2278"/>
                <a:gd name="T27" fmla="*/ 901 h 1172"/>
                <a:gd name="T28" fmla="*/ 2202 w 2278"/>
                <a:gd name="T29" fmla="*/ 955 h 1172"/>
                <a:gd name="T30" fmla="*/ 2031 w 2278"/>
                <a:gd name="T31" fmla="*/ 947 h 1172"/>
                <a:gd name="T32" fmla="*/ 1811 w 2278"/>
                <a:gd name="T33" fmla="*/ 913 h 1172"/>
                <a:gd name="T34" fmla="*/ 1590 w 2278"/>
                <a:gd name="T35" fmla="*/ 895 h 1172"/>
                <a:gd name="T36" fmla="*/ 1391 w 2278"/>
                <a:gd name="T37" fmla="*/ 939 h 1172"/>
                <a:gd name="T38" fmla="*/ 1311 w 2278"/>
                <a:gd name="T39" fmla="*/ 975 h 1172"/>
                <a:gd name="T40" fmla="*/ 1233 w 2278"/>
                <a:gd name="T41" fmla="*/ 965 h 1172"/>
                <a:gd name="T42" fmla="*/ 1169 w 2278"/>
                <a:gd name="T43" fmla="*/ 933 h 1172"/>
                <a:gd name="T44" fmla="*/ 1129 w 2278"/>
                <a:gd name="T45" fmla="*/ 877 h 1172"/>
                <a:gd name="T46" fmla="*/ 1105 w 2278"/>
                <a:gd name="T47" fmla="*/ 847 h 1172"/>
                <a:gd name="T48" fmla="*/ 1034 w 2278"/>
                <a:gd name="T49" fmla="*/ 923 h 1172"/>
                <a:gd name="T50" fmla="*/ 948 w 2278"/>
                <a:gd name="T51" fmla="*/ 929 h 1172"/>
                <a:gd name="T52" fmla="*/ 880 w 2278"/>
                <a:gd name="T53" fmla="*/ 883 h 1172"/>
                <a:gd name="T54" fmla="*/ 876 w 2278"/>
                <a:gd name="T55" fmla="*/ 799 h 1172"/>
                <a:gd name="T56" fmla="*/ 886 w 2278"/>
                <a:gd name="T57" fmla="*/ 771 h 1172"/>
                <a:gd name="T58" fmla="*/ 852 w 2278"/>
                <a:gd name="T59" fmla="*/ 773 h 1172"/>
                <a:gd name="T60" fmla="*/ 782 w 2278"/>
                <a:gd name="T61" fmla="*/ 841 h 1172"/>
                <a:gd name="T62" fmla="*/ 698 w 2278"/>
                <a:gd name="T63" fmla="*/ 845 h 1172"/>
                <a:gd name="T64" fmla="*/ 635 w 2278"/>
                <a:gd name="T65" fmla="*/ 797 h 1172"/>
                <a:gd name="T66" fmla="*/ 623 w 2278"/>
                <a:gd name="T67" fmla="*/ 718 h 1172"/>
                <a:gd name="T68" fmla="*/ 796 w 2278"/>
                <a:gd name="T69" fmla="*/ 448 h 1172"/>
                <a:gd name="T70" fmla="*/ 353 w 2278"/>
                <a:gd name="T71" fmla="*/ 951 h 1172"/>
                <a:gd name="T72" fmla="*/ 166 w 2278"/>
                <a:gd name="T73" fmla="*/ 1164 h 1172"/>
                <a:gd name="T74" fmla="*/ 80 w 2278"/>
                <a:gd name="T75" fmla="*/ 1166 h 1172"/>
                <a:gd name="T76" fmla="*/ 14 w 2278"/>
                <a:gd name="T77" fmla="*/ 1118 h 1172"/>
                <a:gd name="T78" fmla="*/ 6 w 2278"/>
                <a:gd name="T79" fmla="*/ 1042 h 1172"/>
                <a:gd name="T80" fmla="*/ 274 w 2278"/>
                <a:gd name="T81" fmla="*/ 696 h 1172"/>
                <a:gd name="T82" fmla="*/ 679 w 2278"/>
                <a:gd name="T83" fmla="*/ 245 h 1172"/>
                <a:gd name="T84" fmla="*/ 786 w 2278"/>
                <a:gd name="T85" fmla="*/ 139 h 1172"/>
                <a:gd name="T86" fmla="*/ 912 w 2278"/>
                <a:gd name="T87" fmla="*/ 40 h 1172"/>
                <a:gd name="T88" fmla="*/ 1054 w 2278"/>
                <a:gd name="T89" fmla="*/ 0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78" h="1172">
                  <a:moveTo>
                    <a:pt x="1054" y="0"/>
                  </a:moveTo>
                  <a:lnTo>
                    <a:pt x="1075" y="4"/>
                  </a:lnTo>
                  <a:lnTo>
                    <a:pt x="1097" y="10"/>
                  </a:lnTo>
                  <a:lnTo>
                    <a:pt x="1119" y="22"/>
                  </a:lnTo>
                  <a:lnTo>
                    <a:pt x="1137" y="36"/>
                  </a:lnTo>
                  <a:lnTo>
                    <a:pt x="1149" y="56"/>
                  </a:lnTo>
                  <a:lnTo>
                    <a:pt x="1165" y="108"/>
                  </a:lnTo>
                  <a:lnTo>
                    <a:pt x="1171" y="161"/>
                  </a:lnTo>
                  <a:lnTo>
                    <a:pt x="1165" y="219"/>
                  </a:lnTo>
                  <a:lnTo>
                    <a:pt x="1151" y="277"/>
                  </a:lnTo>
                  <a:lnTo>
                    <a:pt x="1131" y="337"/>
                  </a:lnTo>
                  <a:lnTo>
                    <a:pt x="1103" y="397"/>
                  </a:lnTo>
                  <a:lnTo>
                    <a:pt x="1071" y="454"/>
                  </a:lnTo>
                  <a:lnTo>
                    <a:pt x="1097" y="464"/>
                  </a:lnTo>
                  <a:lnTo>
                    <a:pt x="1121" y="480"/>
                  </a:lnTo>
                  <a:lnTo>
                    <a:pt x="1141" y="504"/>
                  </a:lnTo>
                  <a:lnTo>
                    <a:pt x="1157" y="536"/>
                  </a:lnTo>
                  <a:lnTo>
                    <a:pt x="1189" y="534"/>
                  </a:lnTo>
                  <a:lnTo>
                    <a:pt x="1223" y="538"/>
                  </a:lnTo>
                  <a:lnTo>
                    <a:pt x="1255" y="550"/>
                  </a:lnTo>
                  <a:lnTo>
                    <a:pt x="1287" y="572"/>
                  </a:lnTo>
                  <a:lnTo>
                    <a:pt x="1317" y="602"/>
                  </a:lnTo>
                  <a:lnTo>
                    <a:pt x="1343" y="642"/>
                  </a:lnTo>
                  <a:lnTo>
                    <a:pt x="1357" y="668"/>
                  </a:lnTo>
                  <a:lnTo>
                    <a:pt x="1365" y="692"/>
                  </a:lnTo>
                  <a:lnTo>
                    <a:pt x="1367" y="710"/>
                  </a:lnTo>
                  <a:lnTo>
                    <a:pt x="1470" y="698"/>
                  </a:lnTo>
                  <a:lnTo>
                    <a:pt x="1572" y="694"/>
                  </a:lnTo>
                  <a:lnTo>
                    <a:pt x="1670" y="698"/>
                  </a:lnTo>
                  <a:lnTo>
                    <a:pt x="1768" y="706"/>
                  </a:lnTo>
                  <a:lnTo>
                    <a:pt x="1865" y="714"/>
                  </a:lnTo>
                  <a:lnTo>
                    <a:pt x="1963" y="724"/>
                  </a:lnTo>
                  <a:lnTo>
                    <a:pt x="2065" y="731"/>
                  </a:lnTo>
                  <a:lnTo>
                    <a:pt x="2168" y="735"/>
                  </a:lnTo>
                  <a:lnTo>
                    <a:pt x="2202" y="739"/>
                  </a:lnTo>
                  <a:lnTo>
                    <a:pt x="2228" y="751"/>
                  </a:lnTo>
                  <a:lnTo>
                    <a:pt x="2250" y="769"/>
                  </a:lnTo>
                  <a:lnTo>
                    <a:pt x="2266" y="793"/>
                  </a:lnTo>
                  <a:lnTo>
                    <a:pt x="2274" y="819"/>
                  </a:lnTo>
                  <a:lnTo>
                    <a:pt x="2278" y="847"/>
                  </a:lnTo>
                  <a:lnTo>
                    <a:pt x="2274" y="875"/>
                  </a:lnTo>
                  <a:lnTo>
                    <a:pt x="2266" y="901"/>
                  </a:lnTo>
                  <a:lnTo>
                    <a:pt x="2250" y="923"/>
                  </a:lnTo>
                  <a:lnTo>
                    <a:pt x="2228" y="941"/>
                  </a:lnTo>
                  <a:lnTo>
                    <a:pt x="2202" y="955"/>
                  </a:lnTo>
                  <a:lnTo>
                    <a:pt x="2168" y="959"/>
                  </a:lnTo>
                  <a:lnTo>
                    <a:pt x="2101" y="955"/>
                  </a:lnTo>
                  <a:lnTo>
                    <a:pt x="2031" y="947"/>
                  </a:lnTo>
                  <a:lnTo>
                    <a:pt x="1959" y="937"/>
                  </a:lnTo>
                  <a:lnTo>
                    <a:pt x="1885" y="925"/>
                  </a:lnTo>
                  <a:lnTo>
                    <a:pt x="1811" y="913"/>
                  </a:lnTo>
                  <a:lnTo>
                    <a:pt x="1736" y="903"/>
                  </a:lnTo>
                  <a:lnTo>
                    <a:pt x="1664" y="895"/>
                  </a:lnTo>
                  <a:lnTo>
                    <a:pt x="1590" y="895"/>
                  </a:lnTo>
                  <a:lnTo>
                    <a:pt x="1520" y="901"/>
                  </a:lnTo>
                  <a:lnTo>
                    <a:pt x="1454" y="915"/>
                  </a:lnTo>
                  <a:lnTo>
                    <a:pt x="1391" y="939"/>
                  </a:lnTo>
                  <a:lnTo>
                    <a:pt x="1367" y="951"/>
                  </a:lnTo>
                  <a:lnTo>
                    <a:pt x="1339" y="965"/>
                  </a:lnTo>
                  <a:lnTo>
                    <a:pt x="1311" y="975"/>
                  </a:lnTo>
                  <a:lnTo>
                    <a:pt x="1283" y="979"/>
                  </a:lnTo>
                  <a:lnTo>
                    <a:pt x="1255" y="973"/>
                  </a:lnTo>
                  <a:lnTo>
                    <a:pt x="1233" y="965"/>
                  </a:lnTo>
                  <a:lnTo>
                    <a:pt x="1211" y="957"/>
                  </a:lnTo>
                  <a:lnTo>
                    <a:pt x="1189" y="947"/>
                  </a:lnTo>
                  <a:lnTo>
                    <a:pt x="1169" y="933"/>
                  </a:lnTo>
                  <a:lnTo>
                    <a:pt x="1151" y="919"/>
                  </a:lnTo>
                  <a:lnTo>
                    <a:pt x="1137" y="899"/>
                  </a:lnTo>
                  <a:lnTo>
                    <a:pt x="1129" y="877"/>
                  </a:lnTo>
                  <a:lnTo>
                    <a:pt x="1127" y="839"/>
                  </a:lnTo>
                  <a:lnTo>
                    <a:pt x="1127" y="807"/>
                  </a:lnTo>
                  <a:lnTo>
                    <a:pt x="1105" y="847"/>
                  </a:lnTo>
                  <a:lnTo>
                    <a:pt x="1079" y="885"/>
                  </a:lnTo>
                  <a:lnTo>
                    <a:pt x="1058" y="907"/>
                  </a:lnTo>
                  <a:lnTo>
                    <a:pt x="1034" y="923"/>
                  </a:lnTo>
                  <a:lnTo>
                    <a:pt x="1006" y="931"/>
                  </a:lnTo>
                  <a:lnTo>
                    <a:pt x="976" y="933"/>
                  </a:lnTo>
                  <a:lnTo>
                    <a:pt x="948" y="929"/>
                  </a:lnTo>
                  <a:lnTo>
                    <a:pt x="920" y="919"/>
                  </a:lnTo>
                  <a:lnTo>
                    <a:pt x="898" y="903"/>
                  </a:lnTo>
                  <a:lnTo>
                    <a:pt x="880" y="883"/>
                  </a:lnTo>
                  <a:lnTo>
                    <a:pt x="870" y="859"/>
                  </a:lnTo>
                  <a:lnTo>
                    <a:pt x="868" y="831"/>
                  </a:lnTo>
                  <a:lnTo>
                    <a:pt x="876" y="799"/>
                  </a:lnTo>
                  <a:lnTo>
                    <a:pt x="880" y="785"/>
                  </a:lnTo>
                  <a:lnTo>
                    <a:pt x="888" y="771"/>
                  </a:lnTo>
                  <a:lnTo>
                    <a:pt x="886" y="771"/>
                  </a:lnTo>
                  <a:lnTo>
                    <a:pt x="904" y="729"/>
                  </a:lnTo>
                  <a:lnTo>
                    <a:pt x="876" y="749"/>
                  </a:lnTo>
                  <a:lnTo>
                    <a:pt x="852" y="773"/>
                  </a:lnTo>
                  <a:lnTo>
                    <a:pt x="830" y="801"/>
                  </a:lnTo>
                  <a:lnTo>
                    <a:pt x="808" y="825"/>
                  </a:lnTo>
                  <a:lnTo>
                    <a:pt x="782" y="841"/>
                  </a:lnTo>
                  <a:lnTo>
                    <a:pt x="754" y="849"/>
                  </a:lnTo>
                  <a:lnTo>
                    <a:pt x="726" y="849"/>
                  </a:lnTo>
                  <a:lnTo>
                    <a:pt x="698" y="845"/>
                  </a:lnTo>
                  <a:lnTo>
                    <a:pt x="675" y="833"/>
                  </a:lnTo>
                  <a:lnTo>
                    <a:pt x="653" y="817"/>
                  </a:lnTo>
                  <a:lnTo>
                    <a:pt x="635" y="797"/>
                  </a:lnTo>
                  <a:lnTo>
                    <a:pt x="623" y="773"/>
                  </a:lnTo>
                  <a:lnTo>
                    <a:pt x="619" y="747"/>
                  </a:lnTo>
                  <a:lnTo>
                    <a:pt x="623" y="718"/>
                  </a:lnTo>
                  <a:lnTo>
                    <a:pt x="639" y="688"/>
                  </a:lnTo>
                  <a:lnTo>
                    <a:pt x="720" y="570"/>
                  </a:lnTo>
                  <a:lnTo>
                    <a:pt x="796" y="448"/>
                  </a:lnTo>
                  <a:lnTo>
                    <a:pt x="645" y="612"/>
                  </a:lnTo>
                  <a:lnTo>
                    <a:pt x="497" y="779"/>
                  </a:lnTo>
                  <a:lnTo>
                    <a:pt x="353" y="951"/>
                  </a:lnTo>
                  <a:lnTo>
                    <a:pt x="216" y="1126"/>
                  </a:lnTo>
                  <a:lnTo>
                    <a:pt x="192" y="1150"/>
                  </a:lnTo>
                  <a:lnTo>
                    <a:pt x="166" y="1164"/>
                  </a:lnTo>
                  <a:lnTo>
                    <a:pt x="136" y="1172"/>
                  </a:lnTo>
                  <a:lnTo>
                    <a:pt x="108" y="1172"/>
                  </a:lnTo>
                  <a:lnTo>
                    <a:pt x="80" y="1166"/>
                  </a:lnTo>
                  <a:lnTo>
                    <a:pt x="54" y="1154"/>
                  </a:lnTo>
                  <a:lnTo>
                    <a:pt x="32" y="1138"/>
                  </a:lnTo>
                  <a:lnTo>
                    <a:pt x="14" y="1118"/>
                  </a:lnTo>
                  <a:lnTo>
                    <a:pt x="4" y="1094"/>
                  </a:lnTo>
                  <a:lnTo>
                    <a:pt x="0" y="1068"/>
                  </a:lnTo>
                  <a:lnTo>
                    <a:pt x="6" y="1042"/>
                  </a:lnTo>
                  <a:lnTo>
                    <a:pt x="22" y="1013"/>
                  </a:lnTo>
                  <a:lnTo>
                    <a:pt x="146" y="853"/>
                  </a:lnTo>
                  <a:lnTo>
                    <a:pt x="274" y="696"/>
                  </a:lnTo>
                  <a:lnTo>
                    <a:pt x="403" y="540"/>
                  </a:lnTo>
                  <a:lnTo>
                    <a:pt x="539" y="391"/>
                  </a:lnTo>
                  <a:lnTo>
                    <a:pt x="679" y="245"/>
                  </a:lnTo>
                  <a:lnTo>
                    <a:pt x="712" y="211"/>
                  </a:lnTo>
                  <a:lnTo>
                    <a:pt x="748" y="175"/>
                  </a:lnTo>
                  <a:lnTo>
                    <a:pt x="786" y="139"/>
                  </a:lnTo>
                  <a:lnTo>
                    <a:pt x="826" y="102"/>
                  </a:lnTo>
                  <a:lnTo>
                    <a:pt x="868" y="70"/>
                  </a:lnTo>
                  <a:lnTo>
                    <a:pt x="912" y="40"/>
                  </a:lnTo>
                  <a:lnTo>
                    <a:pt x="956" y="18"/>
                  </a:lnTo>
                  <a:lnTo>
                    <a:pt x="1004" y="4"/>
                  </a:lnTo>
                  <a:lnTo>
                    <a:pt x="10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22" name="Group 31"/>
          <p:cNvGrpSpPr>
            <a:grpSpLocks noChangeAspect="1"/>
          </p:cNvGrpSpPr>
          <p:nvPr/>
        </p:nvGrpSpPr>
        <p:grpSpPr bwMode="auto">
          <a:xfrm>
            <a:off x="5763092" y="3627185"/>
            <a:ext cx="380459" cy="430497"/>
            <a:chOff x="2681" y="654"/>
            <a:chExt cx="2897" cy="3278"/>
          </a:xfrm>
          <a:solidFill>
            <a:schemeClr val="bg1"/>
          </a:solidFill>
        </p:grpSpPr>
        <p:sp>
          <p:nvSpPr>
            <p:cNvPr id="125" name="Freeform 33"/>
            <p:cNvSpPr>
              <a:spLocks/>
            </p:cNvSpPr>
            <p:nvPr/>
          </p:nvSpPr>
          <p:spPr bwMode="auto">
            <a:xfrm>
              <a:off x="2681" y="654"/>
              <a:ext cx="2161" cy="2921"/>
            </a:xfrm>
            <a:custGeom>
              <a:avLst/>
              <a:gdLst>
                <a:gd name="T0" fmla="*/ 2934 w 4322"/>
                <a:gd name="T1" fmla="*/ 6 h 5842"/>
                <a:gd name="T2" fmla="*/ 3237 w 4322"/>
                <a:gd name="T3" fmla="*/ 90 h 5842"/>
                <a:gd name="T4" fmla="*/ 3496 w 4322"/>
                <a:gd name="T5" fmla="*/ 259 h 5842"/>
                <a:gd name="T6" fmla="*/ 3690 w 4322"/>
                <a:gd name="T7" fmla="*/ 496 h 5842"/>
                <a:gd name="T8" fmla="*/ 3804 w 4322"/>
                <a:gd name="T9" fmla="*/ 787 h 5842"/>
                <a:gd name="T10" fmla="*/ 3825 w 4322"/>
                <a:gd name="T11" fmla="*/ 2115 h 5842"/>
                <a:gd name="T12" fmla="*/ 3780 w 4322"/>
                <a:gd name="T13" fmla="*/ 2324 h 5842"/>
                <a:gd name="T14" fmla="*/ 3656 w 4322"/>
                <a:gd name="T15" fmla="*/ 2490 h 5842"/>
                <a:gd name="T16" fmla="*/ 3606 w 4322"/>
                <a:gd name="T17" fmla="*/ 3624 h 5842"/>
                <a:gd name="T18" fmla="*/ 3660 w 4322"/>
                <a:gd name="T19" fmla="*/ 3664 h 5842"/>
                <a:gd name="T20" fmla="*/ 3805 w 4322"/>
                <a:gd name="T21" fmla="*/ 3739 h 5842"/>
                <a:gd name="T22" fmla="*/ 4023 w 4322"/>
                <a:gd name="T23" fmla="*/ 3859 h 5842"/>
                <a:gd name="T24" fmla="*/ 3899 w 4322"/>
                <a:gd name="T25" fmla="*/ 4100 h 5842"/>
                <a:gd name="T26" fmla="*/ 3847 w 4322"/>
                <a:gd name="T27" fmla="*/ 4381 h 5842"/>
                <a:gd name="T28" fmla="*/ 3853 w 4322"/>
                <a:gd name="T29" fmla="*/ 4571 h 5842"/>
                <a:gd name="T30" fmla="*/ 3905 w 4322"/>
                <a:gd name="T31" fmla="*/ 4778 h 5842"/>
                <a:gd name="T32" fmla="*/ 4025 w 4322"/>
                <a:gd name="T33" fmla="*/ 4991 h 5842"/>
                <a:gd name="T34" fmla="*/ 4232 w 4322"/>
                <a:gd name="T35" fmla="*/ 5195 h 5842"/>
                <a:gd name="T36" fmla="*/ 4290 w 4322"/>
                <a:gd name="T37" fmla="*/ 5254 h 5842"/>
                <a:gd name="T38" fmla="*/ 4127 w 4322"/>
                <a:gd name="T39" fmla="*/ 5294 h 5842"/>
                <a:gd name="T40" fmla="*/ 3999 w 4322"/>
                <a:gd name="T41" fmla="*/ 5402 h 5842"/>
                <a:gd name="T42" fmla="*/ 3921 w 4322"/>
                <a:gd name="T43" fmla="*/ 5559 h 5842"/>
                <a:gd name="T44" fmla="*/ 3847 w 4322"/>
                <a:gd name="T45" fmla="*/ 5821 h 5842"/>
                <a:gd name="T46" fmla="*/ 2828 w 4322"/>
                <a:gd name="T47" fmla="*/ 4780 h 5842"/>
                <a:gd name="T48" fmla="*/ 2958 w 4322"/>
                <a:gd name="T49" fmla="*/ 4571 h 5842"/>
                <a:gd name="T50" fmla="*/ 3018 w 4322"/>
                <a:gd name="T51" fmla="*/ 4409 h 5842"/>
                <a:gd name="T52" fmla="*/ 3022 w 4322"/>
                <a:gd name="T53" fmla="*/ 4290 h 5842"/>
                <a:gd name="T54" fmla="*/ 2986 w 4322"/>
                <a:gd name="T55" fmla="*/ 4204 h 5842"/>
                <a:gd name="T56" fmla="*/ 2922 w 4322"/>
                <a:gd name="T57" fmla="*/ 4148 h 5842"/>
                <a:gd name="T58" fmla="*/ 2846 w 4322"/>
                <a:gd name="T59" fmla="*/ 4114 h 5842"/>
                <a:gd name="T60" fmla="*/ 2774 w 4322"/>
                <a:gd name="T61" fmla="*/ 4100 h 5842"/>
                <a:gd name="T62" fmla="*/ 2718 w 4322"/>
                <a:gd name="T63" fmla="*/ 4094 h 5842"/>
                <a:gd name="T64" fmla="*/ 2677 w 4322"/>
                <a:gd name="T65" fmla="*/ 4094 h 5842"/>
                <a:gd name="T66" fmla="*/ 2613 w 4322"/>
                <a:gd name="T67" fmla="*/ 4102 h 5842"/>
                <a:gd name="T68" fmla="*/ 2539 w 4322"/>
                <a:gd name="T69" fmla="*/ 4124 h 5842"/>
                <a:gd name="T70" fmla="*/ 2465 w 4322"/>
                <a:gd name="T71" fmla="*/ 4164 h 5842"/>
                <a:gd name="T72" fmla="*/ 2409 w 4322"/>
                <a:gd name="T73" fmla="*/ 4228 h 5842"/>
                <a:gd name="T74" fmla="*/ 2385 w 4322"/>
                <a:gd name="T75" fmla="*/ 4326 h 5842"/>
                <a:gd name="T76" fmla="*/ 2407 w 4322"/>
                <a:gd name="T77" fmla="*/ 4459 h 5842"/>
                <a:gd name="T78" fmla="*/ 2487 w 4322"/>
                <a:gd name="T79" fmla="*/ 4634 h 5842"/>
                <a:gd name="T80" fmla="*/ 2350 w 4322"/>
                <a:gd name="T81" fmla="*/ 5842 h 5842"/>
                <a:gd name="T82" fmla="*/ 4 w 4322"/>
                <a:gd name="T83" fmla="*/ 5011 h 5842"/>
                <a:gd name="T84" fmla="*/ 66 w 4322"/>
                <a:gd name="T85" fmla="*/ 4820 h 5842"/>
                <a:gd name="T86" fmla="*/ 195 w 4322"/>
                <a:gd name="T87" fmla="*/ 4664 h 5842"/>
                <a:gd name="T88" fmla="*/ 525 w 4322"/>
                <a:gd name="T89" fmla="*/ 4411 h 5842"/>
                <a:gd name="T90" fmla="*/ 844 w 4322"/>
                <a:gd name="T91" fmla="*/ 4190 h 5842"/>
                <a:gd name="T92" fmla="*/ 1143 w 4322"/>
                <a:gd name="T93" fmla="*/ 4001 h 5842"/>
                <a:gd name="T94" fmla="*/ 1404 w 4322"/>
                <a:gd name="T95" fmla="*/ 3849 h 5842"/>
                <a:gd name="T96" fmla="*/ 1612 w 4322"/>
                <a:gd name="T97" fmla="*/ 3735 h 5842"/>
                <a:gd name="T98" fmla="*/ 1751 w 4322"/>
                <a:gd name="T99" fmla="*/ 3664 h 5842"/>
                <a:gd name="T100" fmla="*/ 1803 w 4322"/>
                <a:gd name="T101" fmla="*/ 3624 h 5842"/>
                <a:gd name="T102" fmla="*/ 1753 w 4322"/>
                <a:gd name="T103" fmla="*/ 2490 h 5842"/>
                <a:gd name="T104" fmla="*/ 1630 w 4322"/>
                <a:gd name="T105" fmla="*/ 2322 h 5842"/>
                <a:gd name="T106" fmla="*/ 1584 w 4322"/>
                <a:gd name="T107" fmla="*/ 2115 h 5842"/>
                <a:gd name="T108" fmla="*/ 1606 w 4322"/>
                <a:gd name="T109" fmla="*/ 787 h 5842"/>
                <a:gd name="T110" fmla="*/ 1719 w 4322"/>
                <a:gd name="T111" fmla="*/ 496 h 5842"/>
                <a:gd name="T112" fmla="*/ 1913 w 4322"/>
                <a:gd name="T113" fmla="*/ 259 h 5842"/>
                <a:gd name="T114" fmla="*/ 2172 w 4322"/>
                <a:gd name="T115" fmla="*/ 90 h 5842"/>
                <a:gd name="T116" fmla="*/ 2475 w 4322"/>
                <a:gd name="T117" fmla="*/ 6 h 5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322" h="5842">
                  <a:moveTo>
                    <a:pt x="2585" y="0"/>
                  </a:moveTo>
                  <a:lnTo>
                    <a:pt x="2824" y="0"/>
                  </a:lnTo>
                  <a:lnTo>
                    <a:pt x="2934" y="6"/>
                  </a:lnTo>
                  <a:lnTo>
                    <a:pt x="3040" y="24"/>
                  </a:lnTo>
                  <a:lnTo>
                    <a:pt x="3141" y="52"/>
                  </a:lnTo>
                  <a:lnTo>
                    <a:pt x="3237" y="90"/>
                  </a:lnTo>
                  <a:lnTo>
                    <a:pt x="3331" y="138"/>
                  </a:lnTo>
                  <a:lnTo>
                    <a:pt x="3417" y="193"/>
                  </a:lnTo>
                  <a:lnTo>
                    <a:pt x="3496" y="259"/>
                  </a:lnTo>
                  <a:lnTo>
                    <a:pt x="3568" y="331"/>
                  </a:lnTo>
                  <a:lnTo>
                    <a:pt x="3632" y="411"/>
                  </a:lnTo>
                  <a:lnTo>
                    <a:pt x="3690" y="496"/>
                  </a:lnTo>
                  <a:lnTo>
                    <a:pt x="3738" y="588"/>
                  </a:lnTo>
                  <a:lnTo>
                    <a:pt x="3776" y="686"/>
                  </a:lnTo>
                  <a:lnTo>
                    <a:pt x="3804" y="787"/>
                  </a:lnTo>
                  <a:lnTo>
                    <a:pt x="3819" y="893"/>
                  </a:lnTo>
                  <a:lnTo>
                    <a:pt x="3825" y="1003"/>
                  </a:lnTo>
                  <a:lnTo>
                    <a:pt x="3825" y="2115"/>
                  </a:lnTo>
                  <a:lnTo>
                    <a:pt x="3821" y="2187"/>
                  </a:lnTo>
                  <a:lnTo>
                    <a:pt x="3805" y="2258"/>
                  </a:lnTo>
                  <a:lnTo>
                    <a:pt x="3780" y="2324"/>
                  </a:lnTo>
                  <a:lnTo>
                    <a:pt x="3748" y="2384"/>
                  </a:lnTo>
                  <a:lnTo>
                    <a:pt x="3706" y="2440"/>
                  </a:lnTo>
                  <a:lnTo>
                    <a:pt x="3656" y="2490"/>
                  </a:lnTo>
                  <a:lnTo>
                    <a:pt x="3602" y="2532"/>
                  </a:lnTo>
                  <a:lnTo>
                    <a:pt x="3602" y="3604"/>
                  </a:lnTo>
                  <a:lnTo>
                    <a:pt x="3606" y="3624"/>
                  </a:lnTo>
                  <a:lnTo>
                    <a:pt x="3616" y="3638"/>
                  </a:lnTo>
                  <a:lnTo>
                    <a:pt x="3630" y="3650"/>
                  </a:lnTo>
                  <a:lnTo>
                    <a:pt x="3660" y="3664"/>
                  </a:lnTo>
                  <a:lnTo>
                    <a:pt x="3700" y="3684"/>
                  </a:lnTo>
                  <a:lnTo>
                    <a:pt x="3748" y="3710"/>
                  </a:lnTo>
                  <a:lnTo>
                    <a:pt x="3805" y="3739"/>
                  </a:lnTo>
                  <a:lnTo>
                    <a:pt x="3871" y="3775"/>
                  </a:lnTo>
                  <a:lnTo>
                    <a:pt x="3943" y="3815"/>
                  </a:lnTo>
                  <a:lnTo>
                    <a:pt x="4023" y="3859"/>
                  </a:lnTo>
                  <a:lnTo>
                    <a:pt x="3975" y="3935"/>
                  </a:lnTo>
                  <a:lnTo>
                    <a:pt x="3933" y="4015"/>
                  </a:lnTo>
                  <a:lnTo>
                    <a:pt x="3899" y="4100"/>
                  </a:lnTo>
                  <a:lnTo>
                    <a:pt x="3875" y="4190"/>
                  </a:lnTo>
                  <a:lnTo>
                    <a:pt x="3857" y="4284"/>
                  </a:lnTo>
                  <a:lnTo>
                    <a:pt x="3847" y="4381"/>
                  </a:lnTo>
                  <a:lnTo>
                    <a:pt x="3845" y="4441"/>
                  </a:lnTo>
                  <a:lnTo>
                    <a:pt x="3845" y="4505"/>
                  </a:lnTo>
                  <a:lnTo>
                    <a:pt x="3853" y="4571"/>
                  </a:lnTo>
                  <a:lnTo>
                    <a:pt x="3863" y="4638"/>
                  </a:lnTo>
                  <a:lnTo>
                    <a:pt x="3881" y="4708"/>
                  </a:lnTo>
                  <a:lnTo>
                    <a:pt x="3905" y="4778"/>
                  </a:lnTo>
                  <a:lnTo>
                    <a:pt x="3937" y="4850"/>
                  </a:lnTo>
                  <a:lnTo>
                    <a:pt x="3977" y="4920"/>
                  </a:lnTo>
                  <a:lnTo>
                    <a:pt x="4025" y="4991"/>
                  </a:lnTo>
                  <a:lnTo>
                    <a:pt x="4085" y="5061"/>
                  </a:lnTo>
                  <a:lnTo>
                    <a:pt x="4153" y="5129"/>
                  </a:lnTo>
                  <a:lnTo>
                    <a:pt x="4232" y="5195"/>
                  </a:lnTo>
                  <a:lnTo>
                    <a:pt x="4322" y="5258"/>
                  </a:lnTo>
                  <a:lnTo>
                    <a:pt x="4306" y="5256"/>
                  </a:lnTo>
                  <a:lnTo>
                    <a:pt x="4290" y="5254"/>
                  </a:lnTo>
                  <a:lnTo>
                    <a:pt x="4234" y="5258"/>
                  </a:lnTo>
                  <a:lnTo>
                    <a:pt x="4178" y="5272"/>
                  </a:lnTo>
                  <a:lnTo>
                    <a:pt x="4127" y="5294"/>
                  </a:lnTo>
                  <a:lnTo>
                    <a:pt x="4079" y="5322"/>
                  </a:lnTo>
                  <a:lnTo>
                    <a:pt x="4037" y="5358"/>
                  </a:lnTo>
                  <a:lnTo>
                    <a:pt x="3999" y="5402"/>
                  </a:lnTo>
                  <a:lnTo>
                    <a:pt x="3963" y="5458"/>
                  </a:lnTo>
                  <a:lnTo>
                    <a:pt x="3937" y="5512"/>
                  </a:lnTo>
                  <a:lnTo>
                    <a:pt x="3921" y="5559"/>
                  </a:lnTo>
                  <a:lnTo>
                    <a:pt x="3885" y="5677"/>
                  </a:lnTo>
                  <a:lnTo>
                    <a:pt x="3851" y="5799"/>
                  </a:lnTo>
                  <a:lnTo>
                    <a:pt x="3847" y="5821"/>
                  </a:lnTo>
                  <a:lnTo>
                    <a:pt x="3841" y="5842"/>
                  </a:lnTo>
                  <a:lnTo>
                    <a:pt x="3062" y="5842"/>
                  </a:lnTo>
                  <a:lnTo>
                    <a:pt x="2828" y="4780"/>
                  </a:lnTo>
                  <a:lnTo>
                    <a:pt x="2880" y="4704"/>
                  </a:lnTo>
                  <a:lnTo>
                    <a:pt x="2924" y="4634"/>
                  </a:lnTo>
                  <a:lnTo>
                    <a:pt x="2958" y="4571"/>
                  </a:lnTo>
                  <a:lnTo>
                    <a:pt x="2984" y="4513"/>
                  </a:lnTo>
                  <a:lnTo>
                    <a:pt x="3004" y="4459"/>
                  </a:lnTo>
                  <a:lnTo>
                    <a:pt x="3018" y="4409"/>
                  </a:lnTo>
                  <a:lnTo>
                    <a:pt x="3024" y="4365"/>
                  </a:lnTo>
                  <a:lnTo>
                    <a:pt x="3026" y="4326"/>
                  </a:lnTo>
                  <a:lnTo>
                    <a:pt x="3022" y="4290"/>
                  </a:lnTo>
                  <a:lnTo>
                    <a:pt x="3014" y="4256"/>
                  </a:lnTo>
                  <a:lnTo>
                    <a:pt x="3000" y="4228"/>
                  </a:lnTo>
                  <a:lnTo>
                    <a:pt x="2986" y="4204"/>
                  </a:lnTo>
                  <a:lnTo>
                    <a:pt x="2966" y="4182"/>
                  </a:lnTo>
                  <a:lnTo>
                    <a:pt x="2944" y="4164"/>
                  </a:lnTo>
                  <a:lnTo>
                    <a:pt x="2922" y="4148"/>
                  </a:lnTo>
                  <a:lnTo>
                    <a:pt x="2896" y="4134"/>
                  </a:lnTo>
                  <a:lnTo>
                    <a:pt x="2872" y="4124"/>
                  </a:lnTo>
                  <a:lnTo>
                    <a:pt x="2846" y="4114"/>
                  </a:lnTo>
                  <a:lnTo>
                    <a:pt x="2822" y="4108"/>
                  </a:lnTo>
                  <a:lnTo>
                    <a:pt x="2796" y="4102"/>
                  </a:lnTo>
                  <a:lnTo>
                    <a:pt x="2774" y="4100"/>
                  </a:lnTo>
                  <a:lnTo>
                    <a:pt x="2752" y="4096"/>
                  </a:lnTo>
                  <a:lnTo>
                    <a:pt x="2734" y="4094"/>
                  </a:lnTo>
                  <a:lnTo>
                    <a:pt x="2718" y="4094"/>
                  </a:lnTo>
                  <a:lnTo>
                    <a:pt x="2705" y="4094"/>
                  </a:lnTo>
                  <a:lnTo>
                    <a:pt x="2693" y="4094"/>
                  </a:lnTo>
                  <a:lnTo>
                    <a:pt x="2677" y="4094"/>
                  </a:lnTo>
                  <a:lnTo>
                    <a:pt x="2659" y="4096"/>
                  </a:lnTo>
                  <a:lnTo>
                    <a:pt x="2637" y="4100"/>
                  </a:lnTo>
                  <a:lnTo>
                    <a:pt x="2613" y="4102"/>
                  </a:lnTo>
                  <a:lnTo>
                    <a:pt x="2589" y="4108"/>
                  </a:lnTo>
                  <a:lnTo>
                    <a:pt x="2565" y="4114"/>
                  </a:lnTo>
                  <a:lnTo>
                    <a:pt x="2539" y="4124"/>
                  </a:lnTo>
                  <a:lnTo>
                    <a:pt x="2513" y="4134"/>
                  </a:lnTo>
                  <a:lnTo>
                    <a:pt x="2489" y="4148"/>
                  </a:lnTo>
                  <a:lnTo>
                    <a:pt x="2465" y="4164"/>
                  </a:lnTo>
                  <a:lnTo>
                    <a:pt x="2445" y="4182"/>
                  </a:lnTo>
                  <a:lnTo>
                    <a:pt x="2425" y="4204"/>
                  </a:lnTo>
                  <a:lnTo>
                    <a:pt x="2409" y="4228"/>
                  </a:lnTo>
                  <a:lnTo>
                    <a:pt x="2397" y="4256"/>
                  </a:lnTo>
                  <a:lnTo>
                    <a:pt x="2389" y="4290"/>
                  </a:lnTo>
                  <a:lnTo>
                    <a:pt x="2385" y="4326"/>
                  </a:lnTo>
                  <a:lnTo>
                    <a:pt x="2387" y="4365"/>
                  </a:lnTo>
                  <a:lnTo>
                    <a:pt x="2393" y="4409"/>
                  </a:lnTo>
                  <a:lnTo>
                    <a:pt x="2407" y="4459"/>
                  </a:lnTo>
                  <a:lnTo>
                    <a:pt x="2425" y="4513"/>
                  </a:lnTo>
                  <a:lnTo>
                    <a:pt x="2453" y="4571"/>
                  </a:lnTo>
                  <a:lnTo>
                    <a:pt x="2487" y="4634"/>
                  </a:lnTo>
                  <a:lnTo>
                    <a:pt x="2531" y="4704"/>
                  </a:lnTo>
                  <a:lnTo>
                    <a:pt x="2583" y="4780"/>
                  </a:lnTo>
                  <a:lnTo>
                    <a:pt x="2350" y="5842"/>
                  </a:lnTo>
                  <a:lnTo>
                    <a:pt x="0" y="5842"/>
                  </a:lnTo>
                  <a:lnTo>
                    <a:pt x="0" y="5081"/>
                  </a:lnTo>
                  <a:lnTo>
                    <a:pt x="4" y="5011"/>
                  </a:lnTo>
                  <a:lnTo>
                    <a:pt x="16" y="4945"/>
                  </a:lnTo>
                  <a:lnTo>
                    <a:pt x="38" y="4882"/>
                  </a:lnTo>
                  <a:lnTo>
                    <a:pt x="66" y="4820"/>
                  </a:lnTo>
                  <a:lnTo>
                    <a:pt x="102" y="4764"/>
                  </a:lnTo>
                  <a:lnTo>
                    <a:pt x="146" y="4712"/>
                  </a:lnTo>
                  <a:lnTo>
                    <a:pt x="195" y="4664"/>
                  </a:lnTo>
                  <a:lnTo>
                    <a:pt x="305" y="4577"/>
                  </a:lnTo>
                  <a:lnTo>
                    <a:pt x="415" y="4493"/>
                  </a:lnTo>
                  <a:lnTo>
                    <a:pt x="525" y="4411"/>
                  </a:lnTo>
                  <a:lnTo>
                    <a:pt x="632" y="4333"/>
                  </a:lnTo>
                  <a:lnTo>
                    <a:pt x="740" y="4260"/>
                  </a:lnTo>
                  <a:lnTo>
                    <a:pt x="844" y="4190"/>
                  </a:lnTo>
                  <a:lnTo>
                    <a:pt x="947" y="4122"/>
                  </a:lnTo>
                  <a:lnTo>
                    <a:pt x="1047" y="4060"/>
                  </a:lnTo>
                  <a:lnTo>
                    <a:pt x="1143" y="4001"/>
                  </a:lnTo>
                  <a:lnTo>
                    <a:pt x="1235" y="3947"/>
                  </a:lnTo>
                  <a:lnTo>
                    <a:pt x="1322" y="3895"/>
                  </a:lnTo>
                  <a:lnTo>
                    <a:pt x="1404" y="3849"/>
                  </a:lnTo>
                  <a:lnTo>
                    <a:pt x="1480" y="3807"/>
                  </a:lnTo>
                  <a:lnTo>
                    <a:pt x="1548" y="3769"/>
                  </a:lnTo>
                  <a:lnTo>
                    <a:pt x="1612" y="3735"/>
                  </a:lnTo>
                  <a:lnTo>
                    <a:pt x="1665" y="3708"/>
                  </a:lnTo>
                  <a:lnTo>
                    <a:pt x="1713" y="3684"/>
                  </a:lnTo>
                  <a:lnTo>
                    <a:pt x="1751" y="3664"/>
                  </a:lnTo>
                  <a:lnTo>
                    <a:pt x="1779" y="3650"/>
                  </a:lnTo>
                  <a:lnTo>
                    <a:pt x="1795" y="3638"/>
                  </a:lnTo>
                  <a:lnTo>
                    <a:pt x="1803" y="3624"/>
                  </a:lnTo>
                  <a:lnTo>
                    <a:pt x="1807" y="3604"/>
                  </a:lnTo>
                  <a:lnTo>
                    <a:pt x="1807" y="2532"/>
                  </a:lnTo>
                  <a:lnTo>
                    <a:pt x="1753" y="2490"/>
                  </a:lnTo>
                  <a:lnTo>
                    <a:pt x="1703" y="2440"/>
                  </a:lnTo>
                  <a:lnTo>
                    <a:pt x="1661" y="2384"/>
                  </a:lnTo>
                  <a:lnTo>
                    <a:pt x="1630" y="2322"/>
                  </a:lnTo>
                  <a:lnTo>
                    <a:pt x="1604" y="2256"/>
                  </a:lnTo>
                  <a:lnTo>
                    <a:pt x="1588" y="2187"/>
                  </a:lnTo>
                  <a:lnTo>
                    <a:pt x="1584" y="2115"/>
                  </a:lnTo>
                  <a:lnTo>
                    <a:pt x="1584" y="1003"/>
                  </a:lnTo>
                  <a:lnTo>
                    <a:pt x="1590" y="893"/>
                  </a:lnTo>
                  <a:lnTo>
                    <a:pt x="1606" y="787"/>
                  </a:lnTo>
                  <a:lnTo>
                    <a:pt x="1633" y="686"/>
                  </a:lnTo>
                  <a:lnTo>
                    <a:pt x="1671" y="588"/>
                  </a:lnTo>
                  <a:lnTo>
                    <a:pt x="1719" y="496"/>
                  </a:lnTo>
                  <a:lnTo>
                    <a:pt x="1777" y="411"/>
                  </a:lnTo>
                  <a:lnTo>
                    <a:pt x="1841" y="331"/>
                  </a:lnTo>
                  <a:lnTo>
                    <a:pt x="1913" y="259"/>
                  </a:lnTo>
                  <a:lnTo>
                    <a:pt x="1992" y="193"/>
                  </a:lnTo>
                  <a:lnTo>
                    <a:pt x="2080" y="138"/>
                  </a:lnTo>
                  <a:lnTo>
                    <a:pt x="2172" y="90"/>
                  </a:lnTo>
                  <a:lnTo>
                    <a:pt x="2268" y="52"/>
                  </a:lnTo>
                  <a:lnTo>
                    <a:pt x="2369" y="24"/>
                  </a:lnTo>
                  <a:lnTo>
                    <a:pt x="2475" y="6"/>
                  </a:lnTo>
                  <a:lnTo>
                    <a:pt x="25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6" name="Freeform 34"/>
            <p:cNvSpPr>
              <a:spLocks/>
            </p:cNvSpPr>
            <p:nvPr/>
          </p:nvSpPr>
          <p:spPr bwMode="auto">
            <a:xfrm>
              <a:off x="4756" y="2342"/>
              <a:ext cx="822" cy="1590"/>
            </a:xfrm>
            <a:custGeom>
              <a:avLst/>
              <a:gdLst>
                <a:gd name="T0" fmla="*/ 927 w 1643"/>
                <a:gd name="T1" fmla="*/ 2 h 3179"/>
                <a:gd name="T2" fmla="*/ 1015 w 1643"/>
                <a:gd name="T3" fmla="*/ 59 h 3179"/>
                <a:gd name="T4" fmla="*/ 1023 w 1643"/>
                <a:gd name="T5" fmla="*/ 245 h 3179"/>
                <a:gd name="T6" fmla="*/ 1057 w 1643"/>
                <a:gd name="T7" fmla="*/ 339 h 3179"/>
                <a:gd name="T8" fmla="*/ 1268 w 1643"/>
                <a:gd name="T9" fmla="*/ 384 h 3179"/>
                <a:gd name="T10" fmla="*/ 1521 w 1643"/>
                <a:gd name="T11" fmla="*/ 490 h 3179"/>
                <a:gd name="T12" fmla="*/ 1493 w 1643"/>
                <a:gd name="T13" fmla="*/ 705 h 3179"/>
                <a:gd name="T14" fmla="*/ 1418 w 1643"/>
                <a:gd name="T15" fmla="*/ 901 h 3179"/>
                <a:gd name="T16" fmla="*/ 1326 w 1643"/>
                <a:gd name="T17" fmla="*/ 889 h 3179"/>
                <a:gd name="T18" fmla="*/ 937 w 1643"/>
                <a:gd name="T19" fmla="*/ 791 h 3179"/>
                <a:gd name="T20" fmla="*/ 704 w 1643"/>
                <a:gd name="T21" fmla="*/ 819 h 3179"/>
                <a:gd name="T22" fmla="*/ 586 w 1643"/>
                <a:gd name="T23" fmla="*/ 933 h 3179"/>
                <a:gd name="T24" fmla="*/ 598 w 1643"/>
                <a:gd name="T25" fmla="*/ 1082 h 3179"/>
                <a:gd name="T26" fmla="*/ 795 w 1643"/>
                <a:gd name="T27" fmla="*/ 1236 h 3179"/>
                <a:gd name="T28" fmla="*/ 1166 w 1643"/>
                <a:gd name="T29" fmla="*/ 1395 h 3179"/>
                <a:gd name="T30" fmla="*/ 1464 w 1643"/>
                <a:gd name="T31" fmla="*/ 1606 h 3179"/>
                <a:gd name="T32" fmla="*/ 1619 w 1643"/>
                <a:gd name="T33" fmla="*/ 1891 h 3179"/>
                <a:gd name="T34" fmla="*/ 1631 w 1643"/>
                <a:gd name="T35" fmla="*/ 2206 h 3179"/>
                <a:gd name="T36" fmla="*/ 1489 w 1643"/>
                <a:gd name="T37" fmla="*/ 2505 h 3179"/>
                <a:gd name="T38" fmla="*/ 1250 w 1643"/>
                <a:gd name="T39" fmla="*/ 2699 h 3179"/>
                <a:gd name="T40" fmla="*/ 1049 w 1643"/>
                <a:gd name="T41" fmla="*/ 2778 h 3179"/>
                <a:gd name="T42" fmla="*/ 1009 w 1643"/>
                <a:gd name="T43" fmla="*/ 2876 h 3179"/>
                <a:gd name="T44" fmla="*/ 993 w 1643"/>
                <a:gd name="T45" fmla="*/ 3143 h 3179"/>
                <a:gd name="T46" fmla="*/ 805 w 1643"/>
                <a:gd name="T47" fmla="*/ 3179 h 3179"/>
                <a:gd name="T48" fmla="*/ 624 w 1643"/>
                <a:gd name="T49" fmla="*/ 3151 h 3179"/>
                <a:gd name="T50" fmla="*/ 598 w 1643"/>
                <a:gd name="T51" fmla="*/ 2926 h 3179"/>
                <a:gd name="T52" fmla="*/ 574 w 1643"/>
                <a:gd name="T53" fmla="*/ 2818 h 3179"/>
                <a:gd name="T54" fmla="*/ 386 w 1643"/>
                <a:gd name="T55" fmla="*/ 2776 h 3179"/>
                <a:gd name="T56" fmla="*/ 57 w 1643"/>
                <a:gd name="T57" fmla="*/ 2661 h 3179"/>
                <a:gd name="T58" fmla="*/ 0 w 1643"/>
                <a:gd name="T59" fmla="*/ 2577 h 3179"/>
                <a:gd name="T60" fmla="*/ 77 w 1643"/>
                <a:gd name="T61" fmla="*/ 2278 h 3179"/>
                <a:gd name="T62" fmla="*/ 133 w 1643"/>
                <a:gd name="T63" fmla="*/ 2198 h 3179"/>
                <a:gd name="T64" fmla="*/ 315 w 1643"/>
                <a:gd name="T65" fmla="*/ 2270 h 3179"/>
                <a:gd name="T66" fmla="*/ 720 w 1643"/>
                <a:gd name="T67" fmla="*/ 2358 h 3179"/>
                <a:gd name="T68" fmla="*/ 975 w 1643"/>
                <a:gd name="T69" fmla="*/ 2292 h 3179"/>
                <a:gd name="T70" fmla="*/ 1075 w 1643"/>
                <a:gd name="T71" fmla="*/ 2156 h 3179"/>
                <a:gd name="T72" fmla="*/ 1049 w 1643"/>
                <a:gd name="T73" fmla="*/ 1995 h 3179"/>
                <a:gd name="T74" fmla="*/ 879 w 1643"/>
                <a:gd name="T75" fmla="*/ 1855 h 3179"/>
                <a:gd name="T76" fmla="*/ 550 w 1643"/>
                <a:gd name="T77" fmla="*/ 1716 h 3179"/>
                <a:gd name="T78" fmla="*/ 247 w 1643"/>
                <a:gd name="T79" fmla="*/ 1539 h 3179"/>
                <a:gd name="T80" fmla="*/ 69 w 1643"/>
                <a:gd name="T81" fmla="*/ 1317 h 3179"/>
                <a:gd name="T82" fmla="*/ 15 w 1643"/>
                <a:gd name="T83" fmla="*/ 1024 h 3179"/>
                <a:gd name="T84" fmla="*/ 97 w 1643"/>
                <a:gd name="T85" fmla="*/ 725 h 3179"/>
                <a:gd name="T86" fmla="*/ 293 w 1643"/>
                <a:gd name="T87" fmla="*/ 514 h 3179"/>
                <a:gd name="T88" fmla="*/ 542 w 1643"/>
                <a:gd name="T89" fmla="*/ 392 h 3179"/>
                <a:gd name="T90" fmla="*/ 616 w 1643"/>
                <a:gd name="T91" fmla="*/ 337 h 3179"/>
                <a:gd name="T92" fmla="*/ 622 w 1643"/>
                <a:gd name="T93" fmla="*/ 175 h 3179"/>
                <a:gd name="T94" fmla="*/ 646 w 1643"/>
                <a:gd name="T95" fmla="*/ 24 h 3179"/>
                <a:gd name="T96" fmla="*/ 779 w 1643"/>
                <a:gd name="T97" fmla="*/ 0 h 3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43" h="3179">
                  <a:moveTo>
                    <a:pt x="779" y="0"/>
                  </a:moveTo>
                  <a:lnTo>
                    <a:pt x="821" y="2"/>
                  </a:lnTo>
                  <a:lnTo>
                    <a:pt x="881" y="0"/>
                  </a:lnTo>
                  <a:lnTo>
                    <a:pt x="927" y="2"/>
                  </a:lnTo>
                  <a:lnTo>
                    <a:pt x="963" y="8"/>
                  </a:lnTo>
                  <a:lnTo>
                    <a:pt x="987" y="18"/>
                  </a:lnTo>
                  <a:lnTo>
                    <a:pt x="1003" y="34"/>
                  </a:lnTo>
                  <a:lnTo>
                    <a:pt x="1015" y="59"/>
                  </a:lnTo>
                  <a:lnTo>
                    <a:pt x="1019" y="93"/>
                  </a:lnTo>
                  <a:lnTo>
                    <a:pt x="1021" y="139"/>
                  </a:lnTo>
                  <a:lnTo>
                    <a:pt x="1023" y="199"/>
                  </a:lnTo>
                  <a:lnTo>
                    <a:pt x="1023" y="245"/>
                  </a:lnTo>
                  <a:lnTo>
                    <a:pt x="1025" y="281"/>
                  </a:lnTo>
                  <a:lnTo>
                    <a:pt x="1029" y="307"/>
                  </a:lnTo>
                  <a:lnTo>
                    <a:pt x="1041" y="327"/>
                  </a:lnTo>
                  <a:lnTo>
                    <a:pt x="1057" y="339"/>
                  </a:lnTo>
                  <a:lnTo>
                    <a:pt x="1081" y="349"/>
                  </a:lnTo>
                  <a:lnTo>
                    <a:pt x="1116" y="354"/>
                  </a:lnTo>
                  <a:lnTo>
                    <a:pt x="1162" y="362"/>
                  </a:lnTo>
                  <a:lnTo>
                    <a:pt x="1268" y="384"/>
                  </a:lnTo>
                  <a:lnTo>
                    <a:pt x="1372" y="416"/>
                  </a:lnTo>
                  <a:lnTo>
                    <a:pt x="1471" y="454"/>
                  </a:lnTo>
                  <a:lnTo>
                    <a:pt x="1501" y="470"/>
                  </a:lnTo>
                  <a:lnTo>
                    <a:pt x="1521" y="490"/>
                  </a:lnTo>
                  <a:lnTo>
                    <a:pt x="1533" y="514"/>
                  </a:lnTo>
                  <a:lnTo>
                    <a:pt x="1535" y="542"/>
                  </a:lnTo>
                  <a:lnTo>
                    <a:pt x="1531" y="576"/>
                  </a:lnTo>
                  <a:lnTo>
                    <a:pt x="1493" y="705"/>
                  </a:lnTo>
                  <a:lnTo>
                    <a:pt x="1456" y="833"/>
                  </a:lnTo>
                  <a:lnTo>
                    <a:pt x="1444" y="863"/>
                  </a:lnTo>
                  <a:lnTo>
                    <a:pt x="1432" y="887"/>
                  </a:lnTo>
                  <a:lnTo>
                    <a:pt x="1418" y="901"/>
                  </a:lnTo>
                  <a:lnTo>
                    <a:pt x="1400" y="909"/>
                  </a:lnTo>
                  <a:lnTo>
                    <a:pt x="1380" y="909"/>
                  </a:lnTo>
                  <a:lnTo>
                    <a:pt x="1356" y="903"/>
                  </a:lnTo>
                  <a:lnTo>
                    <a:pt x="1326" y="889"/>
                  </a:lnTo>
                  <a:lnTo>
                    <a:pt x="1230" y="849"/>
                  </a:lnTo>
                  <a:lnTo>
                    <a:pt x="1134" y="819"/>
                  </a:lnTo>
                  <a:lnTo>
                    <a:pt x="1037" y="799"/>
                  </a:lnTo>
                  <a:lnTo>
                    <a:pt x="937" y="791"/>
                  </a:lnTo>
                  <a:lnTo>
                    <a:pt x="833" y="791"/>
                  </a:lnTo>
                  <a:lnTo>
                    <a:pt x="789" y="795"/>
                  </a:lnTo>
                  <a:lnTo>
                    <a:pt x="745" y="805"/>
                  </a:lnTo>
                  <a:lnTo>
                    <a:pt x="704" y="819"/>
                  </a:lnTo>
                  <a:lnTo>
                    <a:pt x="662" y="841"/>
                  </a:lnTo>
                  <a:lnTo>
                    <a:pt x="630" y="869"/>
                  </a:lnTo>
                  <a:lnTo>
                    <a:pt x="604" y="899"/>
                  </a:lnTo>
                  <a:lnTo>
                    <a:pt x="586" y="933"/>
                  </a:lnTo>
                  <a:lnTo>
                    <a:pt x="576" y="970"/>
                  </a:lnTo>
                  <a:lnTo>
                    <a:pt x="576" y="1006"/>
                  </a:lnTo>
                  <a:lnTo>
                    <a:pt x="582" y="1044"/>
                  </a:lnTo>
                  <a:lnTo>
                    <a:pt x="598" y="1082"/>
                  </a:lnTo>
                  <a:lnTo>
                    <a:pt x="624" y="1116"/>
                  </a:lnTo>
                  <a:lnTo>
                    <a:pt x="658" y="1148"/>
                  </a:lnTo>
                  <a:lnTo>
                    <a:pt x="724" y="1196"/>
                  </a:lnTo>
                  <a:lnTo>
                    <a:pt x="795" y="1236"/>
                  </a:lnTo>
                  <a:lnTo>
                    <a:pt x="871" y="1267"/>
                  </a:lnTo>
                  <a:lnTo>
                    <a:pt x="971" y="1309"/>
                  </a:lnTo>
                  <a:lnTo>
                    <a:pt x="1069" y="1351"/>
                  </a:lnTo>
                  <a:lnTo>
                    <a:pt x="1166" y="1395"/>
                  </a:lnTo>
                  <a:lnTo>
                    <a:pt x="1260" y="1445"/>
                  </a:lnTo>
                  <a:lnTo>
                    <a:pt x="1336" y="1493"/>
                  </a:lnTo>
                  <a:lnTo>
                    <a:pt x="1404" y="1547"/>
                  </a:lnTo>
                  <a:lnTo>
                    <a:pt x="1464" y="1606"/>
                  </a:lnTo>
                  <a:lnTo>
                    <a:pt x="1515" y="1672"/>
                  </a:lnTo>
                  <a:lnTo>
                    <a:pt x="1559" y="1742"/>
                  </a:lnTo>
                  <a:lnTo>
                    <a:pt x="1593" y="1814"/>
                  </a:lnTo>
                  <a:lnTo>
                    <a:pt x="1619" y="1891"/>
                  </a:lnTo>
                  <a:lnTo>
                    <a:pt x="1635" y="1969"/>
                  </a:lnTo>
                  <a:lnTo>
                    <a:pt x="1643" y="2049"/>
                  </a:lnTo>
                  <a:lnTo>
                    <a:pt x="1641" y="2127"/>
                  </a:lnTo>
                  <a:lnTo>
                    <a:pt x="1631" y="2206"/>
                  </a:lnTo>
                  <a:lnTo>
                    <a:pt x="1611" y="2284"/>
                  </a:lnTo>
                  <a:lnTo>
                    <a:pt x="1579" y="2362"/>
                  </a:lnTo>
                  <a:lnTo>
                    <a:pt x="1539" y="2436"/>
                  </a:lnTo>
                  <a:lnTo>
                    <a:pt x="1489" y="2505"/>
                  </a:lnTo>
                  <a:lnTo>
                    <a:pt x="1438" y="2563"/>
                  </a:lnTo>
                  <a:lnTo>
                    <a:pt x="1380" y="2615"/>
                  </a:lnTo>
                  <a:lnTo>
                    <a:pt x="1316" y="2661"/>
                  </a:lnTo>
                  <a:lnTo>
                    <a:pt x="1250" y="2699"/>
                  </a:lnTo>
                  <a:lnTo>
                    <a:pt x="1178" y="2729"/>
                  </a:lnTo>
                  <a:lnTo>
                    <a:pt x="1102" y="2754"/>
                  </a:lnTo>
                  <a:lnTo>
                    <a:pt x="1073" y="2764"/>
                  </a:lnTo>
                  <a:lnTo>
                    <a:pt x="1049" y="2778"/>
                  </a:lnTo>
                  <a:lnTo>
                    <a:pt x="1029" y="2796"/>
                  </a:lnTo>
                  <a:lnTo>
                    <a:pt x="1017" y="2818"/>
                  </a:lnTo>
                  <a:lnTo>
                    <a:pt x="1011" y="2844"/>
                  </a:lnTo>
                  <a:lnTo>
                    <a:pt x="1009" y="2876"/>
                  </a:lnTo>
                  <a:lnTo>
                    <a:pt x="1011" y="2980"/>
                  </a:lnTo>
                  <a:lnTo>
                    <a:pt x="1009" y="3081"/>
                  </a:lnTo>
                  <a:lnTo>
                    <a:pt x="1005" y="3115"/>
                  </a:lnTo>
                  <a:lnTo>
                    <a:pt x="993" y="3143"/>
                  </a:lnTo>
                  <a:lnTo>
                    <a:pt x="975" y="3161"/>
                  </a:lnTo>
                  <a:lnTo>
                    <a:pt x="949" y="3173"/>
                  </a:lnTo>
                  <a:lnTo>
                    <a:pt x="917" y="3177"/>
                  </a:lnTo>
                  <a:lnTo>
                    <a:pt x="805" y="3179"/>
                  </a:lnTo>
                  <a:lnTo>
                    <a:pt x="696" y="3177"/>
                  </a:lnTo>
                  <a:lnTo>
                    <a:pt x="666" y="3175"/>
                  </a:lnTo>
                  <a:lnTo>
                    <a:pt x="642" y="3165"/>
                  </a:lnTo>
                  <a:lnTo>
                    <a:pt x="624" y="3151"/>
                  </a:lnTo>
                  <a:lnTo>
                    <a:pt x="610" y="3131"/>
                  </a:lnTo>
                  <a:lnTo>
                    <a:pt x="602" y="3105"/>
                  </a:lnTo>
                  <a:lnTo>
                    <a:pt x="600" y="3077"/>
                  </a:lnTo>
                  <a:lnTo>
                    <a:pt x="598" y="2926"/>
                  </a:lnTo>
                  <a:lnTo>
                    <a:pt x="596" y="2886"/>
                  </a:lnTo>
                  <a:lnTo>
                    <a:pt x="594" y="2854"/>
                  </a:lnTo>
                  <a:lnTo>
                    <a:pt x="588" y="2832"/>
                  </a:lnTo>
                  <a:lnTo>
                    <a:pt x="574" y="2818"/>
                  </a:lnTo>
                  <a:lnTo>
                    <a:pt x="556" y="2808"/>
                  </a:lnTo>
                  <a:lnTo>
                    <a:pt x="526" y="2800"/>
                  </a:lnTo>
                  <a:lnTo>
                    <a:pt x="486" y="2794"/>
                  </a:lnTo>
                  <a:lnTo>
                    <a:pt x="386" y="2776"/>
                  </a:lnTo>
                  <a:lnTo>
                    <a:pt x="287" y="2752"/>
                  </a:lnTo>
                  <a:lnTo>
                    <a:pt x="189" y="2721"/>
                  </a:lnTo>
                  <a:lnTo>
                    <a:pt x="93" y="2681"/>
                  </a:lnTo>
                  <a:lnTo>
                    <a:pt x="57" y="2661"/>
                  </a:lnTo>
                  <a:lnTo>
                    <a:pt x="29" y="2643"/>
                  </a:lnTo>
                  <a:lnTo>
                    <a:pt x="12" y="2625"/>
                  </a:lnTo>
                  <a:lnTo>
                    <a:pt x="2" y="2603"/>
                  </a:lnTo>
                  <a:lnTo>
                    <a:pt x="0" y="2577"/>
                  </a:lnTo>
                  <a:lnTo>
                    <a:pt x="4" y="2545"/>
                  </a:lnTo>
                  <a:lnTo>
                    <a:pt x="14" y="2507"/>
                  </a:lnTo>
                  <a:lnTo>
                    <a:pt x="43" y="2392"/>
                  </a:lnTo>
                  <a:lnTo>
                    <a:pt x="77" y="2278"/>
                  </a:lnTo>
                  <a:lnTo>
                    <a:pt x="89" y="2244"/>
                  </a:lnTo>
                  <a:lnTo>
                    <a:pt x="101" y="2220"/>
                  </a:lnTo>
                  <a:lnTo>
                    <a:pt x="115" y="2206"/>
                  </a:lnTo>
                  <a:lnTo>
                    <a:pt x="133" y="2198"/>
                  </a:lnTo>
                  <a:lnTo>
                    <a:pt x="153" y="2198"/>
                  </a:lnTo>
                  <a:lnTo>
                    <a:pt x="177" y="2206"/>
                  </a:lnTo>
                  <a:lnTo>
                    <a:pt x="209" y="2220"/>
                  </a:lnTo>
                  <a:lnTo>
                    <a:pt x="315" y="2270"/>
                  </a:lnTo>
                  <a:lnTo>
                    <a:pt x="422" y="2306"/>
                  </a:lnTo>
                  <a:lnTo>
                    <a:pt x="532" y="2334"/>
                  </a:lnTo>
                  <a:lnTo>
                    <a:pt x="646" y="2352"/>
                  </a:lnTo>
                  <a:lnTo>
                    <a:pt x="720" y="2358"/>
                  </a:lnTo>
                  <a:lnTo>
                    <a:pt x="791" y="2354"/>
                  </a:lnTo>
                  <a:lnTo>
                    <a:pt x="863" y="2340"/>
                  </a:lnTo>
                  <a:lnTo>
                    <a:pt x="933" y="2314"/>
                  </a:lnTo>
                  <a:lnTo>
                    <a:pt x="975" y="2292"/>
                  </a:lnTo>
                  <a:lnTo>
                    <a:pt x="1011" y="2262"/>
                  </a:lnTo>
                  <a:lnTo>
                    <a:pt x="1041" y="2230"/>
                  </a:lnTo>
                  <a:lnTo>
                    <a:pt x="1061" y="2194"/>
                  </a:lnTo>
                  <a:lnTo>
                    <a:pt x="1075" y="2156"/>
                  </a:lnTo>
                  <a:lnTo>
                    <a:pt x="1079" y="2117"/>
                  </a:lnTo>
                  <a:lnTo>
                    <a:pt x="1077" y="2075"/>
                  </a:lnTo>
                  <a:lnTo>
                    <a:pt x="1067" y="2035"/>
                  </a:lnTo>
                  <a:lnTo>
                    <a:pt x="1049" y="1995"/>
                  </a:lnTo>
                  <a:lnTo>
                    <a:pt x="1021" y="1957"/>
                  </a:lnTo>
                  <a:lnTo>
                    <a:pt x="985" y="1923"/>
                  </a:lnTo>
                  <a:lnTo>
                    <a:pt x="933" y="1887"/>
                  </a:lnTo>
                  <a:lnTo>
                    <a:pt x="879" y="1855"/>
                  </a:lnTo>
                  <a:lnTo>
                    <a:pt x="821" y="1828"/>
                  </a:lnTo>
                  <a:lnTo>
                    <a:pt x="732" y="1790"/>
                  </a:lnTo>
                  <a:lnTo>
                    <a:pt x="640" y="1754"/>
                  </a:lnTo>
                  <a:lnTo>
                    <a:pt x="550" y="1716"/>
                  </a:lnTo>
                  <a:lnTo>
                    <a:pt x="460" y="1676"/>
                  </a:lnTo>
                  <a:lnTo>
                    <a:pt x="375" y="1628"/>
                  </a:lnTo>
                  <a:lnTo>
                    <a:pt x="309" y="1584"/>
                  </a:lnTo>
                  <a:lnTo>
                    <a:pt x="247" y="1539"/>
                  </a:lnTo>
                  <a:lnTo>
                    <a:pt x="193" y="1491"/>
                  </a:lnTo>
                  <a:lnTo>
                    <a:pt x="143" y="1437"/>
                  </a:lnTo>
                  <a:lnTo>
                    <a:pt x="103" y="1379"/>
                  </a:lnTo>
                  <a:lnTo>
                    <a:pt x="69" y="1317"/>
                  </a:lnTo>
                  <a:lnTo>
                    <a:pt x="41" y="1251"/>
                  </a:lnTo>
                  <a:lnTo>
                    <a:pt x="25" y="1180"/>
                  </a:lnTo>
                  <a:lnTo>
                    <a:pt x="15" y="1104"/>
                  </a:lnTo>
                  <a:lnTo>
                    <a:pt x="15" y="1024"/>
                  </a:lnTo>
                  <a:lnTo>
                    <a:pt x="25" y="941"/>
                  </a:lnTo>
                  <a:lnTo>
                    <a:pt x="41" y="863"/>
                  </a:lnTo>
                  <a:lnTo>
                    <a:pt x="65" y="791"/>
                  </a:lnTo>
                  <a:lnTo>
                    <a:pt x="97" y="725"/>
                  </a:lnTo>
                  <a:lnTo>
                    <a:pt x="137" y="663"/>
                  </a:lnTo>
                  <a:lnTo>
                    <a:pt x="181" y="610"/>
                  </a:lnTo>
                  <a:lnTo>
                    <a:pt x="233" y="558"/>
                  </a:lnTo>
                  <a:lnTo>
                    <a:pt x="293" y="514"/>
                  </a:lnTo>
                  <a:lnTo>
                    <a:pt x="357" y="472"/>
                  </a:lnTo>
                  <a:lnTo>
                    <a:pt x="426" y="436"/>
                  </a:lnTo>
                  <a:lnTo>
                    <a:pt x="502" y="406"/>
                  </a:lnTo>
                  <a:lnTo>
                    <a:pt x="542" y="392"/>
                  </a:lnTo>
                  <a:lnTo>
                    <a:pt x="572" y="378"/>
                  </a:lnTo>
                  <a:lnTo>
                    <a:pt x="594" y="366"/>
                  </a:lnTo>
                  <a:lnTo>
                    <a:pt x="608" y="353"/>
                  </a:lnTo>
                  <a:lnTo>
                    <a:pt x="616" y="337"/>
                  </a:lnTo>
                  <a:lnTo>
                    <a:pt x="622" y="313"/>
                  </a:lnTo>
                  <a:lnTo>
                    <a:pt x="624" y="281"/>
                  </a:lnTo>
                  <a:lnTo>
                    <a:pt x="624" y="241"/>
                  </a:lnTo>
                  <a:lnTo>
                    <a:pt x="622" y="175"/>
                  </a:lnTo>
                  <a:lnTo>
                    <a:pt x="624" y="113"/>
                  </a:lnTo>
                  <a:lnTo>
                    <a:pt x="626" y="71"/>
                  </a:lnTo>
                  <a:lnTo>
                    <a:pt x="632" y="44"/>
                  </a:lnTo>
                  <a:lnTo>
                    <a:pt x="646" y="24"/>
                  </a:lnTo>
                  <a:lnTo>
                    <a:pt x="666" y="10"/>
                  </a:lnTo>
                  <a:lnTo>
                    <a:pt x="696" y="4"/>
                  </a:lnTo>
                  <a:lnTo>
                    <a:pt x="736" y="2"/>
                  </a:lnTo>
                  <a:lnTo>
                    <a:pt x="7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28" name="Group 37"/>
          <p:cNvGrpSpPr>
            <a:grpSpLocks noChangeAspect="1"/>
          </p:cNvGrpSpPr>
          <p:nvPr/>
        </p:nvGrpSpPr>
        <p:grpSpPr bwMode="auto">
          <a:xfrm>
            <a:off x="5701741" y="4994183"/>
            <a:ext cx="460927" cy="460786"/>
            <a:chOff x="1238" y="519"/>
            <a:chExt cx="3279" cy="3278"/>
          </a:xfrm>
          <a:solidFill>
            <a:schemeClr val="bg1"/>
          </a:solidFill>
        </p:grpSpPr>
        <p:sp>
          <p:nvSpPr>
            <p:cNvPr id="131" name="Freeform 39"/>
            <p:cNvSpPr>
              <a:spLocks/>
            </p:cNvSpPr>
            <p:nvPr/>
          </p:nvSpPr>
          <p:spPr bwMode="auto">
            <a:xfrm>
              <a:off x="1729" y="519"/>
              <a:ext cx="2788" cy="1693"/>
            </a:xfrm>
            <a:custGeom>
              <a:avLst/>
              <a:gdLst>
                <a:gd name="T0" fmla="*/ 144 w 5577"/>
                <a:gd name="T1" fmla="*/ 6 h 3387"/>
                <a:gd name="T2" fmla="*/ 198 w 5577"/>
                <a:gd name="T3" fmla="*/ 46 h 3387"/>
                <a:gd name="T4" fmla="*/ 220 w 5577"/>
                <a:gd name="T5" fmla="*/ 110 h 3387"/>
                <a:gd name="T6" fmla="*/ 369 w 5577"/>
                <a:gd name="T7" fmla="*/ 628 h 3387"/>
                <a:gd name="T8" fmla="*/ 684 w 5577"/>
                <a:gd name="T9" fmla="*/ 425 h 3387"/>
                <a:gd name="T10" fmla="*/ 1018 w 5577"/>
                <a:gd name="T11" fmla="*/ 259 h 3387"/>
                <a:gd name="T12" fmla="*/ 1369 w 5577"/>
                <a:gd name="T13" fmla="*/ 134 h 3387"/>
                <a:gd name="T14" fmla="*/ 1732 w 5577"/>
                <a:gd name="T15" fmla="*/ 50 h 3387"/>
                <a:gd name="T16" fmla="*/ 2107 w 5577"/>
                <a:gd name="T17" fmla="*/ 6 h 3387"/>
                <a:gd name="T18" fmla="*/ 2495 w 5577"/>
                <a:gd name="T19" fmla="*/ 6 h 3387"/>
                <a:gd name="T20" fmla="*/ 2886 w 5577"/>
                <a:gd name="T21" fmla="*/ 54 h 3387"/>
                <a:gd name="T22" fmla="*/ 3259 w 5577"/>
                <a:gd name="T23" fmla="*/ 143 h 3387"/>
                <a:gd name="T24" fmla="*/ 3616 w 5577"/>
                <a:gd name="T25" fmla="*/ 277 h 3387"/>
                <a:gd name="T26" fmla="*/ 3951 w 5577"/>
                <a:gd name="T27" fmla="*/ 448 h 3387"/>
                <a:gd name="T28" fmla="*/ 4263 w 5577"/>
                <a:gd name="T29" fmla="*/ 656 h 3387"/>
                <a:gd name="T30" fmla="*/ 4548 w 5577"/>
                <a:gd name="T31" fmla="*/ 897 h 3387"/>
                <a:gd name="T32" fmla="*/ 4805 w 5577"/>
                <a:gd name="T33" fmla="*/ 1168 h 3387"/>
                <a:gd name="T34" fmla="*/ 5029 w 5577"/>
                <a:gd name="T35" fmla="*/ 1467 h 3387"/>
                <a:gd name="T36" fmla="*/ 5218 w 5577"/>
                <a:gd name="T37" fmla="*/ 1790 h 3387"/>
                <a:gd name="T38" fmla="*/ 5372 w 5577"/>
                <a:gd name="T39" fmla="*/ 2135 h 3387"/>
                <a:gd name="T40" fmla="*/ 5483 w 5577"/>
                <a:gd name="T41" fmla="*/ 2502 h 3387"/>
                <a:gd name="T42" fmla="*/ 5553 w 5577"/>
                <a:gd name="T43" fmla="*/ 2882 h 3387"/>
                <a:gd name="T44" fmla="*/ 5577 w 5577"/>
                <a:gd name="T45" fmla="*/ 3279 h 3387"/>
                <a:gd name="T46" fmla="*/ 5555 w 5577"/>
                <a:gd name="T47" fmla="*/ 3343 h 3387"/>
                <a:gd name="T48" fmla="*/ 5501 w 5577"/>
                <a:gd name="T49" fmla="*/ 3383 h 3387"/>
                <a:gd name="T50" fmla="*/ 5433 w 5577"/>
                <a:gd name="T51" fmla="*/ 3383 h 3387"/>
                <a:gd name="T52" fmla="*/ 5380 w 5577"/>
                <a:gd name="T53" fmla="*/ 3343 h 3387"/>
                <a:gd name="T54" fmla="*/ 5358 w 5577"/>
                <a:gd name="T55" fmla="*/ 3279 h 3387"/>
                <a:gd name="T56" fmla="*/ 5334 w 5577"/>
                <a:gd name="T57" fmla="*/ 2894 h 3387"/>
                <a:gd name="T58" fmla="*/ 5264 w 5577"/>
                <a:gd name="T59" fmla="*/ 2526 h 3387"/>
                <a:gd name="T60" fmla="*/ 5152 w 5577"/>
                <a:gd name="T61" fmla="*/ 2173 h 3387"/>
                <a:gd name="T62" fmla="*/ 4999 w 5577"/>
                <a:gd name="T63" fmla="*/ 1842 h 3387"/>
                <a:gd name="T64" fmla="*/ 4809 w 5577"/>
                <a:gd name="T65" fmla="*/ 1531 h 3387"/>
                <a:gd name="T66" fmla="*/ 4584 w 5577"/>
                <a:gd name="T67" fmla="*/ 1248 h 3387"/>
                <a:gd name="T68" fmla="*/ 4328 w 5577"/>
                <a:gd name="T69" fmla="*/ 993 h 3387"/>
                <a:gd name="T70" fmla="*/ 4045 w 5577"/>
                <a:gd name="T71" fmla="*/ 767 h 3387"/>
                <a:gd name="T72" fmla="*/ 3734 w 5577"/>
                <a:gd name="T73" fmla="*/ 578 h 3387"/>
                <a:gd name="T74" fmla="*/ 3401 w 5577"/>
                <a:gd name="T75" fmla="*/ 425 h 3387"/>
                <a:gd name="T76" fmla="*/ 3050 w 5577"/>
                <a:gd name="T77" fmla="*/ 313 h 3387"/>
                <a:gd name="T78" fmla="*/ 2681 w 5577"/>
                <a:gd name="T79" fmla="*/ 243 h 3387"/>
                <a:gd name="T80" fmla="*/ 2296 w 5577"/>
                <a:gd name="T81" fmla="*/ 219 h 3387"/>
                <a:gd name="T82" fmla="*/ 1923 w 5577"/>
                <a:gd name="T83" fmla="*/ 241 h 3387"/>
                <a:gd name="T84" fmla="*/ 1558 w 5577"/>
                <a:gd name="T85" fmla="*/ 309 h 3387"/>
                <a:gd name="T86" fmla="*/ 1207 w 5577"/>
                <a:gd name="T87" fmla="*/ 419 h 3387"/>
                <a:gd name="T88" fmla="*/ 872 w 5577"/>
                <a:gd name="T89" fmla="*/ 570 h 3387"/>
                <a:gd name="T90" fmla="*/ 555 w 5577"/>
                <a:gd name="T91" fmla="*/ 763 h 3387"/>
                <a:gd name="T92" fmla="*/ 986 w 5577"/>
                <a:gd name="T93" fmla="*/ 875 h 3387"/>
                <a:gd name="T94" fmla="*/ 1049 w 5577"/>
                <a:gd name="T95" fmla="*/ 895 h 3387"/>
                <a:gd name="T96" fmla="*/ 1089 w 5577"/>
                <a:gd name="T97" fmla="*/ 949 h 3387"/>
                <a:gd name="T98" fmla="*/ 1089 w 5577"/>
                <a:gd name="T99" fmla="*/ 1019 h 3387"/>
                <a:gd name="T100" fmla="*/ 1049 w 5577"/>
                <a:gd name="T101" fmla="*/ 1072 h 3387"/>
                <a:gd name="T102" fmla="*/ 986 w 5577"/>
                <a:gd name="T103" fmla="*/ 1092 h 3387"/>
                <a:gd name="T104" fmla="*/ 58 w 5577"/>
                <a:gd name="T105" fmla="*/ 1088 h 3387"/>
                <a:gd name="T106" fmla="*/ 16 w 5577"/>
                <a:gd name="T107" fmla="*/ 1058 h 3387"/>
                <a:gd name="T108" fmla="*/ 0 w 5577"/>
                <a:gd name="T109" fmla="*/ 1011 h 3387"/>
                <a:gd name="T110" fmla="*/ 6 w 5577"/>
                <a:gd name="T111" fmla="*/ 76 h 3387"/>
                <a:gd name="T112" fmla="*/ 46 w 5577"/>
                <a:gd name="T113" fmla="*/ 22 h 3387"/>
                <a:gd name="T114" fmla="*/ 110 w 5577"/>
                <a:gd name="T115" fmla="*/ 0 h 3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77" h="3387">
                  <a:moveTo>
                    <a:pt x="110" y="0"/>
                  </a:moveTo>
                  <a:lnTo>
                    <a:pt x="144" y="6"/>
                  </a:lnTo>
                  <a:lnTo>
                    <a:pt x="174" y="22"/>
                  </a:lnTo>
                  <a:lnTo>
                    <a:pt x="198" y="46"/>
                  </a:lnTo>
                  <a:lnTo>
                    <a:pt x="214" y="76"/>
                  </a:lnTo>
                  <a:lnTo>
                    <a:pt x="220" y="110"/>
                  </a:lnTo>
                  <a:lnTo>
                    <a:pt x="220" y="743"/>
                  </a:lnTo>
                  <a:lnTo>
                    <a:pt x="369" y="628"/>
                  </a:lnTo>
                  <a:lnTo>
                    <a:pt x="523" y="522"/>
                  </a:lnTo>
                  <a:lnTo>
                    <a:pt x="684" y="425"/>
                  </a:lnTo>
                  <a:lnTo>
                    <a:pt x="848" y="337"/>
                  </a:lnTo>
                  <a:lnTo>
                    <a:pt x="1018" y="259"/>
                  </a:lnTo>
                  <a:lnTo>
                    <a:pt x="1191" y="191"/>
                  </a:lnTo>
                  <a:lnTo>
                    <a:pt x="1369" y="134"/>
                  </a:lnTo>
                  <a:lnTo>
                    <a:pt x="1550" y="86"/>
                  </a:lnTo>
                  <a:lnTo>
                    <a:pt x="1732" y="50"/>
                  </a:lnTo>
                  <a:lnTo>
                    <a:pt x="1919" y="22"/>
                  </a:lnTo>
                  <a:lnTo>
                    <a:pt x="2107" y="6"/>
                  </a:lnTo>
                  <a:lnTo>
                    <a:pt x="2296" y="0"/>
                  </a:lnTo>
                  <a:lnTo>
                    <a:pt x="2495" y="6"/>
                  </a:lnTo>
                  <a:lnTo>
                    <a:pt x="2693" y="24"/>
                  </a:lnTo>
                  <a:lnTo>
                    <a:pt x="2886" y="54"/>
                  </a:lnTo>
                  <a:lnTo>
                    <a:pt x="3074" y="94"/>
                  </a:lnTo>
                  <a:lnTo>
                    <a:pt x="3259" y="143"/>
                  </a:lnTo>
                  <a:lnTo>
                    <a:pt x="3441" y="205"/>
                  </a:lnTo>
                  <a:lnTo>
                    <a:pt x="3616" y="277"/>
                  </a:lnTo>
                  <a:lnTo>
                    <a:pt x="3786" y="359"/>
                  </a:lnTo>
                  <a:lnTo>
                    <a:pt x="3951" y="448"/>
                  </a:lnTo>
                  <a:lnTo>
                    <a:pt x="4109" y="548"/>
                  </a:lnTo>
                  <a:lnTo>
                    <a:pt x="4263" y="656"/>
                  </a:lnTo>
                  <a:lnTo>
                    <a:pt x="4408" y="771"/>
                  </a:lnTo>
                  <a:lnTo>
                    <a:pt x="4548" y="897"/>
                  </a:lnTo>
                  <a:lnTo>
                    <a:pt x="4679" y="1029"/>
                  </a:lnTo>
                  <a:lnTo>
                    <a:pt x="4805" y="1168"/>
                  </a:lnTo>
                  <a:lnTo>
                    <a:pt x="4921" y="1314"/>
                  </a:lnTo>
                  <a:lnTo>
                    <a:pt x="5029" y="1467"/>
                  </a:lnTo>
                  <a:lnTo>
                    <a:pt x="5128" y="1625"/>
                  </a:lnTo>
                  <a:lnTo>
                    <a:pt x="5218" y="1790"/>
                  </a:lnTo>
                  <a:lnTo>
                    <a:pt x="5300" y="1959"/>
                  </a:lnTo>
                  <a:lnTo>
                    <a:pt x="5372" y="2135"/>
                  </a:lnTo>
                  <a:lnTo>
                    <a:pt x="5431" y="2316"/>
                  </a:lnTo>
                  <a:lnTo>
                    <a:pt x="5483" y="2502"/>
                  </a:lnTo>
                  <a:lnTo>
                    <a:pt x="5523" y="2689"/>
                  </a:lnTo>
                  <a:lnTo>
                    <a:pt x="5553" y="2882"/>
                  </a:lnTo>
                  <a:lnTo>
                    <a:pt x="5571" y="3080"/>
                  </a:lnTo>
                  <a:lnTo>
                    <a:pt x="5577" y="3279"/>
                  </a:lnTo>
                  <a:lnTo>
                    <a:pt x="5571" y="3313"/>
                  </a:lnTo>
                  <a:lnTo>
                    <a:pt x="5555" y="3343"/>
                  </a:lnTo>
                  <a:lnTo>
                    <a:pt x="5531" y="3367"/>
                  </a:lnTo>
                  <a:lnTo>
                    <a:pt x="5501" y="3383"/>
                  </a:lnTo>
                  <a:lnTo>
                    <a:pt x="5467" y="3387"/>
                  </a:lnTo>
                  <a:lnTo>
                    <a:pt x="5433" y="3383"/>
                  </a:lnTo>
                  <a:lnTo>
                    <a:pt x="5403" y="3367"/>
                  </a:lnTo>
                  <a:lnTo>
                    <a:pt x="5380" y="3343"/>
                  </a:lnTo>
                  <a:lnTo>
                    <a:pt x="5364" y="3313"/>
                  </a:lnTo>
                  <a:lnTo>
                    <a:pt x="5358" y="3279"/>
                  </a:lnTo>
                  <a:lnTo>
                    <a:pt x="5352" y="3086"/>
                  </a:lnTo>
                  <a:lnTo>
                    <a:pt x="5334" y="2894"/>
                  </a:lnTo>
                  <a:lnTo>
                    <a:pt x="5304" y="2709"/>
                  </a:lnTo>
                  <a:lnTo>
                    <a:pt x="5264" y="2526"/>
                  </a:lnTo>
                  <a:lnTo>
                    <a:pt x="5212" y="2348"/>
                  </a:lnTo>
                  <a:lnTo>
                    <a:pt x="5152" y="2173"/>
                  </a:lnTo>
                  <a:lnTo>
                    <a:pt x="5080" y="2005"/>
                  </a:lnTo>
                  <a:lnTo>
                    <a:pt x="4999" y="1842"/>
                  </a:lnTo>
                  <a:lnTo>
                    <a:pt x="4909" y="1684"/>
                  </a:lnTo>
                  <a:lnTo>
                    <a:pt x="4809" y="1531"/>
                  </a:lnTo>
                  <a:lnTo>
                    <a:pt x="4701" y="1385"/>
                  </a:lnTo>
                  <a:lnTo>
                    <a:pt x="4584" y="1248"/>
                  </a:lnTo>
                  <a:lnTo>
                    <a:pt x="4460" y="1116"/>
                  </a:lnTo>
                  <a:lnTo>
                    <a:pt x="4328" y="993"/>
                  </a:lnTo>
                  <a:lnTo>
                    <a:pt x="4191" y="875"/>
                  </a:lnTo>
                  <a:lnTo>
                    <a:pt x="4045" y="767"/>
                  </a:lnTo>
                  <a:lnTo>
                    <a:pt x="3892" y="668"/>
                  </a:lnTo>
                  <a:lnTo>
                    <a:pt x="3734" y="578"/>
                  </a:lnTo>
                  <a:lnTo>
                    <a:pt x="3571" y="496"/>
                  </a:lnTo>
                  <a:lnTo>
                    <a:pt x="3401" y="425"/>
                  </a:lnTo>
                  <a:lnTo>
                    <a:pt x="3227" y="363"/>
                  </a:lnTo>
                  <a:lnTo>
                    <a:pt x="3050" y="313"/>
                  </a:lnTo>
                  <a:lnTo>
                    <a:pt x="2866" y="273"/>
                  </a:lnTo>
                  <a:lnTo>
                    <a:pt x="2681" y="243"/>
                  </a:lnTo>
                  <a:lnTo>
                    <a:pt x="2489" y="225"/>
                  </a:lnTo>
                  <a:lnTo>
                    <a:pt x="2296" y="219"/>
                  </a:lnTo>
                  <a:lnTo>
                    <a:pt x="2109" y="225"/>
                  </a:lnTo>
                  <a:lnTo>
                    <a:pt x="1923" y="241"/>
                  </a:lnTo>
                  <a:lnTo>
                    <a:pt x="1740" y="269"/>
                  </a:lnTo>
                  <a:lnTo>
                    <a:pt x="1558" y="309"/>
                  </a:lnTo>
                  <a:lnTo>
                    <a:pt x="1381" y="359"/>
                  </a:lnTo>
                  <a:lnTo>
                    <a:pt x="1207" y="419"/>
                  </a:lnTo>
                  <a:lnTo>
                    <a:pt x="1037" y="490"/>
                  </a:lnTo>
                  <a:lnTo>
                    <a:pt x="872" y="570"/>
                  </a:lnTo>
                  <a:lnTo>
                    <a:pt x="710" y="662"/>
                  </a:lnTo>
                  <a:lnTo>
                    <a:pt x="555" y="763"/>
                  </a:lnTo>
                  <a:lnTo>
                    <a:pt x="405" y="875"/>
                  </a:lnTo>
                  <a:lnTo>
                    <a:pt x="986" y="875"/>
                  </a:lnTo>
                  <a:lnTo>
                    <a:pt x="1020" y="881"/>
                  </a:lnTo>
                  <a:lnTo>
                    <a:pt x="1049" y="895"/>
                  </a:lnTo>
                  <a:lnTo>
                    <a:pt x="1073" y="919"/>
                  </a:lnTo>
                  <a:lnTo>
                    <a:pt x="1089" y="949"/>
                  </a:lnTo>
                  <a:lnTo>
                    <a:pt x="1093" y="985"/>
                  </a:lnTo>
                  <a:lnTo>
                    <a:pt x="1089" y="1019"/>
                  </a:lnTo>
                  <a:lnTo>
                    <a:pt x="1073" y="1048"/>
                  </a:lnTo>
                  <a:lnTo>
                    <a:pt x="1049" y="1072"/>
                  </a:lnTo>
                  <a:lnTo>
                    <a:pt x="1020" y="1088"/>
                  </a:lnTo>
                  <a:lnTo>
                    <a:pt x="986" y="1092"/>
                  </a:lnTo>
                  <a:lnTo>
                    <a:pt x="84" y="1092"/>
                  </a:lnTo>
                  <a:lnTo>
                    <a:pt x="58" y="1088"/>
                  </a:lnTo>
                  <a:lnTo>
                    <a:pt x="34" y="1076"/>
                  </a:lnTo>
                  <a:lnTo>
                    <a:pt x="16" y="1058"/>
                  </a:lnTo>
                  <a:lnTo>
                    <a:pt x="4" y="1037"/>
                  </a:lnTo>
                  <a:lnTo>
                    <a:pt x="0" y="1011"/>
                  </a:lnTo>
                  <a:lnTo>
                    <a:pt x="0" y="110"/>
                  </a:lnTo>
                  <a:lnTo>
                    <a:pt x="6" y="76"/>
                  </a:lnTo>
                  <a:lnTo>
                    <a:pt x="22" y="46"/>
                  </a:lnTo>
                  <a:lnTo>
                    <a:pt x="46" y="22"/>
                  </a:lnTo>
                  <a:lnTo>
                    <a:pt x="76" y="6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2" name="Freeform 40"/>
            <p:cNvSpPr>
              <a:spLocks/>
            </p:cNvSpPr>
            <p:nvPr/>
          </p:nvSpPr>
          <p:spPr bwMode="auto">
            <a:xfrm>
              <a:off x="2527" y="3660"/>
              <a:ext cx="108" cy="109"/>
            </a:xfrm>
            <a:custGeom>
              <a:avLst/>
              <a:gdLst>
                <a:gd name="T0" fmla="*/ 100 w 215"/>
                <a:gd name="T1" fmla="*/ 0 h 217"/>
                <a:gd name="T2" fmla="*/ 128 w 215"/>
                <a:gd name="T3" fmla="*/ 0 h 217"/>
                <a:gd name="T4" fmla="*/ 161 w 215"/>
                <a:gd name="T5" fmla="*/ 14 h 217"/>
                <a:gd name="T6" fmla="*/ 187 w 215"/>
                <a:gd name="T7" fmla="*/ 34 h 217"/>
                <a:gd name="T8" fmla="*/ 207 w 215"/>
                <a:gd name="T9" fmla="*/ 62 h 217"/>
                <a:gd name="T10" fmla="*/ 215 w 215"/>
                <a:gd name="T11" fmla="*/ 94 h 217"/>
                <a:gd name="T12" fmla="*/ 215 w 215"/>
                <a:gd name="T13" fmla="*/ 130 h 217"/>
                <a:gd name="T14" fmla="*/ 205 w 215"/>
                <a:gd name="T15" fmla="*/ 157 h 217"/>
                <a:gd name="T16" fmla="*/ 187 w 215"/>
                <a:gd name="T17" fmla="*/ 183 h 217"/>
                <a:gd name="T18" fmla="*/ 165 w 215"/>
                <a:gd name="T19" fmla="*/ 201 h 217"/>
                <a:gd name="T20" fmla="*/ 138 w 215"/>
                <a:gd name="T21" fmla="*/ 213 h 217"/>
                <a:gd name="T22" fmla="*/ 108 w 215"/>
                <a:gd name="T23" fmla="*/ 217 h 217"/>
                <a:gd name="T24" fmla="*/ 98 w 215"/>
                <a:gd name="T25" fmla="*/ 217 h 217"/>
                <a:gd name="T26" fmla="*/ 88 w 215"/>
                <a:gd name="T27" fmla="*/ 217 h 217"/>
                <a:gd name="T28" fmla="*/ 54 w 215"/>
                <a:gd name="T29" fmla="*/ 203 h 217"/>
                <a:gd name="T30" fmla="*/ 28 w 215"/>
                <a:gd name="T31" fmla="*/ 183 h 217"/>
                <a:gd name="T32" fmla="*/ 8 w 215"/>
                <a:gd name="T33" fmla="*/ 155 h 217"/>
                <a:gd name="T34" fmla="*/ 0 w 215"/>
                <a:gd name="T35" fmla="*/ 124 h 217"/>
                <a:gd name="T36" fmla="*/ 0 w 215"/>
                <a:gd name="T37" fmla="*/ 88 h 217"/>
                <a:gd name="T38" fmla="*/ 10 w 215"/>
                <a:gd name="T39" fmla="*/ 60 h 217"/>
                <a:gd name="T40" fmla="*/ 26 w 215"/>
                <a:gd name="T41" fmla="*/ 38 h 217"/>
                <a:gd name="T42" fmla="*/ 46 w 215"/>
                <a:gd name="T43" fmla="*/ 18 h 217"/>
                <a:gd name="T44" fmla="*/ 72 w 215"/>
                <a:gd name="T45" fmla="*/ 6 h 217"/>
                <a:gd name="T46" fmla="*/ 100 w 215"/>
                <a:gd name="T47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5" h="217">
                  <a:moveTo>
                    <a:pt x="100" y="0"/>
                  </a:moveTo>
                  <a:lnTo>
                    <a:pt x="128" y="0"/>
                  </a:lnTo>
                  <a:lnTo>
                    <a:pt x="161" y="14"/>
                  </a:lnTo>
                  <a:lnTo>
                    <a:pt x="187" y="34"/>
                  </a:lnTo>
                  <a:lnTo>
                    <a:pt x="207" y="62"/>
                  </a:lnTo>
                  <a:lnTo>
                    <a:pt x="215" y="94"/>
                  </a:lnTo>
                  <a:lnTo>
                    <a:pt x="215" y="130"/>
                  </a:lnTo>
                  <a:lnTo>
                    <a:pt x="205" y="157"/>
                  </a:lnTo>
                  <a:lnTo>
                    <a:pt x="187" y="183"/>
                  </a:lnTo>
                  <a:lnTo>
                    <a:pt x="165" y="201"/>
                  </a:lnTo>
                  <a:lnTo>
                    <a:pt x="138" y="213"/>
                  </a:lnTo>
                  <a:lnTo>
                    <a:pt x="108" y="217"/>
                  </a:lnTo>
                  <a:lnTo>
                    <a:pt x="98" y="217"/>
                  </a:lnTo>
                  <a:lnTo>
                    <a:pt x="88" y="217"/>
                  </a:lnTo>
                  <a:lnTo>
                    <a:pt x="54" y="203"/>
                  </a:lnTo>
                  <a:lnTo>
                    <a:pt x="28" y="183"/>
                  </a:lnTo>
                  <a:lnTo>
                    <a:pt x="8" y="155"/>
                  </a:lnTo>
                  <a:lnTo>
                    <a:pt x="0" y="124"/>
                  </a:lnTo>
                  <a:lnTo>
                    <a:pt x="0" y="88"/>
                  </a:lnTo>
                  <a:lnTo>
                    <a:pt x="10" y="60"/>
                  </a:lnTo>
                  <a:lnTo>
                    <a:pt x="26" y="38"/>
                  </a:lnTo>
                  <a:lnTo>
                    <a:pt x="46" y="18"/>
                  </a:lnTo>
                  <a:lnTo>
                    <a:pt x="72" y="6"/>
                  </a:lnTo>
                  <a:lnTo>
                    <a:pt x="1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3" name="Freeform 41"/>
            <p:cNvSpPr>
              <a:spLocks/>
            </p:cNvSpPr>
            <p:nvPr/>
          </p:nvSpPr>
          <p:spPr bwMode="auto">
            <a:xfrm>
              <a:off x="1677" y="3197"/>
              <a:ext cx="109" cy="110"/>
            </a:xfrm>
            <a:custGeom>
              <a:avLst/>
              <a:gdLst>
                <a:gd name="T0" fmla="*/ 111 w 217"/>
                <a:gd name="T1" fmla="*/ 0 h 219"/>
                <a:gd name="T2" fmla="*/ 137 w 217"/>
                <a:gd name="T3" fmla="*/ 4 h 219"/>
                <a:gd name="T4" fmla="*/ 163 w 217"/>
                <a:gd name="T5" fmla="*/ 16 h 219"/>
                <a:gd name="T6" fmla="*/ 187 w 217"/>
                <a:gd name="T7" fmla="*/ 34 h 219"/>
                <a:gd name="T8" fmla="*/ 205 w 217"/>
                <a:gd name="T9" fmla="*/ 58 h 219"/>
                <a:gd name="T10" fmla="*/ 215 w 217"/>
                <a:gd name="T11" fmla="*/ 84 h 219"/>
                <a:gd name="T12" fmla="*/ 217 w 217"/>
                <a:gd name="T13" fmla="*/ 112 h 219"/>
                <a:gd name="T14" fmla="*/ 213 w 217"/>
                <a:gd name="T15" fmla="*/ 140 h 219"/>
                <a:gd name="T16" fmla="*/ 201 w 217"/>
                <a:gd name="T17" fmla="*/ 166 h 219"/>
                <a:gd name="T18" fmla="*/ 183 w 217"/>
                <a:gd name="T19" fmla="*/ 189 h 219"/>
                <a:gd name="T20" fmla="*/ 161 w 217"/>
                <a:gd name="T21" fmla="*/ 205 h 219"/>
                <a:gd name="T22" fmla="*/ 135 w 217"/>
                <a:gd name="T23" fmla="*/ 215 h 219"/>
                <a:gd name="T24" fmla="*/ 107 w 217"/>
                <a:gd name="T25" fmla="*/ 219 h 219"/>
                <a:gd name="T26" fmla="*/ 79 w 217"/>
                <a:gd name="T27" fmla="*/ 215 h 219"/>
                <a:gd name="T28" fmla="*/ 53 w 217"/>
                <a:gd name="T29" fmla="*/ 203 h 219"/>
                <a:gd name="T30" fmla="*/ 30 w 217"/>
                <a:gd name="T31" fmla="*/ 185 h 219"/>
                <a:gd name="T32" fmla="*/ 12 w 217"/>
                <a:gd name="T33" fmla="*/ 162 h 219"/>
                <a:gd name="T34" fmla="*/ 2 w 217"/>
                <a:gd name="T35" fmla="*/ 136 h 219"/>
                <a:gd name="T36" fmla="*/ 0 w 217"/>
                <a:gd name="T37" fmla="*/ 108 h 219"/>
                <a:gd name="T38" fmla="*/ 4 w 217"/>
                <a:gd name="T39" fmla="*/ 80 h 219"/>
                <a:gd name="T40" fmla="*/ 14 w 217"/>
                <a:gd name="T41" fmla="*/ 54 h 219"/>
                <a:gd name="T42" fmla="*/ 34 w 217"/>
                <a:gd name="T43" fmla="*/ 30 h 219"/>
                <a:gd name="T44" fmla="*/ 57 w 217"/>
                <a:gd name="T45" fmla="*/ 14 h 219"/>
                <a:gd name="T46" fmla="*/ 83 w 217"/>
                <a:gd name="T47" fmla="*/ 4 h 219"/>
                <a:gd name="T48" fmla="*/ 111 w 217"/>
                <a:gd name="T49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7" h="219">
                  <a:moveTo>
                    <a:pt x="111" y="0"/>
                  </a:moveTo>
                  <a:lnTo>
                    <a:pt x="137" y="4"/>
                  </a:lnTo>
                  <a:lnTo>
                    <a:pt x="163" y="16"/>
                  </a:lnTo>
                  <a:lnTo>
                    <a:pt x="187" y="34"/>
                  </a:lnTo>
                  <a:lnTo>
                    <a:pt x="205" y="58"/>
                  </a:lnTo>
                  <a:lnTo>
                    <a:pt x="215" y="84"/>
                  </a:lnTo>
                  <a:lnTo>
                    <a:pt x="217" y="112"/>
                  </a:lnTo>
                  <a:lnTo>
                    <a:pt x="213" y="140"/>
                  </a:lnTo>
                  <a:lnTo>
                    <a:pt x="201" y="166"/>
                  </a:lnTo>
                  <a:lnTo>
                    <a:pt x="183" y="189"/>
                  </a:lnTo>
                  <a:lnTo>
                    <a:pt x="161" y="205"/>
                  </a:lnTo>
                  <a:lnTo>
                    <a:pt x="135" y="215"/>
                  </a:lnTo>
                  <a:lnTo>
                    <a:pt x="107" y="219"/>
                  </a:lnTo>
                  <a:lnTo>
                    <a:pt x="79" y="215"/>
                  </a:lnTo>
                  <a:lnTo>
                    <a:pt x="53" y="203"/>
                  </a:lnTo>
                  <a:lnTo>
                    <a:pt x="30" y="185"/>
                  </a:lnTo>
                  <a:lnTo>
                    <a:pt x="12" y="162"/>
                  </a:lnTo>
                  <a:lnTo>
                    <a:pt x="2" y="136"/>
                  </a:lnTo>
                  <a:lnTo>
                    <a:pt x="0" y="108"/>
                  </a:lnTo>
                  <a:lnTo>
                    <a:pt x="4" y="80"/>
                  </a:lnTo>
                  <a:lnTo>
                    <a:pt x="14" y="54"/>
                  </a:lnTo>
                  <a:lnTo>
                    <a:pt x="34" y="30"/>
                  </a:lnTo>
                  <a:lnTo>
                    <a:pt x="57" y="14"/>
                  </a:lnTo>
                  <a:lnTo>
                    <a:pt x="83" y="4"/>
                  </a:lnTo>
                  <a:lnTo>
                    <a:pt x="1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4" name="Freeform 42"/>
            <p:cNvSpPr>
              <a:spLocks/>
            </p:cNvSpPr>
            <p:nvPr/>
          </p:nvSpPr>
          <p:spPr bwMode="auto">
            <a:xfrm>
              <a:off x="1926" y="3409"/>
              <a:ext cx="109" cy="110"/>
            </a:xfrm>
            <a:custGeom>
              <a:avLst/>
              <a:gdLst>
                <a:gd name="T0" fmla="*/ 116 w 218"/>
                <a:gd name="T1" fmla="*/ 0 h 219"/>
                <a:gd name="T2" fmla="*/ 144 w 218"/>
                <a:gd name="T3" fmla="*/ 6 h 219"/>
                <a:gd name="T4" fmla="*/ 172 w 218"/>
                <a:gd name="T5" fmla="*/ 20 h 219"/>
                <a:gd name="T6" fmla="*/ 192 w 218"/>
                <a:gd name="T7" fmla="*/ 40 h 219"/>
                <a:gd name="T8" fmla="*/ 208 w 218"/>
                <a:gd name="T9" fmla="*/ 63 h 219"/>
                <a:gd name="T10" fmla="*/ 216 w 218"/>
                <a:gd name="T11" fmla="*/ 89 h 219"/>
                <a:gd name="T12" fmla="*/ 218 w 218"/>
                <a:gd name="T13" fmla="*/ 117 h 219"/>
                <a:gd name="T14" fmla="*/ 212 w 218"/>
                <a:gd name="T15" fmla="*/ 145 h 219"/>
                <a:gd name="T16" fmla="*/ 198 w 218"/>
                <a:gd name="T17" fmla="*/ 171 h 219"/>
                <a:gd name="T18" fmla="*/ 180 w 218"/>
                <a:gd name="T19" fmla="*/ 191 h 219"/>
                <a:gd name="T20" fmla="*/ 160 w 218"/>
                <a:gd name="T21" fmla="*/ 207 h 219"/>
                <a:gd name="T22" fmla="*/ 134 w 218"/>
                <a:gd name="T23" fmla="*/ 215 h 219"/>
                <a:gd name="T24" fmla="*/ 108 w 218"/>
                <a:gd name="T25" fmla="*/ 219 h 219"/>
                <a:gd name="T26" fmla="*/ 76 w 218"/>
                <a:gd name="T27" fmla="*/ 215 h 219"/>
                <a:gd name="T28" fmla="*/ 46 w 218"/>
                <a:gd name="T29" fmla="*/ 199 h 219"/>
                <a:gd name="T30" fmla="*/ 24 w 218"/>
                <a:gd name="T31" fmla="*/ 179 h 219"/>
                <a:gd name="T32" fmla="*/ 10 w 218"/>
                <a:gd name="T33" fmla="*/ 155 h 219"/>
                <a:gd name="T34" fmla="*/ 0 w 218"/>
                <a:gd name="T35" fmla="*/ 129 h 219"/>
                <a:gd name="T36" fmla="*/ 0 w 218"/>
                <a:gd name="T37" fmla="*/ 101 h 219"/>
                <a:gd name="T38" fmla="*/ 6 w 218"/>
                <a:gd name="T39" fmla="*/ 73 h 219"/>
                <a:gd name="T40" fmla="*/ 18 w 218"/>
                <a:gd name="T41" fmla="*/ 47 h 219"/>
                <a:gd name="T42" fmla="*/ 38 w 218"/>
                <a:gd name="T43" fmla="*/ 26 h 219"/>
                <a:gd name="T44" fmla="*/ 62 w 218"/>
                <a:gd name="T45" fmla="*/ 10 h 219"/>
                <a:gd name="T46" fmla="*/ 88 w 218"/>
                <a:gd name="T47" fmla="*/ 2 h 219"/>
                <a:gd name="T48" fmla="*/ 116 w 218"/>
                <a:gd name="T49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8" h="219">
                  <a:moveTo>
                    <a:pt x="116" y="0"/>
                  </a:moveTo>
                  <a:lnTo>
                    <a:pt x="144" y="6"/>
                  </a:lnTo>
                  <a:lnTo>
                    <a:pt x="172" y="20"/>
                  </a:lnTo>
                  <a:lnTo>
                    <a:pt x="192" y="40"/>
                  </a:lnTo>
                  <a:lnTo>
                    <a:pt x="208" y="63"/>
                  </a:lnTo>
                  <a:lnTo>
                    <a:pt x="216" y="89"/>
                  </a:lnTo>
                  <a:lnTo>
                    <a:pt x="218" y="117"/>
                  </a:lnTo>
                  <a:lnTo>
                    <a:pt x="212" y="145"/>
                  </a:lnTo>
                  <a:lnTo>
                    <a:pt x="198" y="171"/>
                  </a:lnTo>
                  <a:lnTo>
                    <a:pt x="180" y="191"/>
                  </a:lnTo>
                  <a:lnTo>
                    <a:pt x="160" y="207"/>
                  </a:lnTo>
                  <a:lnTo>
                    <a:pt x="134" y="215"/>
                  </a:lnTo>
                  <a:lnTo>
                    <a:pt x="108" y="219"/>
                  </a:lnTo>
                  <a:lnTo>
                    <a:pt x="76" y="215"/>
                  </a:lnTo>
                  <a:lnTo>
                    <a:pt x="46" y="199"/>
                  </a:lnTo>
                  <a:lnTo>
                    <a:pt x="24" y="179"/>
                  </a:lnTo>
                  <a:lnTo>
                    <a:pt x="10" y="155"/>
                  </a:lnTo>
                  <a:lnTo>
                    <a:pt x="0" y="129"/>
                  </a:lnTo>
                  <a:lnTo>
                    <a:pt x="0" y="101"/>
                  </a:lnTo>
                  <a:lnTo>
                    <a:pt x="6" y="73"/>
                  </a:lnTo>
                  <a:lnTo>
                    <a:pt x="18" y="47"/>
                  </a:lnTo>
                  <a:lnTo>
                    <a:pt x="38" y="26"/>
                  </a:lnTo>
                  <a:lnTo>
                    <a:pt x="62" y="10"/>
                  </a:lnTo>
                  <a:lnTo>
                    <a:pt x="88" y="2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5" name="Freeform 43"/>
            <p:cNvSpPr>
              <a:spLocks/>
            </p:cNvSpPr>
            <p:nvPr/>
          </p:nvSpPr>
          <p:spPr bwMode="auto">
            <a:xfrm>
              <a:off x="1795" y="3310"/>
              <a:ext cx="110" cy="109"/>
            </a:xfrm>
            <a:custGeom>
              <a:avLst/>
              <a:gdLst>
                <a:gd name="T0" fmla="*/ 102 w 219"/>
                <a:gd name="T1" fmla="*/ 0 h 220"/>
                <a:gd name="T2" fmla="*/ 130 w 219"/>
                <a:gd name="T3" fmla="*/ 2 h 220"/>
                <a:gd name="T4" fmla="*/ 156 w 219"/>
                <a:gd name="T5" fmla="*/ 10 h 220"/>
                <a:gd name="T6" fmla="*/ 181 w 219"/>
                <a:gd name="T7" fmla="*/ 26 h 220"/>
                <a:gd name="T8" fmla="*/ 199 w 219"/>
                <a:gd name="T9" fmla="*/ 48 h 220"/>
                <a:gd name="T10" fmla="*/ 213 w 219"/>
                <a:gd name="T11" fmla="*/ 74 h 220"/>
                <a:gd name="T12" fmla="*/ 219 w 219"/>
                <a:gd name="T13" fmla="*/ 102 h 220"/>
                <a:gd name="T14" fmla="*/ 217 w 219"/>
                <a:gd name="T15" fmla="*/ 130 h 220"/>
                <a:gd name="T16" fmla="*/ 209 w 219"/>
                <a:gd name="T17" fmla="*/ 156 h 220"/>
                <a:gd name="T18" fmla="*/ 193 w 219"/>
                <a:gd name="T19" fmla="*/ 182 h 220"/>
                <a:gd name="T20" fmla="*/ 167 w 219"/>
                <a:gd name="T21" fmla="*/ 202 h 220"/>
                <a:gd name="T22" fmla="*/ 140 w 219"/>
                <a:gd name="T23" fmla="*/ 214 h 220"/>
                <a:gd name="T24" fmla="*/ 110 w 219"/>
                <a:gd name="T25" fmla="*/ 220 h 220"/>
                <a:gd name="T26" fmla="*/ 84 w 219"/>
                <a:gd name="T27" fmla="*/ 216 h 220"/>
                <a:gd name="T28" fmla="*/ 60 w 219"/>
                <a:gd name="T29" fmla="*/ 208 h 220"/>
                <a:gd name="T30" fmla="*/ 38 w 219"/>
                <a:gd name="T31" fmla="*/ 192 h 220"/>
                <a:gd name="T32" fmla="*/ 20 w 219"/>
                <a:gd name="T33" fmla="*/ 172 h 220"/>
                <a:gd name="T34" fmla="*/ 6 w 219"/>
                <a:gd name="T35" fmla="*/ 146 h 220"/>
                <a:gd name="T36" fmla="*/ 0 w 219"/>
                <a:gd name="T37" fmla="*/ 118 h 220"/>
                <a:gd name="T38" fmla="*/ 2 w 219"/>
                <a:gd name="T39" fmla="*/ 90 h 220"/>
                <a:gd name="T40" fmla="*/ 10 w 219"/>
                <a:gd name="T41" fmla="*/ 64 h 220"/>
                <a:gd name="T42" fmla="*/ 26 w 219"/>
                <a:gd name="T43" fmla="*/ 38 h 220"/>
                <a:gd name="T44" fmla="*/ 48 w 219"/>
                <a:gd name="T45" fmla="*/ 18 h 220"/>
                <a:gd name="T46" fmla="*/ 74 w 219"/>
                <a:gd name="T47" fmla="*/ 6 h 220"/>
                <a:gd name="T48" fmla="*/ 102 w 219"/>
                <a:gd name="T49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9" h="220">
                  <a:moveTo>
                    <a:pt x="102" y="0"/>
                  </a:moveTo>
                  <a:lnTo>
                    <a:pt x="130" y="2"/>
                  </a:lnTo>
                  <a:lnTo>
                    <a:pt x="156" y="10"/>
                  </a:lnTo>
                  <a:lnTo>
                    <a:pt x="181" y="26"/>
                  </a:lnTo>
                  <a:lnTo>
                    <a:pt x="199" y="48"/>
                  </a:lnTo>
                  <a:lnTo>
                    <a:pt x="213" y="74"/>
                  </a:lnTo>
                  <a:lnTo>
                    <a:pt x="219" y="102"/>
                  </a:lnTo>
                  <a:lnTo>
                    <a:pt x="217" y="130"/>
                  </a:lnTo>
                  <a:lnTo>
                    <a:pt x="209" y="156"/>
                  </a:lnTo>
                  <a:lnTo>
                    <a:pt x="193" y="182"/>
                  </a:lnTo>
                  <a:lnTo>
                    <a:pt x="167" y="202"/>
                  </a:lnTo>
                  <a:lnTo>
                    <a:pt x="140" y="214"/>
                  </a:lnTo>
                  <a:lnTo>
                    <a:pt x="110" y="220"/>
                  </a:lnTo>
                  <a:lnTo>
                    <a:pt x="84" y="216"/>
                  </a:lnTo>
                  <a:lnTo>
                    <a:pt x="60" y="208"/>
                  </a:lnTo>
                  <a:lnTo>
                    <a:pt x="38" y="192"/>
                  </a:lnTo>
                  <a:lnTo>
                    <a:pt x="20" y="172"/>
                  </a:lnTo>
                  <a:lnTo>
                    <a:pt x="6" y="146"/>
                  </a:lnTo>
                  <a:lnTo>
                    <a:pt x="0" y="118"/>
                  </a:lnTo>
                  <a:lnTo>
                    <a:pt x="2" y="90"/>
                  </a:lnTo>
                  <a:lnTo>
                    <a:pt x="10" y="64"/>
                  </a:lnTo>
                  <a:lnTo>
                    <a:pt x="26" y="38"/>
                  </a:lnTo>
                  <a:lnTo>
                    <a:pt x="48" y="18"/>
                  </a:lnTo>
                  <a:lnTo>
                    <a:pt x="74" y="6"/>
                  </a:lnTo>
                  <a:lnTo>
                    <a:pt x="10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6" name="Freeform 44"/>
            <p:cNvSpPr>
              <a:spLocks/>
            </p:cNvSpPr>
            <p:nvPr/>
          </p:nvSpPr>
          <p:spPr bwMode="auto">
            <a:xfrm>
              <a:off x="2367" y="3622"/>
              <a:ext cx="110" cy="108"/>
            </a:xfrm>
            <a:custGeom>
              <a:avLst/>
              <a:gdLst>
                <a:gd name="T0" fmla="*/ 114 w 219"/>
                <a:gd name="T1" fmla="*/ 0 h 217"/>
                <a:gd name="T2" fmla="*/ 141 w 219"/>
                <a:gd name="T3" fmla="*/ 4 h 217"/>
                <a:gd name="T4" fmla="*/ 169 w 219"/>
                <a:gd name="T5" fmla="*/ 16 h 217"/>
                <a:gd name="T6" fmla="*/ 191 w 219"/>
                <a:gd name="T7" fmla="*/ 34 h 217"/>
                <a:gd name="T8" fmla="*/ 207 w 219"/>
                <a:gd name="T9" fmla="*/ 56 h 217"/>
                <a:gd name="T10" fmla="*/ 217 w 219"/>
                <a:gd name="T11" fmla="*/ 82 h 217"/>
                <a:gd name="T12" fmla="*/ 219 w 219"/>
                <a:gd name="T13" fmla="*/ 112 h 217"/>
                <a:gd name="T14" fmla="*/ 215 w 219"/>
                <a:gd name="T15" fmla="*/ 140 h 217"/>
                <a:gd name="T16" fmla="*/ 203 w 219"/>
                <a:gd name="T17" fmla="*/ 166 h 217"/>
                <a:gd name="T18" fmla="*/ 185 w 219"/>
                <a:gd name="T19" fmla="*/ 188 h 217"/>
                <a:gd name="T20" fmla="*/ 163 w 219"/>
                <a:gd name="T21" fmla="*/ 204 h 217"/>
                <a:gd name="T22" fmla="*/ 137 w 219"/>
                <a:gd name="T23" fmla="*/ 214 h 217"/>
                <a:gd name="T24" fmla="*/ 110 w 219"/>
                <a:gd name="T25" fmla="*/ 217 h 217"/>
                <a:gd name="T26" fmla="*/ 96 w 219"/>
                <a:gd name="T27" fmla="*/ 217 h 217"/>
                <a:gd name="T28" fmla="*/ 78 w 219"/>
                <a:gd name="T29" fmla="*/ 214 h 217"/>
                <a:gd name="T30" fmla="*/ 52 w 219"/>
                <a:gd name="T31" fmla="*/ 202 h 217"/>
                <a:gd name="T32" fmla="*/ 30 w 219"/>
                <a:gd name="T33" fmla="*/ 184 h 217"/>
                <a:gd name="T34" fmla="*/ 14 w 219"/>
                <a:gd name="T35" fmla="*/ 162 h 217"/>
                <a:gd name="T36" fmla="*/ 4 w 219"/>
                <a:gd name="T37" fmla="*/ 134 h 217"/>
                <a:gd name="T38" fmla="*/ 0 w 219"/>
                <a:gd name="T39" fmla="*/ 106 h 217"/>
                <a:gd name="T40" fmla="*/ 6 w 219"/>
                <a:gd name="T41" fmla="*/ 78 h 217"/>
                <a:gd name="T42" fmla="*/ 18 w 219"/>
                <a:gd name="T43" fmla="*/ 52 h 217"/>
                <a:gd name="T44" fmla="*/ 36 w 219"/>
                <a:gd name="T45" fmla="*/ 30 h 217"/>
                <a:gd name="T46" fmla="*/ 58 w 219"/>
                <a:gd name="T47" fmla="*/ 12 h 217"/>
                <a:gd name="T48" fmla="*/ 84 w 219"/>
                <a:gd name="T49" fmla="*/ 2 h 217"/>
                <a:gd name="T50" fmla="*/ 114 w 219"/>
                <a:gd name="T51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9" h="217">
                  <a:moveTo>
                    <a:pt x="114" y="0"/>
                  </a:moveTo>
                  <a:lnTo>
                    <a:pt x="141" y="4"/>
                  </a:lnTo>
                  <a:lnTo>
                    <a:pt x="169" y="16"/>
                  </a:lnTo>
                  <a:lnTo>
                    <a:pt x="191" y="34"/>
                  </a:lnTo>
                  <a:lnTo>
                    <a:pt x="207" y="56"/>
                  </a:lnTo>
                  <a:lnTo>
                    <a:pt x="217" y="82"/>
                  </a:lnTo>
                  <a:lnTo>
                    <a:pt x="219" y="112"/>
                  </a:lnTo>
                  <a:lnTo>
                    <a:pt x="215" y="140"/>
                  </a:lnTo>
                  <a:lnTo>
                    <a:pt x="203" y="166"/>
                  </a:lnTo>
                  <a:lnTo>
                    <a:pt x="185" y="188"/>
                  </a:lnTo>
                  <a:lnTo>
                    <a:pt x="163" y="204"/>
                  </a:lnTo>
                  <a:lnTo>
                    <a:pt x="137" y="214"/>
                  </a:lnTo>
                  <a:lnTo>
                    <a:pt x="110" y="217"/>
                  </a:lnTo>
                  <a:lnTo>
                    <a:pt x="96" y="217"/>
                  </a:lnTo>
                  <a:lnTo>
                    <a:pt x="78" y="214"/>
                  </a:lnTo>
                  <a:lnTo>
                    <a:pt x="52" y="202"/>
                  </a:lnTo>
                  <a:lnTo>
                    <a:pt x="30" y="184"/>
                  </a:lnTo>
                  <a:lnTo>
                    <a:pt x="14" y="162"/>
                  </a:lnTo>
                  <a:lnTo>
                    <a:pt x="4" y="134"/>
                  </a:lnTo>
                  <a:lnTo>
                    <a:pt x="0" y="106"/>
                  </a:lnTo>
                  <a:lnTo>
                    <a:pt x="6" y="78"/>
                  </a:lnTo>
                  <a:lnTo>
                    <a:pt x="18" y="52"/>
                  </a:lnTo>
                  <a:lnTo>
                    <a:pt x="36" y="30"/>
                  </a:lnTo>
                  <a:lnTo>
                    <a:pt x="58" y="12"/>
                  </a:lnTo>
                  <a:lnTo>
                    <a:pt x="84" y="2"/>
                  </a:lnTo>
                  <a:lnTo>
                    <a:pt x="11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7" name="Freeform 45"/>
            <p:cNvSpPr>
              <a:spLocks/>
            </p:cNvSpPr>
            <p:nvPr/>
          </p:nvSpPr>
          <p:spPr bwMode="auto">
            <a:xfrm>
              <a:off x="2213" y="3567"/>
              <a:ext cx="109" cy="108"/>
            </a:xfrm>
            <a:custGeom>
              <a:avLst/>
              <a:gdLst>
                <a:gd name="T0" fmla="*/ 121 w 217"/>
                <a:gd name="T1" fmla="*/ 0 h 217"/>
                <a:gd name="T2" fmla="*/ 151 w 217"/>
                <a:gd name="T3" fmla="*/ 6 h 217"/>
                <a:gd name="T4" fmla="*/ 175 w 217"/>
                <a:gd name="T5" fmla="*/ 22 h 217"/>
                <a:gd name="T6" fmla="*/ 195 w 217"/>
                <a:gd name="T7" fmla="*/ 41 h 217"/>
                <a:gd name="T8" fmla="*/ 209 w 217"/>
                <a:gd name="T9" fmla="*/ 65 h 217"/>
                <a:gd name="T10" fmla="*/ 217 w 217"/>
                <a:gd name="T11" fmla="*/ 93 h 217"/>
                <a:gd name="T12" fmla="*/ 217 w 217"/>
                <a:gd name="T13" fmla="*/ 121 h 217"/>
                <a:gd name="T14" fmla="*/ 209 w 217"/>
                <a:gd name="T15" fmla="*/ 149 h 217"/>
                <a:gd name="T16" fmla="*/ 193 w 217"/>
                <a:gd name="T17" fmla="*/ 177 h 217"/>
                <a:gd name="T18" fmla="*/ 169 w 217"/>
                <a:gd name="T19" fmla="*/ 199 h 217"/>
                <a:gd name="T20" fmla="*/ 139 w 217"/>
                <a:gd name="T21" fmla="*/ 211 h 217"/>
                <a:gd name="T22" fmla="*/ 107 w 217"/>
                <a:gd name="T23" fmla="*/ 217 h 217"/>
                <a:gd name="T24" fmla="*/ 87 w 217"/>
                <a:gd name="T25" fmla="*/ 215 h 217"/>
                <a:gd name="T26" fmla="*/ 65 w 217"/>
                <a:gd name="T27" fmla="*/ 209 h 217"/>
                <a:gd name="T28" fmla="*/ 42 w 217"/>
                <a:gd name="T29" fmla="*/ 193 h 217"/>
                <a:gd name="T30" fmla="*/ 22 w 217"/>
                <a:gd name="T31" fmla="*/ 173 h 217"/>
                <a:gd name="T32" fmla="*/ 8 w 217"/>
                <a:gd name="T33" fmla="*/ 149 h 217"/>
                <a:gd name="T34" fmla="*/ 0 w 217"/>
                <a:gd name="T35" fmla="*/ 121 h 217"/>
                <a:gd name="T36" fmla="*/ 0 w 217"/>
                <a:gd name="T37" fmla="*/ 93 h 217"/>
                <a:gd name="T38" fmla="*/ 8 w 217"/>
                <a:gd name="T39" fmla="*/ 65 h 217"/>
                <a:gd name="T40" fmla="*/ 22 w 217"/>
                <a:gd name="T41" fmla="*/ 39 h 217"/>
                <a:gd name="T42" fmla="*/ 44 w 217"/>
                <a:gd name="T43" fmla="*/ 20 h 217"/>
                <a:gd name="T44" fmla="*/ 67 w 217"/>
                <a:gd name="T45" fmla="*/ 6 h 217"/>
                <a:gd name="T46" fmla="*/ 93 w 217"/>
                <a:gd name="T47" fmla="*/ 0 h 217"/>
                <a:gd name="T48" fmla="*/ 121 w 217"/>
                <a:gd name="T49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7" h="217">
                  <a:moveTo>
                    <a:pt x="121" y="0"/>
                  </a:moveTo>
                  <a:lnTo>
                    <a:pt x="151" y="6"/>
                  </a:lnTo>
                  <a:lnTo>
                    <a:pt x="175" y="22"/>
                  </a:lnTo>
                  <a:lnTo>
                    <a:pt x="195" y="41"/>
                  </a:lnTo>
                  <a:lnTo>
                    <a:pt x="209" y="65"/>
                  </a:lnTo>
                  <a:lnTo>
                    <a:pt x="217" y="93"/>
                  </a:lnTo>
                  <a:lnTo>
                    <a:pt x="217" y="121"/>
                  </a:lnTo>
                  <a:lnTo>
                    <a:pt x="209" y="149"/>
                  </a:lnTo>
                  <a:lnTo>
                    <a:pt x="193" y="177"/>
                  </a:lnTo>
                  <a:lnTo>
                    <a:pt x="169" y="199"/>
                  </a:lnTo>
                  <a:lnTo>
                    <a:pt x="139" y="211"/>
                  </a:lnTo>
                  <a:lnTo>
                    <a:pt x="107" y="217"/>
                  </a:lnTo>
                  <a:lnTo>
                    <a:pt x="87" y="215"/>
                  </a:lnTo>
                  <a:lnTo>
                    <a:pt x="65" y="209"/>
                  </a:lnTo>
                  <a:lnTo>
                    <a:pt x="42" y="193"/>
                  </a:lnTo>
                  <a:lnTo>
                    <a:pt x="22" y="173"/>
                  </a:lnTo>
                  <a:lnTo>
                    <a:pt x="8" y="149"/>
                  </a:lnTo>
                  <a:lnTo>
                    <a:pt x="0" y="121"/>
                  </a:lnTo>
                  <a:lnTo>
                    <a:pt x="0" y="93"/>
                  </a:lnTo>
                  <a:lnTo>
                    <a:pt x="8" y="65"/>
                  </a:lnTo>
                  <a:lnTo>
                    <a:pt x="22" y="39"/>
                  </a:lnTo>
                  <a:lnTo>
                    <a:pt x="44" y="20"/>
                  </a:lnTo>
                  <a:lnTo>
                    <a:pt x="67" y="6"/>
                  </a:lnTo>
                  <a:lnTo>
                    <a:pt x="93" y="0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8" name="Freeform 46"/>
            <p:cNvSpPr>
              <a:spLocks/>
            </p:cNvSpPr>
            <p:nvPr/>
          </p:nvSpPr>
          <p:spPr bwMode="auto">
            <a:xfrm>
              <a:off x="2066" y="3495"/>
              <a:ext cx="108" cy="110"/>
            </a:xfrm>
            <a:custGeom>
              <a:avLst/>
              <a:gdLst>
                <a:gd name="T0" fmla="*/ 106 w 218"/>
                <a:gd name="T1" fmla="*/ 0 h 219"/>
                <a:gd name="T2" fmla="*/ 134 w 218"/>
                <a:gd name="T3" fmla="*/ 4 h 219"/>
                <a:gd name="T4" fmla="*/ 160 w 218"/>
                <a:gd name="T5" fmla="*/ 14 h 219"/>
                <a:gd name="T6" fmla="*/ 184 w 218"/>
                <a:gd name="T7" fmla="*/ 32 h 219"/>
                <a:gd name="T8" fmla="*/ 202 w 218"/>
                <a:gd name="T9" fmla="*/ 54 h 219"/>
                <a:gd name="T10" fmla="*/ 214 w 218"/>
                <a:gd name="T11" fmla="*/ 80 h 219"/>
                <a:gd name="T12" fmla="*/ 218 w 218"/>
                <a:gd name="T13" fmla="*/ 106 h 219"/>
                <a:gd name="T14" fmla="*/ 216 w 218"/>
                <a:gd name="T15" fmla="*/ 136 h 219"/>
                <a:gd name="T16" fmla="*/ 204 w 218"/>
                <a:gd name="T17" fmla="*/ 164 h 219"/>
                <a:gd name="T18" fmla="*/ 186 w 218"/>
                <a:gd name="T19" fmla="*/ 187 h 219"/>
                <a:gd name="T20" fmla="*/ 164 w 218"/>
                <a:gd name="T21" fmla="*/ 205 h 219"/>
                <a:gd name="T22" fmla="*/ 138 w 218"/>
                <a:gd name="T23" fmla="*/ 215 h 219"/>
                <a:gd name="T24" fmla="*/ 108 w 218"/>
                <a:gd name="T25" fmla="*/ 219 h 219"/>
                <a:gd name="T26" fmla="*/ 82 w 218"/>
                <a:gd name="T27" fmla="*/ 215 h 219"/>
                <a:gd name="T28" fmla="*/ 56 w 218"/>
                <a:gd name="T29" fmla="*/ 205 h 219"/>
                <a:gd name="T30" fmla="*/ 32 w 218"/>
                <a:gd name="T31" fmla="*/ 187 h 219"/>
                <a:gd name="T32" fmla="*/ 14 w 218"/>
                <a:gd name="T33" fmla="*/ 166 h 219"/>
                <a:gd name="T34" fmla="*/ 4 w 218"/>
                <a:gd name="T35" fmla="*/ 140 h 219"/>
                <a:gd name="T36" fmla="*/ 0 w 218"/>
                <a:gd name="T37" fmla="*/ 114 h 219"/>
                <a:gd name="T38" fmla="*/ 2 w 218"/>
                <a:gd name="T39" fmla="*/ 86 h 219"/>
                <a:gd name="T40" fmla="*/ 12 w 218"/>
                <a:gd name="T41" fmla="*/ 58 h 219"/>
                <a:gd name="T42" fmla="*/ 30 w 218"/>
                <a:gd name="T43" fmla="*/ 34 h 219"/>
                <a:gd name="T44" fmla="*/ 52 w 218"/>
                <a:gd name="T45" fmla="*/ 16 h 219"/>
                <a:gd name="T46" fmla="*/ 78 w 218"/>
                <a:gd name="T47" fmla="*/ 4 h 219"/>
                <a:gd name="T48" fmla="*/ 106 w 218"/>
                <a:gd name="T49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8" h="219">
                  <a:moveTo>
                    <a:pt x="106" y="0"/>
                  </a:moveTo>
                  <a:lnTo>
                    <a:pt x="134" y="4"/>
                  </a:lnTo>
                  <a:lnTo>
                    <a:pt x="160" y="14"/>
                  </a:lnTo>
                  <a:lnTo>
                    <a:pt x="184" y="32"/>
                  </a:lnTo>
                  <a:lnTo>
                    <a:pt x="202" y="54"/>
                  </a:lnTo>
                  <a:lnTo>
                    <a:pt x="214" y="80"/>
                  </a:lnTo>
                  <a:lnTo>
                    <a:pt x="218" y="106"/>
                  </a:lnTo>
                  <a:lnTo>
                    <a:pt x="216" y="136"/>
                  </a:lnTo>
                  <a:lnTo>
                    <a:pt x="204" y="164"/>
                  </a:lnTo>
                  <a:lnTo>
                    <a:pt x="186" y="187"/>
                  </a:lnTo>
                  <a:lnTo>
                    <a:pt x="164" y="205"/>
                  </a:lnTo>
                  <a:lnTo>
                    <a:pt x="138" y="215"/>
                  </a:lnTo>
                  <a:lnTo>
                    <a:pt x="108" y="219"/>
                  </a:lnTo>
                  <a:lnTo>
                    <a:pt x="82" y="215"/>
                  </a:lnTo>
                  <a:lnTo>
                    <a:pt x="56" y="205"/>
                  </a:lnTo>
                  <a:lnTo>
                    <a:pt x="32" y="187"/>
                  </a:lnTo>
                  <a:lnTo>
                    <a:pt x="14" y="166"/>
                  </a:lnTo>
                  <a:lnTo>
                    <a:pt x="4" y="140"/>
                  </a:lnTo>
                  <a:lnTo>
                    <a:pt x="0" y="114"/>
                  </a:lnTo>
                  <a:lnTo>
                    <a:pt x="2" y="86"/>
                  </a:lnTo>
                  <a:lnTo>
                    <a:pt x="12" y="58"/>
                  </a:lnTo>
                  <a:lnTo>
                    <a:pt x="30" y="34"/>
                  </a:lnTo>
                  <a:lnTo>
                    <a:pt x="52" y="16"/>
                  </a:lnTo>
                  <a:lnTo>
                    <a:pt x="78" y="4"/>
                  </a:lnTo>
                  <a:lnTo>
                    <a:pt x="10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9" name="Freeform 47"/>
            <p:cNvSpPr>
              <a:spLocks/>
            </p:cNvSpPr>
            <p:nvPr/>
          </p:nvSpPr>
          <p:spPr bwMode="auto">
            <a:xfrm>
              <a:off x="1570" y="3073"/>
              <a:ext cx="108" cy="109"/>
            </a:xfrm>
            <a:custGeom>
              <a:avLst/>
              <a:gdLst>
                <a:gd name="T0" fmla="*/ 122 w 216"/>
                <a:gd name="T1" fmla="*/ 0 h 217"/>
                <a:gd name="T2" fmla="*/ 150 w 216"/>
                <a:gd name="T3" fmla="*/ 8 h 217"/>
                <a:gd name="T4" fmla="*/ 174 w 216"/>
                <a:gd name="T5" fmla="*/ 22 h 217"/>
                <a:gd name="T6" fmla="*/ 194 w 216"/>
                <a:gd name="T7" fmla="*/ 42 h 217"/>
                <a:gd name="T8" fmla="*/ 210 w 216"/>
                <a:gd name="T9" fmla="*/ 68 h 217"/>
                <a:gd name="T10" fmla="*/ 216 w 216"/>
                <a:gd name="T11" fmla="*/ 96 h 217"/>
                <a:gd name="T12" fmla="*/ 216 w 216"/>
                <a:gd name="T13" fmla="*/ 121 h 217"/>
                <a:gd name="T14" fmla="*/ 210 w 216"/>
                <a:gd name="T15" fmla="*/ 149 h 217"/>
                <a:gd name="T16" fmla="*/ 196 w 216"/>
                <a:gd name="T17" fmla="*/ 173 h 217"/>
                <a:gd name="T18" fmla="*/ 176 w 216"/>
                <a:gd name="T19" fmla="*/ 195 h 217"/>
                <a:gd name="T20" fmla="*/ 144 w 216"/>
                <a:gd name="T21" fmla="*/ 211 h 217"/>
                <a:gd name="T22" fmla="*/ 108 w 216"/>
                <a:gd name="T23" fmla="*/ 217 h 217"/>
                <a:gd name="T24" fmla="*/ 76 w 216"/>
                <a:gd name="T25" fmla="*/ 213 h 217"/>
                <a:gd name="T26" fmla="*/ 46 w 216"/>
                <a:gd name="T27" fmla="*/ 199 h 217"/>
                <a:gd name="T28" fmla="*/ 22 w 216"/>
                <a:gd name="T29" fmla="*/ 175 h 217"/>
                <a:gd name="T30" fmla="*/ 6 w 216"/>
                <a:gd name="T31" fmla="*/ 151 h 217"/>
                <a:gd name="T32" fmla="*/ 0 w 216"/>
                <a:gd name="T33" fmla="*/ 123 h 217"/>
                <a:gd name="T34" fmla="*/ 0 w 216"/>
                <a:gd name="T35" fmla="*/ 96 h 217"/>
                <a:gd name="T36" fmla="*/ 6 w 216"/>
                <a:gd name="T37" fmla="*/ 68 h 217"/>
                <a:gd name="T38" fmla="*/ 20 w 216"/>
                <a:gd name="T39" fmla="*/ 44 h 217"/>
                <a:gd name="T40" fmla="*/ 42 w 216"/>
                <a:gd name="T41" fmla="*/ 22 h 217"/>
                <a:gd name="T42" fmla="*/ 66 w 216"/>
                <a:gd name="T43" fmla="*/ 8 h 217"/>
                <a:gd name="T44" fmla="*/ 94 w 216"/>
                <a:gd name="T45" fmla="*/ 0 h 217"/>
                <a:gd name="T46" fmla="*/ 122 w 216"/>
                <a:gd name="T47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6" h="217">
                  <a:moveTo>
                    <a:pt x="122" y="0"/>
                  </a:moveTo>
                  <a:lnTo>
                    <a:pt x="150" y="8"/>
                  </a:lnTo>
                  <a:lnTo>
                    <a:pt x="174" y="22"/>
                  </a:lnTo>
                  <a:lnTo>
                    <a:pt x="194" y="42"/>
                  </a:lnTo>
                  <a:lnTo>
                    <a:pt x="210" y="68"/>
                  </a:lnTo>
                  <a:lnTo>
                    <a:pt x="216" y="96"/>
                  </a:lnTo>
                  <a:lnTo>
                    <a:pt x="216" y="121"/>
                  </a:lnTo>
                  <a:lnTo>
                    <a:pt x="210" y="149"/>
                  </a:lnTo>
                  <a:lnTo>
                    <a:pt x="196" y="173"/>
                  </a:lnTo>
                  <a:lnTo>
                    <a:pt x="176" y="195"/>
                  </a:lnTo>
                  <a:lnTo>
                    <a:pt x="144" y="211"/>
                  </a:lnTo>
                  <a:lnTo>
                    <a:pt x="108" y="217"/>
                  </a:lnTo>
                  <a:lnTo>
                    <a:pt x="76" y="213"/>
                  </a:lnTo>
                  <a:lnTo>
                    <a:pt x="46" y="199"/>
                  </a:lnTo>
                  <a:lnTo>
                    <a:pt x="22" y="175"/>
                  </a:lnTo>
                  <a:lnTo>
                    <a:pt x="6" y="151"/>
                  </a:lnTo>
                  <a:lnTo>
                    <a:pt x="0" y="123"/>
                  </a:lnTo>
                  <a:lnTo>
                    <a:pt x="0" y="96"/>
                  </a:lnTo>
                  <a:lnTo>
                    <a:pt x="6" y="68"/>
                  </a:lnTo>
                  <a:lnTo>
                    <a:pt x="20" y="44"/>
                  </a:lnTo>
                  <a:lnTo>
                    <a:pt x="42" y="22"/>
                  </a:lnTo>
                  <a:lnTo>
                    <a:pt x="66" y="8"/>
                  </a:lnTo>
                  <a:lnTo>
                    <a:pt x="94" y="0"/>
                  </a:lnTo>
                  <a:lnTo>
                    <a:pt x="1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0" name="Freeform 48"/>
            <p:cNvSpPr>
              <a:spLocks/>
            </p:cNvSpPr>
            <p:nvPr/>
          </p:nvSpPr>
          <p:spPr bwMode="auto">
            <a:xfrm>
              <a:off x="1253" y="2328"/>
              <a:ext cx="109" cy="109"/>
            </a:xfrm>
            <a:custGeom>
              <a:avLst/>
              <a:gdLst>
                <a:gd name="T0" fmla="*/ 94 w 217"/>
                <a:gd name="T1" fmla="*/ 0 h 217"/>
                <a:gd name="T2" fmla="*/ 128 w 217"/>
                <a:gd name="T3" fmla="*/ 2 h 217"/>
                <a:gd name="T4" fmla="*/ 159 w 217"/>
                <a:gd name="T5" fmla="*/ 12 h 217"/>
                <a:gd name="T6" fmla="*/ 187 w 217"/>
                <a:gd name="T7" fmla="*/ 32 h 217"/>
                <a:gd name="T8" fmla="*/ 207 w 217"/>
                <a:gd name="T9" fmla="*/ 60 h 217"/>
                <a:gd name="T10" fmla="*/ 217 w 217"/>
                <a:gd name="T11" fmla="*/ 94 h 217"/>
                <a:gd name="T12" fmla="*/ 217 w 217"/>
                <a:gd name="T13" fmla="*/ 121 h 217"/>
                <a:gd name="T14" fmla="*/ 209 w 217"/>
                <a:gd name="T15" fmla="*/ 149 h 217"/>
                <a:gd name="T16" fmla="*/ 197 w 217"/>
                <a:gd name="T17" fmla="*/ 173 h 217"/>
                <a:gd name="T18" fmla="*/ 177 w 217"/>
                <a:gd name="T19" fmla="*/ 195 h 217"/>
                <a:gd name="T20" fmla="*/ 154 w 217"/>
                <a:gd name="T21" fmla="*/ 209 h 217"/>
                <a:gd name="T22" fmla="*/ 124 w 217"/>
                <a:gd name="T23" fmla="*/ 217 h 217"/>
                <a:gd name="T24" fmla="*/ 116 w 217"/>
                <a:gd name="T25" fmla="*/ 217 h 217"/>
                <a:gd name="T26" fmla="*/ 110 w 217"/>
                <a:gd name="T27" fmla="*/ 217 h 217"/>
                <a:gd name="T28" fmla="*/ 78 w 217"/>
                <a:gd name="T29" fmla="*/ 213 h 217"/>
                <a:gd name="T30" fmla="*/ 50 w 217"/>
                <a:gd name="T31" fmla="*/ 199 h 217"/>
                <a:gd name="T32" fmla="*/ 26 w 217"/>
                <a:gd name="T33" fmla="*/ 179 h 217"/>
                <a:gd name="T34" fmla="*/ 10 w 217"/>
                <a:gd name="T35" fmla="*/ 153 h 217"/>
                <a:gd name="T36" fmla="*/ 0 w 217"/>
                <a:gd name="T37" fmla="*/ 123 h 217"/>
                <a:gd name="T38" fmla="*/ 2 w 217"/>
                <a:gd name="T39" fmla="*/ 90 h 217"/>
                <a:gd name="T40" fmla="*/ 12 w 217"/>
                <a:gd name="T41" fmla="*/ 58 h 217"/>
                <a:gd name="T42" fmla="*/ 32 w 217"/>
                <a:gd name="T43" fmla="*/ 30 h 217"/>
                <a:gd name="T44" fmla="*/ 60 w 217"/>
                <a:gd name="T45" fmla="*/ 10 h 217"/>
                <a:gd name="T46" fmla="*/ 94 w 217"/>
                <a:gd name="T47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7" h="217">
                  <a:moveTo>
                    <a:pt x="94" y="0"/>
                  </a:moveTo>
                  <a:lnTo>
                    <a:pt x="128" y="2"/>
                  </a:lnTo>
                  <a:lnTo>
                    <a:pt x="159" y="12"/>
                  </a:lnTo>
                  <a:lnTo>
                    <a:pt x="187" y="32"/>
                  </a:lnTo>
                  <a:lnTo>
                    <a:pt x="207" y="60"/>
                  </a:lnTo>
                  <a:lnTo>
                    <a:pt x="217" y="94"/>
                  </a:lnTo>
                  <a:lnTo>
                    <a:pt x="217" y="121"/>
                  </a:lnTo>
                  <a:lnTo>
                    <a:pt x="209" y="149"/>
                  </a:lnTo>
                  <a:lnTo>
                    <a:pt x="197" y="173"/>
                  </a:lnTo>
                  <a:lnTo>
                    <a:pt x="177" y="195"/>
                  </a:lnTo>
                  <a:lnTo>
                    <a:pt x="154" y="209"/>
                  </a:lnTo>
                  <a:lnTo>
                    <a:pt x="124" y="217"/>
                  </a:lnTo>
                  <a:lnTo>
                    <a:pt x="116" y="217"/>
                  </a:lnTo>
                  <a:lnTo>
                    <a:pt x="110" y="217"/>
                  </a:lnTo>
                  <a:lnTo>
                    <a:pt x="78" y="213"/>
                  </a:lnTo>
                  <a:lnTo>
                    <a:pt x="50" y="199"/>
                  </a:lnTo>
                  <a:lnTo>
                    <a:pt x="26" y="179"/>
                  </a:lnTo>
                  <a:lnTo>
                    <a:pt x="10" y="153"/>
                  </a:lnTo>
                  <a:lnTo>
                    <a:pt x="0" y="123"/>
                  </a:lnTo>
                  <a:lnTo>
                    <a:pt x="2" y="90"/>
                  </a:lnTo>
                  <a:lnTo>
                    <a:pt x="12" y="58"/>
                  </a:lnTo>
                  <a:lnTo>
                    <a:pt x="32" y="30"/>
                  </a:lnTo>
                  <a:lnTo>
                    <a:pt x="60" y="10"/>
                  </a:lnTo>
                  <a:lnTo>
                    <a:pt x="9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1" name="Freeform 49"/>
            <p:cNvSpPr>
              <a:spLocks/>
            </p:cNvSpPr>
            <p:nvPr/>
          </p:nvSpPr>
          <p:spPr bwMode="auto">
            <a:xfrm>
              <a:off x="1238" y="2164"/>
              <a:ext cx="110" cy="110"/>
            </a:xfrm>
            <a:custGeom>
              <a:avLst/>
              <a:gdLst>
                <a:gd name="T0" fmla="*/ 106 w 219"/>
                <a:gd name="T1" fmla="*/ 0 h 219"/>
                <a:gd name="T2" fmla="*/ 140 w 219"/>
                <a:gd name="T3" fmla="*/ 4 h 219"/>
                <a:gd name="T4" fmla="*/ 170 w 219"/>
                <a:gd name="T5" fmla="*/ 18 h 219"/>
                <a:gd name="T6" fmla="*/ 195 w 219"/>
                <a:gd name="T7" fmla="*/ 42 h 219"/>
                <a:gd name="T8" fmla="*/ 211 w 219"/>
                <a:gd name="T9" fmla="*/ 72 h 219"/>
                <a:gd name="T10" fmla="*/ 219 w 219"/>
                <a:gd name="T11" fmla="*/ 106 h 219"/>
                <a:gd name="T12" fmla="*/ 215 w 219"/>
                <a:gd name="T13" fmla="*/ 140 h 219"/>
                <a:gd name="T14" fmla="*/ 199 w 219"/>
                <a:gd name="T15" fmla="*/ 171 h 219"/>
                <a:gd name="T16" fmla="*/ 178 w 219"/>
                <a:gd name="T17" fmla="*/ 195 h 219"/>
                <a:gd name="T18" fmla="*/ 148 w 219"/>
                <a:gd name="T19" fmla="*/ 211 h 219"/>
                <a:gd name="T20" fmla="*/ 114 w 219"/>
                <a:gd name="T21" fmla="*/ 219 h 219"/>
                <a:gd name="T22" fmla="*/ 110 w 219"/>
                <a:gd name="T23" fmla="*/ 219 h 219"/>
                <a:gd name="T24" fmla="*/ 76 w 219"/>
                <a:gd name="T25" fmla="*/ 213 h 219"/>
                <a:gd name="T26" fmla="*/ 46 w 219"/>
                <a:gd name="T27" fmla="*/ 199 h 219"/>
                <a:gd name="T28" fmla="*/ 22 w 219"/>
                <a:gd name="T29" fmla="*/ 175 h 219"/>
                <a:gd name="T30" fmla="*/ 6 w 219"/>
                <a:gd name="T31" fmla="*/ 147 h 219"/>
                <a:gd name="T32" fmla="*/ 0 w 219"/>
                <a:gd name="T33" fmla="*/ 114 h 219"/>
                <a:gd name="T34" fmla="*/ 4 w 219"/>
                <a:gd name="T35" fmla="*/ 80 h 219"/>
                <a:gd name="T36" fmla="*/ 18 w 219"/>
                <a:gd name="T37" fmla="*/ 48 h 219"/>
                <a:gd name="T38" fmla="*/ 42 w 219"/>
                <a:gd name="T39" fmla="*/ 24 h 219"/>
                <a:gd name="T40" fmla="*/ 72 w 219"/>
                <a:gd name="T41" fmla="*/ 8 h 219"/>
                <a:gd name="T42" fmla="*/ 106 w 219"/>
                <a:gd name="T43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9" h="219">
                  <a:moveTo>
                    <a:pt x="106" y="0"/>
                  </a:moveTo>
                  <a:lnTo>
                    <a:pt x="140" y="4"/>
                  </a:lnTo>
                  <a:lnTo>
                    <a:pt x="170" y="18"/>
                  </a:lnTo>
                  <a:lnTo>
                    <a:pt x="195" y="42"/>
                  </a:lnTo>
                  <a:lnTo>
                    <a:pt x="211" y="72"/>
                  </a:lnTo>
                  <a:lnTo>
                    <a:pt x="219" y="106"/>
                  </a:lnTo>
                  <a:lnTo>
                    <a:pt x="215" y="140"/>
                  </a:lnTo>
                  <a:lnTo>
                    <a:pt x="199" y="171"/>
                  </a:lnTo>
                  <a:lnTo>
                    <a:pt x="178" y="195"/>
                  </a:lnTo>
                  <a:lnTo>
                    <a:pt x="148" y="211"/>
                  </a:lnTo>
                  <a:lnTo>
                    <a:pt x="114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6" y="199"/>
                  </a:lnTo>
                  <a:lnTo>
                    <a:pt x="22" y="175"/>
                  </a:lnTo>
                  <a:lnTo>
                    <a:pt x="6" y="147"/>
                  </a:lnTo>
                  <a:lnTo>
                    <a:pt x="0" y="114"/>
                  </a:lnTo>
                  <a:lnTo>
                    <a:pt x="4" y="80"/>
                  </a:lnTo>
                  <a:lnTo>
                    <a:pt x="18" y="48"/>
                  </a:lnTo>
                  <a:lnTo>
                    <a:pt x="42" y="24"/>
                  </a:lnTo>
                  <a:lnTo>
                    <a:pt x="72" y="8"/>
                  </a:lnTo>
                  <a:lnTo>
                    <a:pt x="10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2" name="Freeform 50"/>
            <p:cNvSpPr>
              <a:spLocks/>
            </p:cNvSpPr>
            <p:nvPr/>
          </p:nvSpPr>
          <p:spPr bwMode="auto">
            <a:xfrm>
              <a:off x="1285" y="2488"/>
              <a:ext cx="109" cy="110"/>
            </a:xfrm>
            <a:custGeom>
              <a:avLst/>
              <a:gdLst>
                <a:gd name="T0" fmla="*/ 115 w 217"/>
                <a:gd name="T1" fmla="*/ 0 h 219"/>
                <a:gd name="T2" fmla="*/ 149 w 217"/>
                <a:gd name="T3" fmla="*/ 8 h 219"/>
                <a:gd name="T4" fmla="*/ 177 w 217"/>
                <a:gd name="T5" fmla="*/ 26 h 219"/>
                <a:gd name="T6" fmla="*/ 201 w 217"/>
                <a:gd name="T7" fmla="*/ 50 h 219"/>
                <a:gd name="T8" fmla="*/ 215 w 217"/>
                <a:gd name="T9" fmla="*/ 82 h 219"/>
                <a:gd name="T10" fmla="*/ 217 w 217"/>
                <a:gd name="T11" fmla="*/ 117 h 219"/>
                <a:gd name="T12" fmla="*/ 209 w 217"/>
                <a:gd name="T13" fmla="*/ 149 h 219"/>
                <a:gd name="T14" fmla="*/ 191 w 217"/>
                <a:gd name="T15" fmla="*/ 179 h 219"/>
                <a:gd name="T16" fmla="*/ 167 w 217"/>
                <a:gd name="T17" fmla="*/ 201 h 219"/>
                <a:gd name="T18" fmla="*/ 135 w 217"/>
                <a:gd name="T19" fmla="*/ 215 h 219"/>
                <a:gd name="T20" fmla="*/ 121 w 217"/>
                <a:gd name="T21" fmla="*/ 217 h 219"/>
                <a:gd name="T22" fmla="*/ 107 w 217"/>
                <a:gd name="T23" fmla="*/ 219 h 219"/>
                <a:gd name="T24" fmla="*/ 80 w 217"/>
                <a:gd name="T25" fmla="*/ 215 h 219"/>
                <a:gd name="T26" fmla="*/ 54 w 217"/>
                <a:gd name="T27" fmla="*/ 203 h 219"/>
                <a:gd name="T28" fmla="*/ 30 w 217"/>
                <a:gd name="T29" fmla="*/ 185 h 219"/>
                <a:gd name="T30" fmla="*/ 14 w 217"/>
                <a:gd name="T31" fmla="*/ 163 h 219"/>
                <a:gd name="T32" fmla="*/ 2 w 217"/>
                <a:gd name="T33" fmla="*/ 135 h 219"/>
                <a:gd name="T34" fmla="*/ 0 w 217"/>
                <a:gd name="T35" fmla="*/ 105 h 219"/>
                <a:gd name="T36" fmla="*/ 4 w 217"/>
                <a:gd name="T37" fmla="*/ 78 h 219"/>
                <a:gd name="T38" fmla="*/ 14 w 217"/>
                <a:gd name="T39" fmla="*/ 54 h 219"/>
                <a:gd name="T40" fmla="*/ 32 w 217"/>
                <a:gd name="T41" fmla="*/ 32 h 219"/>
                <a:gd name="T42" fmla="*/ 54 w 217"/>
                <a:gd name="T43" fmla="*/ 14 h 219"/>
                <a:gd name="T44" fmla="*/ 82 w 217"/>
                <a:gd name="T45" fmla="*/ 4 h 219"/>
                <a:gd name="T46" fmla="*/ 115 w 217"/>
                <a:gd name="T47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7" h="219">
                  <a:moveTo>
                    <a:pt x="115" y="0"/>
                  </a:moveTo>
                  <a:lnTo>
                    <a:pt x="149" y="8"/>
                  </a:lnTo>
                  <a:lnTo>
                    <a:pt x="177" y="26"/>
                  </a:lnTo>
                  <a:lnTo>
                    <a:pt x="201" y="50"/>
                  </a:lnTo>
                  <a:lnTo>
                    <a:pt x="215" y="82"/>
                  </a:lnTo>
                  <a:lnTo>
                    <a:pt x="217" y="117"/>
                  </a:lnTo>
                  <a:lnTo>
                    <a:pt x="209" y="149"/>
                  </a:lnTo>
                  <a:lnTo>
                    <a:pt x="191" y="179"/>
                  </a:lnTo>
                  <a:lnTo>
                    <a:pt x="167" y="201"/>
                  </a:lnTo>
                  <a:lnTo>
                    <a:pt x="135" y="215"/>
                  </a:lnTo>
                  <a:lnTo>
                    <a:pt x="121" y="217"/>
                  </a:lnTo>
                  <a:lnTo>
                    <a:pt x="107" y="219"/>
                  </a:lnTo>
                  <a:lnTo>
                    <a:pt x="80" y="215"/>
                  </a:lnTo>
                  <a:lnTo>
                    <a:pt x="54" y="203"/>
                  </a:lnTo>
                  <a:lnTo>
                    <a:pt x="30" y="185"/>
                  </a:lnTo>
                  <a:lnTo>
                    <a:pt x="14" y="163"/>
                  </a:lnTo>
                  <a:lnTo>
                    <a:pt x="2" y="135"/>
                  </a:lnTo>
                  <a:lnTo>
                    <a:pt x="0" y="105"/>
                  </a:lnTo>
                  <a:lnTo>
                    <a:pt x="4" y="78"/>
                  </a:lnTo>
                  <a:lnTo>
                    <a:pt x="14" y="54"/>
                  </a:lnTo>
                  <a:lnTo>
                    <a:pt x="32" y="32"/>
                  </a:lnTo>
                  <a:lnTo>
                    <a:pt x="54" y="14"/>
                  </a:lnTo>
                  <a:lnTo>
                    <a:pt x="82" y="4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3" name="Freeform 51"/>
            <p:cNvSpPr>
              <a:spLocks/>
            </p:cNvSpPr>
            <p:nvPr/>
          </p:nvSpPr>
          <p:spPr bwMode="auto">
            <a:xfrm>
              <a:off x="1397" y="2795"/>
              <a:ext cx="108" cy="110"/>
            </a:xfrm>
            <a:custGeom>
              <a:avLst/>
              <a:gdLst>
                <a:gd name="T0" fmla="*/ 118 w 218"/>
                <a:gd name="T1" fmla="*/ 0 h 219"/>
                <a:gd name="T2" fmla="*/ 146 w 218"/>
                <a:gd name="T3" fmla="*/ 6 h 219"/>
                <a:gd name="T4" fmla="*/ 170 w 218"/>
                <a:gd name="T5" fmla="*/ 18 h 219"/>
                <a:gd name="T6" fmla="*/ 192 w 218"/>
                <a:gd name="T7" fmla="*/ 38 h 219"/>
                <a:gd name="T8" fmla="*/ 208 w 218"/>
                <a:gd name="T9" fmla="*/ 62 h 219"/>
                <a:gd name="T10" fmla="*/ 218 w 218"/>
                <a:gd name="T11" fmla="*/ 89 h 219"/>
                <a:gd name="T12" fmla="*/ 218 w 218"/>
                <a:gd name="T13" fmla="*/ 117 h 219"/>
                <a:gd name="T14" fmla="*/ 214 w 218"/>
                <a:gd name="T15" fmla="*/ 145 h 219"/>
                <a:gd name="T16" fmla="*/ 200 w 218"/>
                <a:gd name="T17" fmla="*/ 171 h 219"/>
                <a:gd name="T18" fmla="*/ 182 w 218"/>
                <a:gd name="T19" fmla="*/ 191 h 219"/>
                <a:gd name="T20" fmla="*/ 158 w 218"/>
                <a:gd name="T21" fmla="*/ 207 h 219"/>
                <a:gd name="T22" fmla="*/ 134 w 218"/>
                <a:gd name="T23" fmla="*/ 217 h 219"/>
                <a:gd name="T24" fmla="*/ 110 w 218"/>
                <a:gd name="T25" fmla="*/ 219 h 219"/>
                <a:gd name="T26" fmla="*/ 80 w 218"/>
                <a:gd name="T27" fmla="*/ 215 h 219"/>
                <a:gd name="T28" fmla="*/ 52 w 218"/>
                <a:gd name="T29" fmla="*/ 203 h 219"/>
                <a:gd name="T30" fmla="*/ 28 w 218"/>
                <a:gd name="T31" fmla="*/ 183 h 219"/>
                <a:gd name="T32" fmla="*/ 10 w 218"/>
                <a:gd name="T33" fmla="*/ 157 h 219"/>
                <a:gd name="T34" fmla="*/ 2 w 218"/>
                <a:gd name="T35" fmla="*/ 129 h 219"/>
                <a:gd name="T36" fmla="*/ 0 w 218"/>
                <a:gd name="T37" fmla="*/ 101 h 219"/>
                <a:gd name="T38" fmla="*/ 6 w 218"/>
                <a:gd name="T39" fmla="*/ 74 h 219"/>
                <a:gd name="T40" fmla="*/ 18 w 218"/>
                <a:gd name="T41" fmla="*/ 50 h 219"/>
                <a:gd name="T42" fmla="*/ 36 w 218"/>
                <a:gd name="T43" fmla="*/ 28 h 219"/>
                <a:gd name="T44" fmla="*/ 62 w 218"/>
                <a:gd name="T45" fmla="*/ 12 h 219"/>
                <a:gd name="T46" fmla="*/ 90 w 218"/>
                <a:gd name="T47" fmla="*/ 2 h 219"/>
                <a:gd name="T48" fmla="*/ 118 w 218"/>
                <a:gd name="T49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8" h="219">
                  <a:moveTo>
                    <a:pt x="118" y="0"/>
                  </a:moveTo>
                  <a:lnTo>
                    <a:pt x="146" y="6"/>
                  </a:lnTo>
                  <a:lnTo>
                    <a:pt x="170" y="18"/>
                  </a:lnTo>
                  <a:lnTo>
                    <a:pt x="192" y="38"/>
                  </a:lnTo>
                  <a:lnTo>
                    <a:pt x="208" y="62"/>
                  </a:lnTo>
                  <a:lnTo>
                    <a:pt x="218" y="89"/>
                  </a:lnTo>
                  <a:lnTo>
                    <a:pt x="218" y="117"/>
                  </a:lnTo>
                  <a:lnTo>
                    <a:pt x="214" y="145"/>
                  </a:lnTo>
                  <a:lnTo>
                    <a:pt x="200" y="171"/>
                  </a:lnTo>
                  <a:lnTo>
                    <a:pt x="182" y="191"/>
                  </a:lnTo>
                  <a:lnTo>
                    <a:pt x="158" y="207"/>
                  </a:lnTo>
                  <a:lnTo>
                    <a:pt x="134" y="217"/>
                  </a:lnTo>
                  <a:lnTo>
                    <a:pt x="110" y="219"/>
                  </a:lnTo>
                  <a:lnTo>
                    <a:pt x="80" y="215"/>
                  </a:lnTo>
                  <a:lnTo>
                    <a:pt x="52" y="203"/>
                  </a:lnTo>
                  <a:lnTo>
                    <a:pt x="28" y="183"/>
                  </a:lnTo>
                  <a:lnTo>
                    <a:pt x="10" y="157"/>
                  </a:lnTo>
                  <a:lnTo>
                    <a:pt x="2" y="129"/>
                  </a:lnTo>
                  <a:lnTo>
                    <a:pt x="0" y="101"/>
                  </a:lnTo>
                  <a:lnTo>
                    <a:pt x="6" y="74"/>
                  </a:lnTo>
                  <a:lnTo>
                    <a:pt x="18" y="50"/>
                  </a:lnTo>
                  <a:lnTo>
                    <a:pt x="36" y="28"/>
                  </a:lnTo>
                  <a:lnTo>
                    <a:pt x="62" y="12"/>
                  </a:lnTo>
                  <a:lnTo>
                    <a:pt x="90" y="2"/>
                  </a:lnTo>
                  <a:lnTo>
                    <a:pt x="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4" name="Freeform 52"/>
            <p:cNvSpPr>
              <a:spLocks/>
            </p:cNvSpPr>
            <p:nvPr/>
          </p:nvSpPr>
          <p:spPr bwMode="auto">
            <a:xfrm>
              <a:off x="1332" y="2645"/>
              <a:ext cx="109" cy="110"/>
            </a:xfrm>
            <a:custGeom>
              <a:avLst/>
              <a:gdLst>
                <a:gd name="T0" fmla="*/ 102 w 220"/>
                <a:gd name="T1" fmla="*/ 0 h 219"/>
                <a:gd name="T2" fmla="*/ 130 w 220"/>
                <a:gd name="T3" fmla="*/ 2 h 219"/>
                <a:gd name="T4" fmla="*/ 158 w 220"/>
                <a:gd name="T5" fmla="*/ 10 h 219"/>
                <a:gd name="T6" fmla="*/ 180 w 220"/>
                <a:gd name="T7" fmla="*/ 26 h 219"/>
                <a:gd name="T8" fmla="*/ 200 w 220"/>
                <a:gd name="T9" fmla="*/ 46 h 219"/>
                <a:gd name="T10" fmla="*/ 214 w 220"/>
                <a:gd name="T11" fmla="*/ 72 h 219"/>
                <a:gd name="T12" fmla="*/ 220 w 220"/>
                <a:gd name="T13" fmla="*/ 101 h 219"/>
                <a:gd name="T14" fmla="*/ 218 w 220"/>
                <a:gd name="T15" fmla="*/ 129 h 219"/>
                <a:gd name="T16" fmla="*/ 210 w 220"/>
                <a:gd name="T17" fmla="*/ 155 h 219"/>
                <a:gd name="T18" fmla="*/ 194 w 220"/>
                <a:gd name="T19" fmla="*/ 179 h 219"/>
                <a:gd name="T20" fmla="*/ 174 w 220"/>
                <a:gd name="T21" fmla="*/ 197 h 219"/>
                <a:gd name="T22" fmla="*/ 148 w 220"/>
                <a:gd name="T23" fmla="*/ 211 h 219"/>
                <a:gd name="T24" fmla="*/ 130 w 220"/>
                <a:gd name="T25" fmla="*/ 217 h 219"/>
                <a:gd name="T26" fmla="*/ 110 w 220"/>
                <a:gd name="T27" fmla="*/ 219 h 219"/>
                <a:gd name="T28" fmla="*/ 84 w 220"/>
                <a:gd name="T29" fmla="*/ 215 h 219"/>
                <a:gd name="T30" fmla="*/ 60 w 220"/>
                <a:gd name="T31" fmla="*/ 205 h 219"/>
                <a:gd name="T32" fmla="*/ 38 w 220"/>
                <a:gd name="T33" fmla="*/ 191 h 219"/>
                <a:gd name="T34" fmla="*/ 20 w 220"/>
                <a:gd name="T35" fmla="*/ 171 h 219"/>
                <a:gd name="T36" fmla="*/ 8 w 220"/>
                <a:gd name="T37" fmla="*/ 145 h 219"/>
                <a:gd name="T38" fmla="*/ 0 w 220"/>
                <a:gd name="T39" fmla="*/ 117 h 219"/>
                <a:gd name="T40" fmla="*/ 2 w 220"/>
                <a:gd name="T41" fmla="*/ 89 h 219"/>
                <a:gd name="T42" fmla="*/ 10 w 220"/>
                <a:gd name="T43" fmla="*/ 64 h 219"/>
                <a:gd name="T44" fmla="*/ 26 w 220"/>
                <a:gd name="T45" fmla="*/ 40 h 219"/>
                <a:gd name="T46" fmla="*/ 46 w 220"/>
                <a:gd name="T47" fmla="*/ 20 h 219"/>
                <a:gd name="T48" fmla="*/ 72 w 220"/>
                <a:gd name="T49" fmla="*/ 6 h 219"/>
                <a:gd name="T50" fmla="*/ 102 w 220"/>
                <a:gd name="T5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0" h="219">
                  <a:moveTo>
                    <a:pt x="102" y="0"/>
                  </a:moveTo>
                  <a:lnTo>
                    <a:pt x="130" y="2"/>
                  </a:lnTo>
                  <a:lnTo>
                    <a:pt x="158" y="10"/>
                  </a:lnTo>
                  <a:lnTo>
                    <a:pt x="180" y="26"/>
                  </a:lnTo>
                  <a:lnTo>
                    <a:pt x="200" y="46"/>
                  </a:lnTo>
                  <a:lnTo>
                    <a:pt x="214" y="72"/>
                  </a:lnTo>
                  <a:lnTo>
                    <a:pt x="220" y="101"/>
                  </a:lnTo>
                  <a:lnTo>
                    <a:pt x="218" y="129"/>
                  </a:lnTo>
                  <a:lnTo>
                    <a:pt x="210" y="155"/>
                  </a:lnTo>
                  <a:lnTo>
                    <a:pt x="194" y="179"/>
                  </a:lnTo>
                  <a:lnTo>
                    <a:pt x="174" y="197"/>
                  </a:lnTo>
                  <a:lnTo>
                    <a:pt x="148" y="211"/>
                  </a:lnTo>
                  <a:lnTo>
                    <a:pt x="130" y="217"/>
                  </a:lnTo>
                  <a:lnTo>
                    <a:pt x="110" y="219"/>
                  </a:lnTo>
                  <a:lnTo>
                    <a:pt x="84" y="215"/>
                  </a:lnTo>
                  <a:lnTo>
                    <a:pt x="60" y="205"/>
                  </a:lnTo>
                  <a:lnTo>
                    <a:pt x="38" y="191"/>
                  </a:lnTo>
                  <a:lnTo>
                    <a:pt x="20" y="171"/>
                  </a:lnTo>
                  <a:lnTo>
                    <a:pt x="8" y="145"/>
                  </a:lnTo>
                  <a:lnTo>
                    <a:pt x="0" y="117"/>
                  </a:lnTo>
                  <a:lnTo>
                    <a:pt x="2" y="89"/>
                  </a:lnTo>
                  <a:lnTo>
                    <a:pt x="10" y="64"/>
                  </a:lnTo>
                  <a:lnTo>
                    <a:pt x="26" y="40"/>
                  </a:lnTo>
                  <a:lnTo>
                    <a:pt x="46" y="20"/>
                  </a:lnTo>
                  <a:lnTo>
                    <a:pt x="72" y="6"/>
                  </a:lnTo>
                  <a:lnTo>
                    <a:pt x="10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5" name="Freeform 53"/>
            <p:cNvSpPr>
              <a:spLocks/>
            </p:cNvSpPr>
            <p:nvPr/>
          </p:nvSpPr>
          <p:spPr bwMode="auto">
            <a:xfrm>
              <a:off x="1475" y="2939"/>
              <a:ext cx="110" cy="109"/>
            </a:xfrm>
            <a:custGeom>
              <a:avLst/>
              <a:gdLst>
                <a:gd name="T0" fmla="*/ 107 w 219"/>
                <a:gd name="T1" fmla="*/ 0 h 217"/>
                <a:gd name="T2" fmla="*/ 135 w 219"/>
                <a:gd name="T3" fmla="*/ 2 h 217"/>
                <a:gd name="T4" fmla="*/ 161 w 219"/>
                <a:gd name="T5" fmla="*/ 12 h 217"/>
                <a:gd name="T6" fmla="*/ 185 w 219"/>
                <a:gd name="T7" fmla="*/ 28 h 217"/>
                <a:gd name="T8" fmla="*/ 203 w 219"/>
                <a:gd name="T9" fmla="*/ 52 h 217"/>
                <a:gd name="T10" fmla="*/ 215 w 219"/>
                <a:gd name="T11" fmla="*/ 78 h 217"/>
                <a:gd name="T12" fmla="*/ 219 w 219"/>
                <a:gd name="T13" fmla="*/ 105 h 217"/>
                <a:gd name="T14" fmla="*/ 217 w 219"/>
                <a:gd name="T15" fmla="*/ 133 h 217"/>
                <a:gd name="T16" fmla="*/ 207 w 219"/>
                <a:gd name="T17" fmla="*/ 159 h 217"/>
                <a:gd name="T18" fmla="*/ 191 w 219"/>
                <a:gd name="T19" fmla="*/ 183 h 217"/>
                <a:gd name="T20" fmla="*/ 167 w 219"/>
                <a:gd name="T21" fmla="*/ 201 h 217"/>
                <a:gd name="T22" fmla="*/ 139 w 219"/>
                <a:gd name="T23" fmla="*/ 213 h 217"/>
                <a:gd name="T24" fmla="*/ 109 w 219"/>
                <a:gd name="T25" fmla="*/ 217 h 217"/>
                <a:gd name="T26" fmla="*/ 83 w 219"/>
                <a:gd name="T27" fmla="*/ 215 h 217"/>
                <a:gd name="T28" fmla="*/ 58 w 219"/>
                <a:gd name="T29" fmla="*/ 205 h 217"/>
                <a:gd name="T30" fmla="*/ 36 w 219"/>
                <a:gd name="T31" fmla="*/ 189 h 217"/>
                <a:gd name="T32" fmla="*/ 18 w 219"/>
                <a:gd name="T33" fmla="*/ 167 h 217"/>
                <a:gd name="T34" fmla="*/ 6 w 219"/>
                <a:gd name="T35" fmla="*/ 139 h 217"/>
                <a:gd name="T36" fmla="*/ 0 w 219"/>
                <a:gd name="T37" fmla="*/ 111 h 217"/>
                <a:gd name="T38" fmla="*/ 4 w 219"/>
                <a:gd name="T39" fmla="*/ 84 h 217"/>
                <a:gd name="T40" fmla="*/ 14 w 219"/>
                <a:gd name="T41" fmla="*/ 58 h 217"/>
                <a:gd name="T42" fmla="*/ 30 w 219"/>
                <a:gd name="T43" fmla="*/ 36 h 217"/>
                <a:gd name="T44" fmla="*/ 52 w 219"/>
                <a:gd name="T45" fmla="*/ 16 h 217"/>
                <a:gd name="T46" fmla="*/ 79 w 219"/>
                <a:gd name="T47" fmla="*/ 4 h 217"/>
                <a:gd name="T48" fmla="*/ 107 w 219"/>
                <a:gd name="T49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9" h="217">
                  <a:moveTo>
                    <a:pt x="107" y="0"/>
                  </a:moveTo>
                  <a:lnTo>
                    <a:pt x="135" y="2"/>
                  </a:lnTo>
                  <a:lnTo>
                    <a:pt x="161" y="12"/>
                  </a:lnTo>
                  <a:lnTo>
                    <a:pt x="185" y="28"/>
                  </a:lnTo>
                  <a:lnTo>
                    <a:pt x="203" y="52"/>
                  </a:lnTo>
                  <a:lnTo>
                    <a:pt x="215" y="78"/>
                  </a:lnTo>
                  <a:lnTo>
                    <a:pt x="219" y="105"/>
                  </a:lnTo>
                  <a:lnTo>
                    <a:pt x="217" y="133"/>
                  </a:lnTo>
                  <a:lnTo>
                    <a:pt x="207" y="159"/>
                  </a:lnTo>
                  <a:lnTo>
                    <a:pt x="191" y="183"/>
                  </a:lnTo>
                  <a:lnTo>
                    <a:pt x="167" y="201"/>
                  </a:lnTo>
                  <a:lnTo>
                    <a:pt x="139" y="213"/>
                  </a:lnTo>
                  <a:lnTo>
                    <a:pt x="109" y="217"/>
                  </a:lnTo>
                  <a:lnTo>
                    <a:pt x="83" y="215"/>
                  </a:lnTo>
                  <a:lnTo>
                    <a:pt x="58" y="205"/>
                  </a:lnTo>
                  <a:lnTo>
                    <a:pt x="36" y="189"/>
                  </a:lnTo>
                  <a:lnTo>
                    <a:pt x="18" y="167"/>
                  </a:lnTo>
                  <a:lnTo>
                    <a:pt x="6" y="139"/>
                  </a:lnTo>
                  <a:lnTo>
                    <a:pt x="0" y="111"/>
                  </a:lnTo>
                  <a:lnTo>
                    <a:pt x="4" y="84"/>
                  </a:lnTo>
                  <a:lnTo>
                    <a:pt x="14" y="58"/>
                  </a:lnTo>
                  <a:lnTo>
                    <a:pt x="30" y="36"/>
                  </a:lnTo>
                  <a:lnTo>
                    <a:pt x="52" y="16"/>
                  </a:lnTo>
                  <a:lnTo>
                    <a:pt x="79" y="4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6" name="Freeform 54"/>
            <p:cNvSpPr>
              <a:spLocks/>
            </p:cNvSpPr>
            <p:nvPr/>
          </p:nvSpPr>
          <p:spPr bwMode="auto">
            <a:xfrm>
              <a:off x="3769" y="3374"/>
              <a:ext cx="109" cy="109"/>
            </a:xfrm>
            <a:custGeom>
              <a:avLst/>
              <a:gdLst>
                <a:gd name="T0" fmla="*/ 96 w 218"/>
                <a:gd name="T1" fmla="*/ 0 h 217"/>
                <a:gd name="T2" fmla="*/ 124 w 218"/>
                <a:gd name="T3" fmla="*/ 0 h 217"/>
                <a:gd name="T4" fmla="*/ 150 w 218"/>
                <a:gd name="T5" fmla="*/ 8 h 217"/>
                <a:gd name="T6" fmla="*/ 176 w 218"/>
                <a:gd name="T7" fmla="*/ 22 h 217"/>
                <a:gd name="T8" fmla="*/ 196 w 218"/>
                <a:gd name="T9" fmla="*/ 44 h 217"/>
                <a:gd name="T10" fmla="*/ 210 w 218"/>
                <a:gd name="T11" fmla="*/ 68 h 217"/>
                <a:gd name="T12" fmla="*/ 218 w 218"/>
                <a:gd name="T13" fmla="*/ 96 h 217"/>
                <a:gd name="T14" fmla="*/ 216 w 218"/>
                <a:gd name="T15" fmla="*/ 123 h 217"/>
                <a:gd name="T16" fmla="*/ 210 w 218"/>
                <a:gd name="T17" fmla="*/ 151 h 217"/>
                <a:gd name="T18" fmla="*/ 194 w 218"/>
                <a:gd name="T19" fmla="*/ 175 h 217"/>
                <a:gd name="T20" fmla="*/ 174 w 218"/>
                <a:gd name="T21" fmla="*/ 195 h 217"/>
                <a:gd name="T22" fmla="*/ 142 w 218"/>
                <a:gd name="T23" fmla="*/ 213 h 217"/>
                <a:gd name="T24" fmla="*/ 108 w 218"/>
                <a:gd name="T25" fmla="*/ 217 h 217"/>
                <a:gd name="T26" fmla="*/ 84 w 218"/>
                <a:gd name="T27" fmla="*/ 215 h 217"/>
                <a:gd name="T28" fmla="*/ 60 w 218"/>
                <a:gd name="T29" fmla="*/ 207 h 217"/>
                <a:gd name="T30" fmla="*/ 38 w 218"/>
                <a:gd name="T31" fmla="*/ 193 h 217"/>
                <a:gd name="T32" fmla="*/ 20 w 218"/>
                <a:gd name="T33" fmla="*/ 173 h 217"/>
                <a:gd name="T34" fmla="*/ 6 w 218"/>
                <a:gd name="T35" fmla="*/ 147 h 217"/>
                <a:gd name="T36" fmla="*/ 0 w 218"/>
                <a:gd name="T37" fmla="*/ 119 h 217"/>
                <a:gd name="T38" fmla="*/ 0 w 218"/>
                <a:gd name="T39" fmla="*/ 92 h 217"/>
                <a:gd name="T40" fmla="*/ 8 w 218"/>
                <a:gd name="T41" fmla="*/ 66 h 217"/>
                <a:gd name="T42" fmla="*/ 22 w 218"/>
                <a:gd name="T43" fmla="*/ 40 h 217"/>
                <a:gd name="T44" fmla="*/ 42 w 218"/>
                <a:gd name="T45" fmla="*/ 20 h 217"/>
                <a:gd name="T46" fmla="*/ 68 w 218"/>
                <a:gd name="T47" fmla="*/ 6 h 217"/>
                <a:gd name="T48" fmla="*/ 96 w 218"/>
                <a:gd name="T49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8" h="217">
                  <a:moveTo>
                    <a:pt x="96" y="0"/>
                  </a:moveTo>
                  <a:lnTo>
                    <a:pt x="124" y="0"/>
                  </a:lnTo>
                  <a:lnTo>
                    <a:pt x="150" y="8"/>
                  </a:lnTo>
                  <a:lnTo>
                    <a:pt x="176" y="22"/>
                  </a:lnTo>
                  <a:lnTo>
                    <a:pt x="196" y="44"/>
                  </a:lnTo>
                  <a:lnTo>
                    <a:pt x="210" y="68"/>
                  </a:lnTo>
                  <a:lnTo>
                    <a:pt x="218" y="96"/>
                  </a:lnTo>
                  <a:lnTo>
                    <a:pt x="216" y="123"/>
                  </a:lnTo>
                  <a:lnTo>
                    <a:pt x="210" y="151"/>
                  </a:lnTo>
                  <a:lnTo>
                    <a:pt x="194" y="175"/>
                  </a:lnTo>
                  <a:lnTo>
                    <a:pt x="174" y="195"/>
                  </a:lnTo>
                  <a:lnTo>
                    <a:pt x="142" y="213"/>
                  </a:lnTo>
                  <a:lnTo>
                    <a:pt x="108" y="217"/>
                  </a:lnTo>
                  <a:lnTo>
                    <a:pt x="84" y="215"/>
                  </a:lnTo>
                  <a:lnTo>
                    <a:pt x="60" y="207"/>
                  </a:lnTo>
                  <a:lnTo>
                    <a:pt x="38" y="193"/>
                  </a:lnTo>
                  <a:lnTo>
                    <a:pt x="20" y="173"/>
                  </a:lnTo>
                  <a:lnTo>
                    <a:pt x="6" y="147"/>
                  </a:lnTo>
                  <a:lnTo>
                    <a:pt x="0" y="119"/>
                  </a:lnTo>
                  <a:lnTo>
                    <a:pt x="0" y="92"/>
                  </a:lnTo>
                  <a:lnTo>
                    <a:pt x="8" y="66"/>
                  </a:lnTo>
                  <a:lnTo>
                    <a:pt x="22" y="40"/>
                  </a:lnTo>
                  <a:lnTo>
                    <a:pt x="42" y="20"/>
                  </a:lnTo>
                  <a:lnTo>
                    <a:pt x="68" y="6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7" name="Freeform 55"/>
            <p:cNvSpPr>
              <a:spLocks/>
            </p:cNvSpPr>
            <p:nvPr/>
          </p:nvSpPr>
          <p:spPr bwMode="auto">
            <a:xfrm>
              <a:off x="4200" y="2886"/>
              <a:ext cx="110" cy="110"/>
            </a:xfrm>
            <a:custGeom>
              <a:avLst/>
              <a:gdLst>
                <a:gd name="T0" fmla="*/ 107 w 219"/>
                <a:gd name="T1" fmla="*/ 0 h 219"/>
                <a:gd name="T2" fmla="*/ 135 w 219"/>
                <a:gd name="T3" fmla="*/ 4 h 219"/>
                <a:gd name="T4" fmla="*/ 163 w 219"/>
                <a:gd name="T5" fmla="*/ 14 h 219"/>
                <a:gd name="T6" fmla="*/ 187 w 219"/>
                <a:gd name="T7" fmla="*/ 32 h 219"/>
                <a:gd name="T8" fmla="*/ 203 w 219"/>
                <a:gd name="T9" fmla="*/ 56 h 219"/>
                <a:gd name="T10" fmla="*/ 215 w 219"/>
                <a:gd name="T11" fmla="*/ 82 h 219"/>
                <a:gd name="T12" fmla="*/ 219 w 219"/>
                <a:gd name="T13" fmla="*/ 110 h 219"/>
                <a:gd name="T14" fmla="*/ 215 w 219"/>
                <a:gd name="T15" fmla="*/ 138 h 219"/>
                <a:gd name="T16" fmla="*/ 203 w 219"/>
                <a:gd name="T17" fmla="*/ 164 h 219"/>
                <a:gd name="T18" fmla="*/ 185 w 219"/>
                <a:gd name="T19" fmla="*/ 188 h 219"/>
                <a:gd name="T20" fmla="*/ 163 w 219"/>
                <a:gd name="T21" fmla="*/ 205 h 219"/>
                <a:gd name="T22" fmla="*/ 137 w 219"/>
                <a:gd name="T23" fmla="*/ 215 h 219"/>
                <a:gd name="T24" fmla="*/ 109 w 219"/>
                <a:gd name="T25" fmla="*/ 219 h 219"/>
                <a:gd name="T26" fmla="*/ 82 w 219"/>
                <a:gd name="T27" fmla="*/ 215 h 219"/>
                <a:gd name="T28" fmla="*/ 56 w 219"/>
                <a:gd name="T29" fmla="*/ 205 h 219"/>
                <a:gd name="T30" fmla="*/ 32 w 219"/>
                <a:gd name="T31" fmla="*/ 188 h 219"/>
                <a:gd name="T32" fmla="*/ 14 w 219"/>
                <a:gd name="T33" fmla="*/ 166 h 219"/>
                <a:gd name="T34" fmla="*/ 4 w 219"/>
                <a:gd name="T35" fmla="*/ 140 h 219"/>
                <a:gd name="T36" fmla="*/ 0 w 219"/>
                <a:gd name="T37" fmla="*/ 112 h 219"/>
                <a:gd name="T38" fmla="*/ 4 w 219"/>
                <a:gd name="T39" fmla="*/ 84 h 219"/>
                <a:gd name="T40" fmla="*/ 14 w 219"/>
                <a:gd name="T41" fmla="*/ 56 h 219"/>
                <a:gd name="T42" fmla="*/ 32 w 219"/>
                <a:gd name="T43" fmla="*/ 32 h 219"/>
                <a:gd name="T44" fmla="*/ 56 w 219"/>
                <a:gd name="T45" fmla="*/ 16 h 219"/>
                <a:gd name="T46" fmla="*/ 80 w 219"/>
                <a:gd name="T47" fmla="*/ 4 h 219"/>
                <a:gd name="T48" fmla="*/ 107 w 219"/>
                <a:gd name="T49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9" h="219">
                  <a:moveTo>
                    <a:pt x="107" y="0"/>
                  </a:moveTo>
                  <a:lnTo>
                    <a:pt x="135" y="4"/>
                  </a:lnTo>
                  <a:lnTo>
                    <a:pt x="163" y="14"/>
                  </a:lnTo>
                  <a:lnTo>
                    <a:pt x="187" y="32"/>
                  </a:lnTo>
                  <a:lnTo>
                    <a:pt x="203" y="56"/>
                  </a:lnTo>
                  <a:lnTo>
                    <a:pt x="215" y="82"/>
                  </a:lnTo>
                  <a:lnTo>
                    <a:pt x="219" y="110"/>
                  </a:lnTo>
                  <a:lnTo>
                    <a:pt x="215" y="138"/>
                  </a:lnTo>
                  <a:lnTo>
                    <a:pt x="203" y="164"/>
                  </a:lnTo>
                  <a:lnTo>
                    <a:pt x="185" y="188"/>
                  </a:lnTo>
                  <a:lnTo>
                    <a:pt x="163" y="205"/>
                  </a:lnTo>
                  <a:lnTo>
                    <a:pt x="137" y="215"/>
                  </a:lnTo>
                  <a:lnTo>
                    <a:pt x="109" y="219"/>
                  </a:lnTo>
                  <a:lnTo>
                    <a:pt x="82" y="215"/>
                  </a:lnTo>
                  <a:lnTo>
                    <a:pt x="56" y="205"/>
                  </a:lnTo>
                  <a:lnTo>
                    <a:pt x="32" y="188"/>
                  </a:lnTo>
                  <a:lnTo>
                    <a:pt x="14" y="166"/>
                  </a:lnTo>
                  <a:lnTo>
                    <a:pt x="4" y="140"/>
                  </a:lnTo>
                  <a:lnTo>
                    <a:pt x="0" y="112"/>
                  </a:lnTo>
                  <a:lnTo>
                    <a:pt x="4" y="84"/>
                  </a:lnTo>
                  <a:lnTo>
                    <a:pt x="14" y="56"/>
                  </a:lnTo>
                  <a:lnTo>
                    <a:pt x="32" y="32"/>
                  </a:lnTo>
                  <a:lnTo>
                    <a:pt x="56" y="16"/>
                  </a:lnTo>
                  <a:lnTo>
                    <a:pt x="80" y="4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8" name="Freeform 56"/>
            <p:cNvSpPr>
              <a:spLocks/>
            </p:cNvSpPr>
            <p:nvPr/>
          </p:nvSpPr>
          <p:spPr bwMode="auto">
            <a:xfrm>
              <a:off x="4274" y="2741"/>
              <a:ext cx="108" cy="109"/>
            </a:xfrm>
            <a:custGeom>
              <a:avLst/>
              <a:gdLst>
                <a:gd name="T0" fmla="*/ 98 w 218"/>
                <a:gd name="T1" fmla="*/ 0 h 219"/>
                <a:gd name="T2" fmla="*/ 126 w 218"/>
                <a:gd name="T3" fmla="*/ 0 h 219"/>
                <a:gd name="T4" fmla="*/ 154 w 218"/>
                <a:gd name="T5" fmla="*/ 8 h 219"/>
                <a:gd name="T6" fmla="*/ 180 w 218"/>
                <a:gd name="T7" fmla="*/ 24 h 219"/>
                <a:gd name="T8" fmla="*/ 198 w 218"/>
                <a:gd name="T9" fmla="*/ 44 h 219"/>
                <a:gd name="T10" fmla="*/ 212 w 218"/>
                <a:gd name="T11" fmla="*/ 70 h 219"/>
                <a:gd name="T12" fmla="*/ 218 w 218"/>
                <a:gd name="T13" fmla="*/ 96 h 219"/>
                <a:gd name="T14" fmla="*/ 218 w 218"/>
                <a:gd name="T15" fmla="*/ 126 h 219"/>
                <a:gd name="T16" fmla="*/ 210 w 218"/>
                <a:gd name="T17" fmla="*/ 154 h 219"/>
                <a:gd name="T18" fmla="*/ 192 w 218"/>
                <a:gd name="T19" fmla="*/ 180 h 219"/>
                <a:gd name="T20" fmla="*/ 168 w 218"/>
                <a:gd name="T21" fmla="*/ 201 h 219"/>
                <a:gd name="T22" fmla="*/ 140 w 218"/>
                <a:gd name="T23" fmla="*/ 213 h 219"/>
                <a:gd name="T24" fmla="*/ 110 w 218"/>
                <a:gd name="T25" fmla="*/ 219 h 219"/>
                <a:gd name="T26" fmla="*/ 88 w 218"/>
                <a:gd name="T27" fmla="*/ 215 h 219"/>
                <a:gd name="T28" fmla="*/ 66 w 218"/>
                <a:gd name="T29" fmla="*/ 209 h 219"/>
                <a:gd name="T30" fmla="*/ 40 w 218"/>
                <a:gd name="T31" fmla="*/ 193 h 219"/>
                <a:gd name="T32" fmla="*/ 20 w 218"/>
                <a:gd name="T33" fmla="*/ 174 h 219"/>
                <a:gd name="T34" fmla="*/ 8 w 218"/>
                <a:gd name="T35" fmla="*/ 148 h 219"/>
                <a:gd name="T36" fmla="*/ 0 w 218"/>
                <a:gd name="T37" fmla="*/ 122 h 219"/>
                <a:gd name="T38" fmla="*/ 2 w 218"/>
                <a:gd name="T39" fmla="*/ 92 h 219"/>
                <a:gd name="T40" fmla="*/ 10 w 218"/>
                <a:gd name="T41" fmla="*/ 64 h 219"/>
                <a:gd name="T42" fmla="*/ 24 w 218"/>
                <a:gd name="T43" fmla="*/ 40 h 219"/>
                <a:gd name="T44" fmla="*/ 46 w 218"/>
                <a:gd name="T45" fmla="*/ 20 h 219"/>
                <a:gd name="T46" fmla="*/ 70 w 218"/>
                <a:gd name="T47" fmla="*/ 6 h 219"/>
                <a:gd name="T48" fmla="*/ 98 w 218"/>
                <a:gd name="T49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8" h="219">
                  <a:moveTo>
                    <a:pt x="98" y="0"/>
                  </a:moveTo>
                  <a:lnTo>
                    <a:pt x="126" y="0"/>
                  </a:lnTo>
                  <a:lnTo>
                    <a:pt x="154" y="8"/>
                  </a:lnTo>
                  <a:lnTo>
                    <a:pt x="180" y="24"/>
                  </a:lnTo>
                  <a:lnTo>
                    <a:pt x="198" y="44"/>
                  </a:lnTo>
                  <a:lnTo>
                    <a:pt x="212" y="70"/>
                  </a:lnTo>
                  <a:lnTo>
                    <a:pt x="218" y="96"/>
                  </a:lnTo>
                  <a:lnTo>
                    <a:pt x="218" y="126"/>
                  </a:lnTo>
                  <a:lnTo>
                    <a:pt x="210" y="154"/>
                  </a:lnTo>
                  <a:lnTo>
                    <a:pt x="192" y="180"/>
                  </a:lnTo>
                  <a:lnTo>
                    <a:pt x="168" y="201"/>
                  </a:lnTo>
                  <a:lnTo>
                    <a:pt x="140" y="213"/>
                  </a:lnTo>
                  <a:lnTo>
                    <a:pt x="110" y="219"/>
                  </a:lnTo>
                  <a:lnTo>
                    <a:pt x="88" y="215"/>
                  </a:lnTo>
                  <a:lnTo>
                    <a:pt x="66" y="209"/>
                  </a:lnTo>
                  <a:lnTo>
                    <a:pt x="40" y="193"/>
                  </a:lnTo>
                  <a:lnTo>
                    <a:pt x="20" y="174"/>
                  </a:lnTo>
                  <a:lnTo>
                    <a:pt x="8" y="148"/>
                  </a:lnTo>
                  <a:lnTo>
                    <a:pt x="0" y="122"/>
                  </a:lnTo>
                  <a:lnTo>
                    <a:pt x="2" y="92"/>
                  </a:lnTo>
                  <a:lnTo>
                    <a:pt x="10" y="64"/>
                  </a:lnTo>
                  <a:lnTo>
                    <a:pt x="24" y="40"/>
                  </a:lnTo>
                  <a:lnTo>
                    <a:pt x="46" y="20"/>
                  </a:lnTo>
                  <a:lnTo>
                    <a:pt x="70" y="6"/>
                  </a:lnTo>
                  <a:lnTo>
                    <a:pt x="9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9" name="Freeform 57"/>
            <p:cNvSpPr>
              <a:spLocks/>
            </p:cNvSpPr>
            <p:nvPr/>
          </p:nvSpPr>
          <p:spPr bwMode="auto">
            <a:xfrm>
              <a:off x="4111" y="3025"/>
              <a:ext cx="110" cy="109"/>
            </a:xfrm>
            <a:custGeom>
              <a:avLst/>
              <a:gdLst>
                <a:gd name="T0" fmla="*/ 120 w 220"/>
                <a:gd name="T1" fmla="*/ 0 h 219"/>
                <a:gd name="T2" fmla="*/ 148 w 220"/>
                <a:gd name="T3" fmla="*/ 6 h 219"/>
                <a:gd name="T4" fmla="*/ 174 w 220"/>
                <a:gd name="T5" fmla="*/ 20 h 219"/>
                <a:gd name="T6" fmla="*/ 196 w 220"/>
                <a:gd name="T7" fmla="*/ 40 h 219"/>
                <a:gd name="T8" fmla="*/ 210 w 220"/>
                <a:gd name="T9" fmla="*/ 64 h 219"/>
                <a:gd name="T10" fmla="*/ 218 w 220"/>
                <a:gd name="T11" fmla="*/ 92 h 219"/>
                <a:gd name="T12" fmla="*/ 220 w 220"/>
                <a:gd name="T13" fmla="*/ 120 h 219"/>
                <a:gd name="T14" fmla="*/ 214 w 220"/>
                <a:gd name="T15" fmla="*/ 148 h 219"/>
                <a:gd name="T16" fmla="*/ 200 w 220"/>
                <a:gd name="T17" fmla="*/ 172 h 219"/>
                <a:gd name="T18" fmla="*/ 182 w 220"/>
                <a:gd name="T19" fmla="*/ 192 h 219"/>
                <a:gd name="T20" fmla="*/ 160 w 220"/>
                <a:gd name="T21" fmla="*/ 208 h 219"/>
                <a:gd name="T22" fmla="*/ 136 w 220"/>
                <a:gd name="T23" fmla="*/ 215 h 219"/>
                <a:gd name="T24" fmla="*/ 110 w 220"/>
                <a:gd name="T25" fmla="*/ 219 h 219"/>
                <a:gd name="T26" fmla="*/ 78 w 220"/>
                <a:gd name="T27" fmla="*/ 214 h 219"/>
                <a:gd name="T28" fmla="*/ 46 w 220"/>
                <a:gd name="T29" fmla="*/ 198 h 219"/>
                <a:gd name="T30" fmla="*/ 24 w 220"/>
                <a:gd name="T31" fmla="*/ 178 h 219"/>
                <a:gd name="T32" fmla="*/ 10 w 220"/>
                <a:gd name="T33" fmla="*/ 154 h 219"/>
                <a:gd name="T34" fmla="*/ 2 w 220"/>
                <a:gd name="T35" fmla="*/ 126 h 219"/>
                <a:gd name="T36" fmla="*/ 0 w 220"/>
                <a:gd name="T37" fmla="*/ 98 h 219"/>
                <a:gd name="T38" fmla="*/ 8 w 220"/>
                <a:gd name="T39" fmla="*/ 72 h 219"/>
                <a:gd name="T40" fmla="*/ 20 w 220"/>
                <a:gd name="T41" fmla="*/ 46 h 219"/>
                <a:gd name="T42" fmla="*/ 40 w 220"/>
                <a:gd name="T43" fmla="*/ 24 h 219"/>
                <a:gd name="T44" fmla="*/ 66 w 220"/>
                <a:gd name="T45" fmla="*/ 10 h 219"/>
                <a:gd name="T46" fmla="*/ 92 w 220"/>
                <a:gd name="T47" fmla="*/ 2 h 219"/>
                <a:gd name="T48" fmla="*/ 120 w 220"/>
                <a:gd name="T49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0" h="219">
                  <a:moveTo>
                    <a:pt x="120" y="0"/>
                  </a:moveTo>
                  <a:lnTo>
                    <a:pt x="148" y="6"/>
                  </a:lnTo>
                  <a:lnTo>
                    <a:pt x="174" y="20"/>
                  </a:lnTo>
                  <a:lnTo>
                    <a:pt x="196" y="40"/>
                  </a:lnTo>
                  <a:lnTo>
                    <a:pt x="210" y="64"/>
                  </a:lnTo>
                  <a:lnTo>
                    <a:pt x="218" y="92"/>
                  </a:lnTo>
                  <a:lnTo>
                    <a:pt x="220" y="120"/>
                  </a:lnTo>
                  <a:lnTo>
                    <a:pt x="214" y="148"/>
                  </a:lnTo>
                  <a:lnTo>
                    <a:pt x="200" y="172"/>
                  </a:lnTo>
                  <a:lnTo>
                    <a:pt x="182" y="192"/>
                  </a:lnTo>
                  <a:lnTo>
                    <a:pt x="160" y="208"/>
                  </a:lnTo>
                  <a:lnTo>
                    <a:pt x="136" y="215"/>
                  </a:lnTo>
                  <a:lnTo>
                    <a:pt x="110" y="219"/>
                  </a:lnTo>
                  <a:lnTo>
                    <a:pt x="78" y="214"/>
                  </a:lnTo>
                  <a:lnTo>
                    <a:pt x="46" y="198"/>
                  </a:lnTo>
                  <a:lnTo>
                    <a:pt x="24" y="178"/>
                  </a:lnTo>
                  <a:lnTo>
                    <a:pt x="10" y="154"/>
                  </a:lnTo>
                  <a:lnTo>
                    <a:pt x="2" y="126"/>
                  </a:lnTo>
                  <a:lnTo>
                    <a:pt x="0" y="98"/>
                  </a:lnTo>
                  <a:lnTo>
                    <a:pt x="8" y="72"/>
                  </a:lnTo>
                  <a:lnTo>
                    <a:pt x="20" y="46"/>
                  </a:lnTo>
                  <a:lnTo>
                    <a:pt x="40" y="24"/>
                  </a:lnTo>
                  <a:lnTo>
                    <a:pt x="66" y="10"/>
                  </a:lnTo>
                  <a:lnTo>
                    <a:pt x="92" y="2"/>
                  </a:lnTo>
                  <a:lnTo>
                    <a:pt x="12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0" name="Freeform 58"/>
            <p:cNvSpPr>
              <a:spLocks/>
            </p:cNvSpPr>
            <p:nvPr/>
          </p:nvSpPr>
          <p:spPr bwMode="auto">
            <a:xfrm>
              <a:off x="4374" y="2429"/>
              <a:ext cx="109" cy="109"/>
            </a:xfrm>
            <a:custGeom>
              <a:avLst/>
              <a:gdLst>
                <a:gd name="T0" fmla="*/ 102 w 217"/>
                <a:gd name="T1" fmla="*/ 0 h 219"/>
                <a:gd name="T2" fmla="*/ 129 w 217"/>
                <a:gd name="T3" fmla="*/ 4 h 219"/>
                <a:gd name="T4" fmla="*/ 157 w 217"/>
                <a:gd name="T5" fmla="*/ 12 h 219"/>
                <a:gd name="T6" fmla="*/ 181 w 217"/>
                <a:gd name="T7" fmla="*/ 28 h 219"/>
                <a:gd name="T8" fmla="*/ 199 w 217"/>
                <a:gd name="T9" fmla="*/ 50 h 219"/>
                <a:gd name="T10" fmla="*/ 211 w 217"/>
                <a:gd name="T11" fmla="*/ 76 h 219"/>
                <a:gd name="T12" fmla="*/ 217 w 217"/>
                <a:gd name="T13" fmla="*/ 104 h 219"/>
                <a:gd name="T14" fmla="*/ 215 w 217"/>
                <a:gd name="T15" fmla="*/ 132 h 219"/>
                <a:gd name="T16" fmla="*/ 205 w 217"/>
                <a:gd name="T17" fmla="*/ 162 h 219"/>
                <a:gd name="T18" fmla="*/ 187 w 217"/>
                <a:gd name="T19" fmla="*/ 186 h 219"/>
                <a:gd name="T20" fmla="*/ 165 w 217"/>
                <a:gd name="T21" fmla="*/ 204 h 219"/>
                <a:gd name="T22" fmla="*/ 137 w 217"/>
                <a:gd name="T23" fmla="*/ 215 h 219"/>
                <a:gd name="T24" fmla="*/ 108 w 217"/>
                <a:gd name="T25" fmla="*/ 219 h 219"/>
                <a:gd name="T26" fmla="*/ 98 w 217"/>
                <a:gd name="T27" fmla="*/ 219 h 219"/>
                <a:gd name="T28" fmla="*/ 86 w 217"/>
                <a:gd name="T29" fmla="*/ 215 h 219"/>
                <a:gd name="T30" fmla="*/ 58 w 217"/>
                <a:gd name="T31" fmla="*/ 208 h 219"/>
                <a:gd name="T32" fmla="*/ 34 w 217"/>
                <a:gd name="T33" fmla="*/ 192 h 219"/>
                <a:gd name="T34" fmla="*/ 16 w 217"/>
                <a:gd name="T35" fmla="*/ 170 h 219"/>
                <a:gd name="T36" fmla="*/ 4 w 217"/>
                <a:gd name="T37" fmla="*/ 144 h 219"/>
                <a:gd name="T38" fmla="*/ 0 w 217"/>
                <a:gd name="T39" fmla="*/ 116 h 219"/>
                <a:gd name="T40" fmla="*/ 2 w 217"/>
                <a:gd name="T41" fmla="*/ 88 h 219"/>
                <a:gd name="T42" fmla="*/ 12 w 217"/>
                <a:gd name="T43" fmla="*/ 60 h 219"/>
                <a:gd name="T44" fmla="*/ 28 w 217"/>
                <a:gd name="T45" fmla="*/ 36 h 219"/>
                <a:gd name="T46" fmla="*/ 48 w 217"/>
                <a:gd name="T47" fmla="*/ 18 h 219"/>
                <a:gd name="T48" fmla="*/ 74 w 217"/>
                <a:gd name="T49" fmla="*/ 6 h 219"/>
                <a:gd name="T50" fmla="*/ 102 w 217"/>
                <a:gd name="T5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7" h="219">
                  <a:moveTo>
                    <a:pt x="102" y="0"/>
                  </a:moveTo>
                  <a:lnTo>
                    <a:pt x="129" y="4"/>
                  </a:lnTo>
                  <a:lnTo>
                    <a:pt x="157" y="12"/>
                  </a:lnTo>
                  <a:lnTo>
                    <a:pt x="181" y="28"/>
                  </a:lnTo>
                  <a:lnTo>
                    <a:pt x="199" y="50"/>
                  </a:lnTo>
                  <a:lnTo>
                    <a:pt x="211" y="76"/>
                  </a:lnTo>
                  <a:lnTo>
                    <a:pt x="217" y="104"/>
                  </a:lnTo>
                  <a:lnTo>
                    <a:pt x="215" y="132"/>
                  </a:lnTo>
                  <a:lnTo>
                    <a:pt x="205" y="162"/>
                  </a:lnTo>
                  <a:lnTo>
                    <a:pt x="187" y="186"/>
                  </a:lnTo>
                  <a:lnTo>
                    <a:pt x="165" y="204"/>
                  </a:lnTo>
                  <a:lnTo>
                    <a:pt x="137" y="215"/>
                  </a:lnTo>
                  <a:lnTo>
                    <a:pt x="108" y="219"/>
                  </a:lnTo>
                  <a:lnTo>
                    <a:pt x="98" y="219"/>
                  </a:lnTo>
                  <a:lnTo>
                    <a:pt x="86" y="215"/>
                  </a:lnTo>
                  <a:lnTo>
                    <a:pt x="58" y="208"/>
                  </a:lnTo>
                  <a:lnTo>
                    <a:pt x="34" y="192"/>
                  </a:lnTo>
                  <a:lnTo>
                    <a:pt x="16" y="170"/>
                  </a:lnTo>
                  <a:lnTo>
                    <a:pt x="4" y="144"/>
                  </a:lnTo>
                  <a:lnTo>
                    <a:pt x="0" y="116"/>
                  </a:lnTo>
                  <a:lnTo>
                    <a:pt x="2" y="88"/>
                  </a:lnTo>
                  <a:lnTo>
                    <a:pt x="12" y="60"/>
                  </a:lnTo>
                  <a:lnTo>
                    <a:pt x="28" y="36"/>
                  </a:lnTo>
                  <a:lnTo>
                    <a:pt x="48" y="18"/>
                  </a:lnTo>
                  <a:lnTo>
                    <a:pt x="74" y="6"/>
                  </a:lnTo>
                  <a:lnTo>
                    <a:pt x="10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1" name="Freeform 59"/>
            <p:cNvSpPr>
              <a:spLocks/>
            </p:cNvSpPr>
            <p:nvPr/>
          </p:nvSpPr>
          <p:spPr bwMode="auto">
            <a:xfrm>
              <a:off x="4333" y="2587"/>
              <a:ext cx="108" cy="109"/>
            </a:xfrm>
            <a:custGeom>
              <a:avLst/>
              <a:gdLst>
                <a:gd name="T0" fmla="*/ 112 w 217"/>
                <a:gd name="T1" fmla="*/ 0 h 217"/>
                <a:gd name="T2" fmla="*/ 142 w 217"/>
                <a:gd name="T3" fmla="*/ 6 h 217"/>
                <a:gd name="T4" fmla="*/ 168 w 217"/>
                <a:gd name="T5" fmla="*/ 18 h 217"/>
                <a:gd name="T6" fmla="*/ 190 w 217"/>
                <a:gd name="T7" fmla="*/ 36 h 217"/>
                <a:gd name="T8" fmla="*/ 205 w 217"/>
                <a:gd name="T9" fmla="*/ 60 h 217"/>
                <a:gd name="T10" fmla="*/ 215 w 217"/>
                <a:gd name="T11" fmla="*/ 86 h 217"/>
                <a:gd name="T12" fmla="*/ 217 w 217"/>
                <a:gd name="T13" fmla="*/ 114 h 217"/>
                <a:gd name="T14" fmla="*/ 211 w 217"/>
                <a:gd name="T15" fmla="*/ 144 h 217"/>
                <a:gd name="T16" fmla="*/ 199 w 217"/>
                <a:gd name="T17" fmla="*/ 168 h 217"/>
                <a:gd name="T18" fmla="*/ 182 w 217"/>
                <a:gd name="T19" fmla="*/ 190 h 217"/>
                <a:gd name="T20" fmla="*/ 160 w 217"/>
                <a:gd name="T21" fmla="*/ 205 h 217"/>
                <a:gd name="T22" fmla="*/ 136 w 217"/>
                <a:gd name="T23" fmla="*/ 215 h 217"/>
                <a:gd name="T24" fmla="*/ 108 w 217"/>
                <a:gd name="T25" fmla="*/ 217 h 217"/>
                <a:gd name="T26" fmla="*/ 92 w 217"/>
                <a:gd name="T27" fmla="*/ 217 h 217"/>
                <a:gd name="T28" fmla="*/ 74 w 217"/>
                <a:gd name="T29" fmla="*/ 213 h 217"/>
                <a:gd name="T30" fmla="*/ 48 w 217"/>
                <a:gd name="T31" fmla="*/ 201 h 217"/>
                <a:gd name="T32" fmla="*/ 26 w 217"/>
                <a:gd name="T33" fmla="*/ 184 h 217"/>
                <a:gd name="T34" fmla="*/ 12 w 217"/>
                <a:gd name="T35" fmla="*/ 160 h 217"/>
                <a:gd name="T36" fmla="*/ 2 w 217"/>
                <a:gd name="T37" fmla="*/ 134 h 217"/>
                <a:gd name="T38" fmla="*/ 0 w 217"/>
                <a:gd name="T39" fmla="*/ 106 h 217"/>
                <a:gd name="T40" fmla="*/ 4 w 217"/>
                <a:gd name="T41" fmla="*/ 76 h 217"/>
                <a:gd name="T42" fmla="*/ 16 w 217"/>
                <a:gd name="T43" fmla="*/ 50 h 217"/>
                <a:gd name="T44" fmla="*/ 36 w 217"/>
                <a:gd name="T45" fmla="*/ 28 h 217"/>
                <a:gd name="T46" fmla="*/ 58 w 217"/>
                <a:gd name="T47" fmla="*/ 12 h 217"/>
                <a:gd name="T48" fmla="*/ 84 w 217"/>
                <a:gd name="T49" fmla="*/ 2 h 217"/>
                <a:gd name="T50" fmla="*/ 112 w 217"/>
                <a:gd name="T51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7" h="217">
                  <a:moveTo>
                    <a:pt x="112" y="0"/>
                  </a:moveTo>
                  <a:lnTo>
                    <a:pt x="142" y="6"/>
                  </a:lnTo>
                  <a:lnTo>
                    <a:pt x="168" y="18"/>
                  </a:lnTo>
                  <a:lnTo>
                    <a:pt x="190" y="36"/>
                  </a:lnTo>
                  <a:lnTo>
                    <a:pt x="205" y="60"/>
                  </a:lnTo>
                  <a:lnTo>
                    <a:pt x="215" y="86"/>
                  </a:lnTo>
                  <a:lnTo>
                    <a:pt x="217" y="114"/>
                  </a:lnTo>
                  <a:lnTo>
                    <a:pt x="211" y="144"/>
                  </a:lnTo>
                  <a:lnTo>
                    <a:pt x="199" y="168"/>
                  </a:lnTo>
                  <a:lnTo>
                    <a:pt x="182" y="190"/>
                  </a:lnTo>
                  <a:lnTo>
                    <a:pt x="160" y="205"/>
                  </a:lnTo>
                  <a:lnTo>
                    <a:pt x="136" y="215"/>
                  </a:lnTo>
                  <a:lnTo>
                    <a:pt x="108" y="217"/>
                  </a:lnTo>
                  <a:lnTo>
                    <a:pt x="92" y="217"/>
                  </a:lnTo>
                  <a:lnTo>
                    <a:pt x="74" y="213"/>
                  </a:lnTo>
                  <a:lnTo>
                    <a:pt x="48" y="201"/>
                  </a:lnTo>
                  <a:lnTo>
                    <a:pt x="26" y="184"/>
                  </a:lnTo>
                  <a:lnTo>
                    <a:pt x="12" y="160"/>
                  </a:lnTo>
                  <a:lnTo>
                    <a:pt x="2" y="134"/>
                  </a:lnTo>
                  <a:lnTo>
                    <a:pt x="0" y="106"/>
                  </a:lnTo>
                  <a:lnTo>
                    <a:pt x="4" y="76"/>
                  </a:lnTo>
                  <a:lnTo>
                    <a:pt x="16" y="50"/>
                  </a:lnTo>
                  <a:lnTo>
                    <a:pt x="36" y="28"/>
                  </a:lnTo>
                  <a:lnTo>
                    <a:pt x="58" y="12"/>
                  </a:lnTo>
                  <a:lnTo>
                    <a:pt x="84" y="2"/>
                  </a:lnTo>
                  <a:lnTo>
                    <a:pt x="1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2" name="Freeform 60"/>
            <p:cNvSpPr>
              <a:spLocks/>
            </p:cNvSpPr>
            <p:nvPr/>
          </p:nvSpPr>
          <p:spPr bwMode="auto">
            <a:xfrm>
              <a:off x="4399" y="2267"/>
              <a:ext cx="109" cy="109"/>
            </a:xfrm>
            <a:custGeom>
              <a:avLst/>
              <a:gdLst>
                <a:gd name="T0" fmla="*/ 119 w 217"/>
                <a:gd name="T1" fmla="*/ 0 h 218"/>
                <a:gd name="T2" fmla="*/ 153 w 217"/>
                <a:gd name="T3" fmla="*/ 10 h 218"/>
                <a:gd name="T4" fmla="*/ 181 w 217"/>
                <a:gd name="T5" fmla="*/ 28 h 218"/>
                <a:gd name="T6" fmla="*/ 203 w 217"/>
                <a:gd name="T7" fmla="*/ 54 h 218"/>
                <a:gd name="T8" fmla="*/ 215 w 217"/>
                <a:gd name="T9" fmla="*/ 86 h 218"/>
                <a:gd name="T10" fmla="*/ 217 w 217"/>
                <a:gd name="T11" fmla="*/ 122 h 218"/>
                <a:gd name="T12" fmla="*/ 209 w 217"/>
                <a:gd name="T13" fmla="*/ 152 h 218"/>
                <a:gd name="T14" fmla="*/ 193 w 217"/>
                <a:gd name="T15" fmla="*/ 180 h 218"/>
                <a:gd name="T16" fmla="*/ 169 w 217"/>
                <a:gd name="T17" fmla="*/ 200 h 218"/>
                <a:gd name="T18" fmla="*/ 141 w 217"/>
                <a:gd name="T19" fmla="*/ 214 h 218"/>
                <a:gd name="T20" fmla="*/ 109 w 217"/>
                <a:gd name="T21" fmla="*/ 218 h 218"/>
                <a:gd name="T22" fmla="*/ 97 w 217"/>
                <a:gd name="T23" fmla="*/ 218 h 218"/>
                <a:gd name="T24" fmla="*/ 63 w 217"/>
                <a:gd name="T25" fmla="*/ 210 h 218"/>
                <a:gd name="T26" fmla="*/ 36 w 217"/>
                <a:gd name="T27" fmla="*/ 190 h 218"/>
                <a:gd name="T28" fmla="*/ 14 w 217"/>
                <a:gd name="T29" fmla="*/ 164 h 218"/>
                <a:gd name="T30" fmla="*/ 2 w 217"/>
                <a:gd name="T31" fmla="*/ 134 h 218"/>
                <a:gd name="T32" fmla="*/ 0 w 217"/>
                <a:gd name="T33" fmla="*/ 98 h 218"/>
                <a:gd name="T34" fmla="*/ 8 w 217"/>
                <a:gd name="T35" fmla="*/ 64 h 218"/>
                <a:gd name="T36" fmla="*/ 28 w 217"/>
                <a:gd name="T37" fmla="*/ 36 h 218"/>
                <a:gd name="T38" fmla="*/ 54 w 217"/>
                <a:gd name="T39" fmla="*/ 14 h 218"/>
                <a:gd name="T40" fmla="*/ 85 w 217"/>
                <a:gd name="T41" fmla="*/ 2 h 218"/>
                <a:gd name="T42" fmla="*/ 119 w 217"/>
                <a:gd name="T43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7" h="218">
                  <a:moveTo>
                    <a:pt x="119" y="0"/>
                  </a:moveTo>
                  <a:lnTo>
                    <a:pt x="153" y="10"/>
                  </a:lnTo>
                  <a:lnTo>
                    <a:pt x="181" y="28"/>
                  </a:lnTo>
                  <a:lnTo>
                    <a:pt x="203" y="54"/>
                  </a:lnTo>
                  <a:lnTo>
                    <a:pt x="215" y="86"/>
                  </a:lnTo>
                  <a:lnTo>
                    <a:pt x="217" y="122"/>
                  </a:lnTo>
                  <a:lnTo>
                    <a:pt x="209" y="152"/>
                  </a:lnTo>
                  <a:lnTo>
                    <a:pt x="193" y="180"/>
                  </a:lnTo>
                  <a:lnTo>
                    <a:pt x="169" y="200"/>
                  </a:lnTo>
                  <a:lnTo>
                    <a:pt x="141" y="214"/>
                  </a:lnTo>
                  <a:lnTo>
                    <a:pt x="109" y="218"/>
                  </a:lnTo>
                  <a:lnTo>
                    <a:pt x="97" y="218"/>
                  </a:lnTo>
                  <a:lnTo>
                    <a:pt x="63" y="210"/>
                  </a:lnTo>
                  <a:lnTo>
                    <a:pt x="36" y="190"/>
                  </a:lnTo>
                  <a:lnTo>
                    <a:pt x="14" y="164"/>
                  </a:lnTo>
                  <a:lnTo>
                    <a:pt x="2" y="134"/>
                  </a:lnTo>
                  <a:lnTo>
                    <a:pt x="0" y="98"/>
                  </a:lnTo>
                  <a:lnTo>
                    <a:pt x="8" y="64"/>
                  </a:lnTo>
                  <a:lnTo>
                    <a:pt x="28" y="36"/>
                  </a:lnTo>
                  <a:lnTo>
                    <a:pt x="54" y="14"/>
                  </a:lnTo>
                  <a:lnTo>
                    <a:pt x="85" y="2"/>
                  </a:lnTo>
                  <a:lnTo>
                    <a:pt x="11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3" name="Freeform 61"/>
            <p:cNvSpPr>
              <a:spLocks/>
            </p:cNvSpPr>
            <p:nvPr/>
          </p:nvSpPr>
          <p:spPr bwMode="auto">
            <a:xfrm>
              <a:off x="2689" y="3682"/>
              <a:ext cx="109" cy="110"/>
            </a:xfrm>
            <a:custGeom>
              <a:avLst/>
              <a:gdLst>
                <a:gd name="T0" fmla="*/ 120 w 217"/>
                <a:gd name="T1" fmla="*/ 0 h 219"/>
                <a:gd name="T2" fmla="*/ 154 w 217"/>
                <a:gd name="T3" fmla="*/ 8 h 219"/>
                <a:gd name="T4" fmla="*/ 182 w 217"/>
                <a:gd name="T5" fmla="*/ 26 h 219"/>
                <a:gd name="T6" fmla="*/ 203 w 217"/>
                <a:gd name="T7" fmla="*/ 52 h 219"/>
                <a:gd name="T8" fmla="*/ 215 w 217"/>
                <a:gd name="T9" fmla="*/ 84 h 219"/>
                <a:gd name="T10" fmla="*/ 217 w 217"/>
                <a:gd name="T11" fmla="*/ 117 h 219"/>
                <a:gd name="T12" fmla="*/ 211 w 217"/>
                <a:gd name="T13" fmla="*/ 149 h 219"/>
                <a:gd name="T14" fmla="*/ 194 w 217"/>
                <a:gd name="T15" fmla="*/ 177 h 219"/>
                <a:gd name="T16" fmla="*/ 172 w 217"/>
                <a:gd name="T17" fmla="*/ 199 h 219"/>
                <a:gd name="T18" fmla="*/ 142 w 217"/>
                <a:gd name="T19" fmla="*/ 213 h 219"/>
                <a:gd name="T20" fmla="*/ 110 w 217"/>
                <a:gd name="T21" fmla="*/ 219 h 219"/>
                <a:gd name="T22" fmla="*/ 100 w 217"/>
                <a:gd name="T23" fmla="*/ 219 h 219"/>
                <a:gd name="T24" fmla="*/ 66 w 217"/>
                <a:gd name="T25" fmla="*/ 209 h 219"/>
                <a:gd name="T26" fmla="*/ 38 w 217"/>
                <a:gd name="T27" fmla="*/ 191 h 219"/>
                <a:gd name="T28" fmla="*/ 16 w 217"/>
                <a:gd name="T29" fmla="*/ 165 h 219"/>
                <a:gd name="T30" fmla="*/ 4 w 217"/>
                <a:gd name="T31" fmla="*/ 135 h 219"/>
                <a:gd name="T32" fmla="*/ 0 w 217"/>
                <a:gd name="T33" fmla="*/ 99 h 219"/>
                <a:gd name="T34" fmla="*/ 8 w 217"/>
                <a:gd name="T35" fmla="*/ 66 h 219"/>
                <a:gd name="T36" fmla="*/ 26 w 217"/>
                <a:gd name="T37" fmla="*/ 38 h 219"/>
                <a:gd name="T38" fmla="*/ 52 w 217"/>
                <a:gd name="T39" fmla="*/ 16 h 219"/>
                <a:gd name="T40" fmla="*/ 84 w 217"/>
                <a:gd name="T41" fmla="*/ 2 h 219"/>
                <a:gd name="T42" fmla="*/ 120 w 217"/>
                <a:gd name="T43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7" h="219">
                  <a:moveTo>
                    <a:pt x="120" y="0"/>
                  </a:moveTo>
                  <a:lnTo>
                    <a:pt x="154" y="8"/>
                  </a:lnTo>
                  <a:lnTo>
                    <a:pt x="182" y="26"/>
                  </a:lnTo>
                  <a:lnTo>
                    <a:pt x="203" y="52"/>
                  </a:lnTo>
                  <a:lnTo>
                    <a:pt x="215" y="84"/>
                  </a:lnTo>
                  <a:lnTo>
                    <a:pt x="217" y="117"/>
                  </a:lnTo>
                  <a:lnTo>
                    <a:pt x="211" y="149"/>
                  </a:lnTo>
                  <a:lnTo>
                    <a:pt x="194" y="177"/>
                  </a:lnTo>
                  <a:lnTo>
                    <a:pt x="172" y="199"/>
                  </a:lnTo>
                  <a:lnTo>
                    <a:pt x="142" y="213"/>
                  </a:lnTo>
                  <a:lnTo>
                    <a:pt x="110" y="219"/>
                  </a:lnTo>
                  <a:lnTo>
                    <a:pt x="100" y="219"/>
                  </a:lnTo>
                  <a:lnTo>
                    <a:pt x="66" y="209"/>
                  </a:lnTo>
                  <a:lnTo>
                    <a:pt x="38" y="191"/>
                  </a:lnTo>
                  <a:lnTo>
                    <a:pt x="16" y="165"/>
                  </a:lnTo>
                  <a:lnTo>
                    <a:pt x="4" y="135"/>
                  </a:lnTo>
                  <a:lnTo>
                    <a:pt x="0" y="99"/>
                  </a:lnTo>
                  <a:lnTo>
                    <a:pt x="8" y="66"/>
                  </a:lnTo>
                  <a:lnTo>
                    <a:pt x="26" y="38"/>
                  </a:lnTo>
                  <a:lnTo>
                    <a:pt x="52" y="16"/>
                  </a:lnTo>
                  <a:lnTo>
                    <a:pt x="84" y="2"/>
                  </a:lnTo>
                  <a:lnTo>
                    <a:pt x="12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4" name="Freeform 62"/>
            <p:cNvSpPr>
              <a:spLocks/>
            </p:cNvSpPr>
            <p:nvPr/>
          </p:nvSpPr>
          <p:spPr bwMode="auto">
            <a:xfrm>
              <a:off x="4009" y="3152"/>
              <a:ext cx="109" cy="110"/>
            </a:xfrm>
            <a:custGeom>
              <a:avLst/>
              <a:gdLst>
                <a:gd name="T0" fmla="*/ 102 w 217"/>
                <a:gd name="T1" fmla="*/ 0 h 220"/>
                <a:gd name="T2" fmla="*/ 129 w 217"/>
                <a:gd name="T3" fmla="*/ 2 h 220"/>
                <a:gd name="T4" fmla="*/ 157 w 217"/>
                <a:gd name="T5" fmla="*/ 12 h 220"/>
                <a:gd name="T6" fmla="*/ 181 w 217"/>
                <a:gd name="T7" fmla="*/ 28 h 220"/>
                <a:gd name="T8" fmla="*/ 201 w 217"/>
                <a:gd name="T9" fmla="*/ 50 h 220"/>
                <a:gd name="T10" fmla="*/ 213 w 217"/>
                <a:gd name="T11" fmla="*/ 76 h 220"/>
                <a:gd name="T12" fmla="*/ 217 w 217"/>
                <a:gd name="T13" fmla="*/ 104 h 220"/>
                <a:gd name="T14" fmla="*/ 215 w 217"/>
                <a:gd name="T15" fmla="*/ 132 h 220"/>
                <a:gd name="T16" fmla="*/ 207 w 217"/>
                <a:gd name="T17" fmla="*/ 158 h 220"/>
                <a:gd name="T18" fmla="*/ 189 w 217"/>
                <a:gd name="T19" fmla="*/ 182 h 220"/>
                <a:gd name="T20" fmla="*/ 165 w 217"/>
                <a:gd name="T21" fmla="*/ 204 h 220"/>
                <a:gd name="T22" fmla="*/ 137 w 217"/>
                <a:gd name="T23" fmla="*/ 216 h 220"/>
                <a:gd name="T24" fmla="*/ 108 w 217"/>
                <a:gd name="T25" fmla="*/ 220 h 220"/>
                <a:gd name="T26" fmla="*/ 84 w 217"/>
                <a:gd name="T27" fmla="*/ 216 h 220"/>
                <a:gd name="T28" fmla="*/ 58 w 217"/>
                <a:gd name="T29" fmla="*/ 208 h 220"/>
                <a:gd name="T30" fmla="*/ 36 w 217"/>
                <a:gd name="T31" fmla="*/ 192 h 220"/>
                <a:gd name="T32" fmla="*/ 18 w 217"/>
                <a:gd name="T33" fmla="*/ 170 h 220"/>
                <a:gd name="T34" fmla="*/ 6 w 217"/>
                <a:gd name="T35" fmla="*/ 144 h 220"/>
                <a:gd name="T36" fmla="*/ 0 w 217"/>
                <a:gd name="T37" fmla="*/ 116 h 220"/>
                <a:gd name="T38" fmla="*/ 2 w 217"/>
                <a:gd name="T39" fmla="*/ 88 h 220"/>
                <a:gd name="T40" fmla="*/ 10 w 217"/>
                <a:gd name="T41" fmla="*/ 62 h 220"/>
                <a:gd name="T42" fmla="*/ 28 w 217"/>
                <a:gd name="T43" fmla="*/ 38 h 220"/>
                <a:gd name="T44" fmla="*/ 26 w 217"/>
                <a:gd name="T45" fmla="*/ 38 h 220"/>
                <a:gd name="T46" fmla="*/ 48 w 217"/>
                <a:gd name="T47" fmla="*/ 18 h 220"/>
                <a:gd name="T48" fmla="*/ 74 w 217"/>
                <a:gd name="T49" fmla="*/ 6 h 220"/>
                <a:gd name="T50" fmla="*/ 102 w 217"/>
                <a:gd name="T51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7" h="220">
                  <a:moveTo>
                    <a:pt x="102" y="0"/>
                  </a:moveTo>
                  <a:lnTo>
                    <a:pt x="129" y="2"/>
                  </a:lnTo>
                  <a:lnTo>
                    <a:pt x="157" y="12"/>
                  </a:lnTo>
                  <a:lnTo>
                    <a:pt x="181" y="28"/>
                  </a:lnTo>
                  <a:lnTo>
                    <a:pt x="201" y="50"/>
                  </a:lnTo>
                  <a:lnTo>
                    <a:pt x="213" y="76"/>
                  </a:lnTo>
                  <a:lnTo>
                    <a:pt x="217" y="104"/>
                  </a:lnTo>
                  <a:lnTo>
                    <a:pt x="215" y="132"/>
                  </a:lnTo>
                  <a:lnTo>
                    <a:pt x="207" y="158"/>
                  </a:lnTo>
                  <a:lnTo>
                    <a:pt x="189" y="182"/>
                  </a:lnTo>
                  <a:lnTo>
                    <a:pt x="165" y="204"/>
                  </a:lnTo>
                  <a:lnTo>
                    <a:pt x="137" y="216"/>
                  </a:lnTo>
                  <a:lnTo>
                    <a:pt x="108" y="220"/>
                  </a:lnTo>
                  <a:lnTo>
                    <a:pt x="84" y="216"/>
                  </a:lnTo>
                  <a:lnTo>
                    <a:pt x="58" y="208"/>
                  </a:lnTo>
                  <a:lnTo>
                    <a:pt x="36" y="192"/>
                  </a:lnTo>
                  <a:lnTo>
                    <a:pt x="18" y="170"/>
                  </a:lnTo>
                  <a:lnTo>
                    <a:pt x="6" y="144"/>
                  </a:lnTo>
                  <a:lnTo>
                    <a:pt x="0" y="116"/>
                  </a:lnTo>
                  <a:lnTo>
                    <a:pt x="2" y="88"/>
                  </a:lnTo>
                  <a:lnTo>
                    <a:pt x="10" y="62"/>
                  </a:lnTo>
                  <a:lnTo>
                    <a:pt x="28" y="38"/>
                  </a:lnTo>
                  <a:lnTo>
                    <a:pt x="26" y="38"/>
                  </a:lnTo>
                  <a:lnTo>
                    <a:pt x="48" y="18"/>
                  </a:lnTo>
                  <a:lnTo>
                    <a:pt x="74" y="6"/>
                  </a:lnTo>
                  <a:lnTo>
                    <a:pt x="10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5" name="Freeform 63"/>
            <p:cNvSpPr>
              <a:spLocks/>
            </p:cNvSpPr>
            <p:nvPr/>
          </p:nvSpPr>
          <p:spPr bwMode="auto">
            <a:xfrm>
              <a:off x="3895" y="3270"/>
              <a:ext cx="108" cy="108"/>
            </a:xfrm>
            <a:custGeom>
              <a:avLst/>
              <a:gdLst>
                <a:gd name="T0" fmla="*/ 114 w 218"/>
                <a:gd name="T1" fmla="*/ 0 h 217"/>
                <a:gd name="T2" fmla="*/ 142 w 218"/>
                <a:gd name="T3" fmla="*/ 4 h 217"/>
                <a:gd name="T4" fmla="*/ 168 w 218"/>
                <a:gd name="T5" fmla="*/ 16 h 217"/>
                <a:gd name="T6" fmla="*/ 190 w 218"/>
                <a:gd name="T7" fmla="*/ 35 h 217"/>
                <a:gd name="T8" fmla="*/ 206 w 218"/>
                <a:gd name="T9" fmla="*/ 57 h 217"/>
                <a:gd name="T10" fmla="*/ 216 w 218"/>
                <a:gd name="T11" fmla="*/ 85 h 217"/>
                <a:gd name="T12" fmla="*/ 218 w 218"/>
                <a:gd name="T13" fmla="*/ 113 h 217"/>
                <a:gd name="T14" fmla="*/ 214 w 218"/>
                <a:gd name="T15" fmla="*/ 139 h 217"/>
                <a:gd name="T16" fmla="*/ 202 w 218"/>
                <a:gd name="T17" fmla="*/ 165 h 217"/>
                <a:gd name="T18" fmla="*/ 182 w 218"/>
                <a:gd name="T19" fmla="*/ 189 h 217"/>
                <a:gd name="T20" fmla="*/ 160 w 218"/>
                <a:gd name="T21" fmla="*/ 205 h 217"/>
                <a:gd name="T22" fmla="*/ 136 w 218"/>
                <a:gd name="T23" fmla="*/ 215 h 217"/>
                <a:gd name="T24" fmla="*/ 110 w 218"/>
                <a:gd name="T25" fmla="*/ 217 h 217"/>
                <a:gd name="T26" fmla="*/ 80 w 218"/>
                <a:gd name="T27" fmla="*/ 213 h 217"/>
                <a:gd name="T28" fmla="*/ 52 w 218"/>
                <a:gd name="T29" fmla="*/ 201 h 217"/>
                <a:gd name="T30" fmla="*/ 28 w 218"/>
                <a:gd name="T31" fmla="*/ 183 h 217"/>
                <a:gd name="T32" fmla="*/ 12 w 218"/>
                <a:gd name="T33" fmla="*/ 157 h 217"/>
                <a:gd name="T34" fmla="*/ 2 w 218"/>
                <a:gd name="T35" fmla="*/ 131 h 217"/>
                <a:gd name="T36" fmla="*/ 0 w 218"/>
                <a:gd name="T37" fmla="*/ 103 h 217"/>
                <a:gd name="T38" fmla="*/ 4 w 218"/>
                <a:gd name="T39" fmla="*/ 75 h 217"/>
                <a:gd name="T40" fmla="*/ 16 w 218"/>
                <a:gd name="T41" fmla="*/ 49 h 217"/>
                <a:gd name="T42" fmla="*/ 34 w 218"/>
                <a:gd name="T43" fmla="*/ 27 h 217"/>
                <a:gd name="T44" fmla="*/ 58 w 218"/>
                <a:gd name="T45" fmla="*/ 12 h 217"/>
                <a:gd name="T46" fmla="*/ 86 w 218"/>
                <a:gd name="T47" fmla="*/ 2 h 217"/>
                <a:gd name="T48" fmla="*/ 114 w 218"/>
                <a:gd name="T49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8" h="217">
                  <a:moveTo>
                    <a:pt x="114" y="0"/>
                  </a:moveTo>
                  <a:lnTo>
                    <a:pt x="142" y="4"/>
                  </a:lnTo>
                  <a:lnTo>
                    <a:pt x="168" y="16"/>
                  </a:lnTo>
                  <a:lnTo>
                    <a:pt x="190" y="35"/>
                  </a:lnTo>
                  <a:lnTo>
                    <a:pt x="206" y="57"/>
                  </a:lnTo>
                  <a:lnTo>
                    <a:pt x="216" y="85"/>
                  </a:lnTo>
                  <a:lnTo>
                    <a:pt x="218" y="113"/>
                  </a:lnTo>
                  <a:lnTo>
                    <a:pt x="214" y="139"/>
                  </a:lnTo>
                  <a:lnTo>
                    <a:pt x="202" y="165"/>
                  </a:lnTo>
                  <a:lnTo>
                    <a:pt x="182" y="189"/>
                  </a:lnTo>
                  <a:lnTo>
                    <a:pt x="160" y="205"/>
                  </a:lnTo>
                  <a:lnTo>
                    <a:pt x="136" y="215"/>
                  </a:lnTo>
                  <a:lnTo>
                    <a:pt x="110" y="217"/>
                  </a:lnTo>
                  <a:lnTo>
                    <a:pt x="80" y="213"/>
                  </a:lnTo>
                  <a:lnTo>
                    <a:pt x="52" y="201"/>
                  </a:lnTo>
                  <a:lnTo>
                    <a:pt x="28" y="183"/>
                  </a:lnTo>
                  <a:lnTo>
                    <a:pt x="12" y="157"/>
                  </a:lnTo>
                  <a:lnTo>
                    <a:pt x="2" y="131"/>
                  </a:lnTo>
                  <a:lnTo>
                    <a:pt x="0" y="103"/>
                  </a:lnTo>
                  <a:lnTo>
                    <a:pt x="4" y="75"/>
                  </a:lnTo>
                  <a:lnTo>
                    <a:pt x="16" y="49"/>
                  </a:lnTo>
                  <a:lnTo>
                    <a:pt x="34" y="27"/>
                  </a:lnTo>
                  <a:lnTo>
                    <a:pt x="58" y="12"/>
                  </a:lnTo>
                  <a:lnTo>
                    <a:pt x="86" y="2"/>
                  </a:lnTo>
                  <a:lnTo>
                    <a:pt x="11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6" name="Freeform 64"/>
            <p:cNvSpPr>
              <a:spLocks/>
            </p:cNvSpPr>
            <p:nvPr/>
          </p:nvSpPr>
          <p:spPr bwMode="auto">
            <a:xfrm>
              <a:off x="2853" y="3687"/>
              <a:ext cx="109" cy="110"/>
            </a:xfrm>
            <a:custGeom>
              <a:avLst/>
              <a:gdLst>
                <a:gd name="T0" fmla="*/ 108 w 220"/>
                <a:gd name="T1" fmla="*/ 0 h 219"/>
                <a:gd name="T2" fmla="*/ 108 w 220"/>
                <a:gd name="T3" fmla="*/ 0 h 219"/>
                <a:gd name="T4" fmla="*/ 142 w 220"/>
                <a:gd name="T5" fmla="*/ 6 h 219"/>
                <a:gd name="T6" fmla="*/ 172 w 220"/>
                <a:gd name="T7" fmla="*/ 20 h 219"/>
                <a:gd name="T8" fmla="*/ 198 w 220"/>
                <a:gd name="T9" fmla="*/ 44 h 219"/>
                <a:gd name="T10" fmla="*/ 214 w 220"/>
                <a:gd name="T11" fmla="*/ 74 h 219"/>
                <a:gd name="T12" fmla="*/ 220 w 220"/>
                <a:gd name="T13" fmla="*/ 107 h 219"/>
                <a:gd name="T14" fmla="*/ 214 w 220"/>
                <a:gd name="T15" fmla="*/ 141 h 219"/>
                <a:gd name="T16" fmla="*/ 200 w 220"/>
                <a:gd name="T17" fmla="*/ 171 h 219"/>
                <a:gd name="T18" fmla="*/ 176 w 220"/>
                <a:gd name="T19" fmla="*/ 195 h 219"/>
                <a:gd name="T20" fmla="*/ 146 w 220"/>
                <a:gd name="T21" fmla="*/ 211 h 219"/>
                <a:gd name="T22" fmla="*/ 112 w 220"/>
                <a:gd name="T23" fmla="*/ 217 h 219"/>
                <a:gd name="T24" fmla="*/ 112 w 220"/>
                <a:gd name="T25" fmla="*/ 219 h 219"/>
                <a:gd name="T26" fmla="*/ 110 w 220"/>
                <a:gd name="T27" fmla="*/ 219 h 219"/>
                <a:gd name="T28" fmla="*/ 76 w 220"/>
                <a:gd name="T29" fmla="*/ 213 h 219"/>
                <a:gd name="T30" fmla="*/ 46 w 220"/>
                <a:gd name="T31" fmla="*/ 199 h 219"/>
                <a:gd name="T32" fmla="*/ 22 w 220"/>
                <a:gd name="T33" fmla="*/ 175 h 219"/>
                <a:gd name="T34" fmla="*/ 6 w 220"/>
                <a:gd name="T35" fmla="*/ 145 h 219"/>
                <a:gd name="T36" fmla="*/ 0 w 220"/>
                <a:gd name="T37" fmla="*/ 111 h 219"/>
                <a:gd name="T38" fmla="*/ 6 w 220"/>
                <a:gd name="T39" fmla="*/ 76 h 219"/>
                <a:gd name="T40" fmla="*/ 20 w 220"/>
                <a:gd name="T41" fmla="*/ 46 h 219"/>
                <a:gd name="T42" fmla="*/ 44 w 220"/>
                <a:gd name="T43" fmla="*/ 22 h 219"/>
                <a:gd name="T44" fmla="*/ 74 w 220"/>
                <a:gd name="T45" fmla="*/ 6 h 219"/>
                <a:gd name="T46" fmla="*/ 108 w 220"/>
                <a:gd name="T47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0" h="219">
                  <a:moveTo>
                    <a:pt x="108" y="0"/>
                  </a:moveTo>
                  <a:lnTo>
                    <a:pt x="108" y="0"/>
                  </a:lnTo>
                  <a:lnTo>
                    <a:pt x="142" y="6"/>
                  </a:lnTo>
                  <a:lnTo>
                    <a:pt x="172" y="20"/>
                  </a:lnTo>
                  <a:lnTo>
                    <a:pt x="198" y="44"/>
                  </a:lnTo>
                  <a:lnTo>
                    <a:pt x="214" y="74"/>
                  </a:lnTo>
                  <a:lnTo>
                    <a:pt x="220" y="107"/>
                  </a:lnTo>
                  <a:lnTo>
                    <a:pt x="214" y="141"/>
                  </a:lnTo>
                  <a:lnTo>
                    <a:pt x="200" y="171"/>
                  </a:lnTo>
                  <a:lnTo>
                    <a:pt x="176" y="195"/>
                  </a:lnTo>
                  <a:lnTo>
                    <a:pt x="146" y="211"/>
                  </a:lnTo>
                  <a:lnTo>
                    <a:pt x="112" y="217"/>
                  </a:lnTo>
                  <a:lnTo>
                    <a:pt x="112" y="219"/>
                  </a:lnTo>
                  <a:lnTo>
                    <a:pt x="110" y="219"/>
                  </a:lnTo>
                  <a:lnTo>
                    <a:pt x="76" y="213"/>
                  </a:lnTo>
                  <a:lnTo>
                    <a:pt x="46" y="199"/>
                  </a:lnTo>
                  <a:lnTo>
                    <a:pt x="22" y="175"/>
                  </a:lnTo>
                  <a:lnTo>
                    <a:pt x="6" y="145"/>
                  </a:lnTo>
                  <a:lnTo>
                    <a:pt x="0" y="111"/>
                  </a:lnTo>
                  <a:lnTo>
                    <a:pt x="6" y="76"/>
                  </a:lnTo>
                  <a:lnTo>
                    <a:pt x="20" y="46"/>
                  </a:lnTo>
                  <a:lnTo>
                    <a:pt x="44" y="22"/>
                  </a:lnTo>
                  <a:lnTo>
                    <a:pt x="74" y="6"/>
                  </a:lnTo>
                  <a:lnTo>
                    <a:pt x="1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7" name="Freeform 65"/>
            <p:cNvSpPr>
              <a:spLocks/>
            </p:cNvSpPr>
            <p:nvPr/>
          </p:nvSpPr>
          <p:spPr bwMode="auto">
            <a:xfrm>
              <a:off x="3178" y="3648"/>
              <a:ext cx="109" cy="109"/>
            </a:xfrm>
            <a:custGeom>
              <a:avLst/>
              <a:gdLst>
                <a:gd name="T0" fmla="*/ 114 w 220"/>
                <a:gd name="T1" fmla="*/ 0 h 219"/>
                <a:gd name="T2" fmla="*/ 142 w 220"/>
                <a:gd name="T3" fmla="*/ 6 h 219"/>
                <a:gd name="T4" fmla="*/ 168 w 220"/>
                <a:gd name="T5" fmla="*/ 16 h 219"/>
                <a:gd name="T6" fmla="*/ 190 w 220"/>
                <a:gd name="T7" fmla="*/ 34 h 219"/>
                <a:gd name="T8" fmla="*/ 206 w 220"/>
                <a:gd name="T9" fmla="*/ 58 h 219"/>
                <a:gd name="T10" fmla="*/ 216 w 220"/>
                <a:gd name="T11" fmla="*/ 86 h 219"/>
                <a:gd name="T12" fmla="*/ 220 w 220"/>
                <a:gd name="T13" fmla="*/ 114 h 219"/>
                <a:gd name="T14" fmla="*/ 214 w 220"/>
                <a:gd name="T15" fmla="*/ 142 h 219"/>
                <a:gd name="T16" fmla="*/ 202 w 220"/>
                <a:gd name="T17" fmla="*/ 167 h 219"/>
                <a:gd name="T18" fmla="*/ 184 w 220"/>
                <a:gd name="T19" fmla="*/ 189 h 219"/>
                <a:gd name="T20" fmla="*/ 162 w 220"/>
                <a:gd name="T21" fmla="*/ 205 h 219"/>
                <a:gd name="T22" fmla="*/ 134 w 220"/>
                <a:gd name="T23" fmla="*/ 215 h 219"/>
                <a:gd name="T24" fmla="*/ 122 w 220"/>
                <a:gd name="T25" fmla="*/ 219 h 219"/>
                <a:gd name="T26" fmla="*/ 110 w 220"/>
                <a:gd name="T27" fmla="*/ 219 h 219"/>
                <a:gd name="T28" fmla="*/ 80 w 220"/>
                <a:gd name="T29" fmla="*/ 215 h 219"/>
                <a:gd name="T30" fmla="*/ 54 w 220"/>
                <a:gd name="T31" fmla="*/ 203 h 219"/>
                <a:gd name="T32" fmla="*/ 30 w 220"/>
                <a:gd name="T33" fmla="*/ 185 h 219"/>
                <a:gd name="T34" fmla="*/ 14 w 220"/>
                <a:gd name="T35" fmla="*/ 162 h 219"/>
                <a:gd name="T36" fmla="*/ 2 w 220"/>
                <a:gd name="T37" fmla="*/ 134 h 219"/>
                <a:gd name="T38" fmla="*/ 0 w 220"/>
                <a:gd name="T39" fmla="*/ 100 h 219"/>
                <a:gd name="T40" fmla="*/ 8 w 220"/>
                <a:gd name="T41" fmla="*/ 66 h 219"/>
                <a:gd name="T42" fmla="*/ 26 w 220"/>
                <a:gd name="T43" fmla="*/ 38 h 219"/>
                <a:gd name="T44" fmla="*/ 52 w 220"/>
                <a:gd name="T45" fmla="*/ 16 h 219"/>
                <a:gd name="T46" fmla="*/ 86 w 220"/>
                <a:gd name="T47" fmla="*/ 2 h 219"/>
                <a:gd name="T48" fmla="*/ 114 w 220"/>
                <a:gd name="T49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0" h="219">
                  <a:moveTo>
                    <a:pt x="114" y="0"/>
                  </a:moveTo>
                  <a:lnTo>
                    <a:pt x="142" y="6"/>
                  </a:lnTo>
                  <a:lnTo>
                    <a:pt x="168" y="16"/>
                  </a:lnTo>
                  <a:lnTo>
                    <a:pt x="190" y="34"/>
                  </a:lnTo>
                  <a:lnTo>
                    <a:pt x="206" y="58"/>
                  </a:lnTo>
                  <a:lnTo>
                    <a:pt x="216" y="86"/>
                  </a:lnTo>
                  <a:lnTo>
                    <a:pt x="220" y="114"/>
                  </a:lnTo>
                  <a:lnTo>
                    <a:pt x="214" y="142"/>
                  </a:lnTo>
                  <a:lnTo>
                    <a:pt x="202" y="167"/>
                  </a:lnTo>
                  <a:lnTo>
                    <a:pt x="184" y="189"/>
                  </a:lnTo>
                  <a:lnTo>
                    <a:pt x="162" y="205"/>
                  </a:lnTo>
                  <a:lnTo>
                    <a:pt x="134" y="215"/>
                  </a:lnTo>
                  <a:lnTo>
                    <a:pt x="122" y="219"/>
                  </a:lnTo>
                  <a:lnTo>
                    <a:pt x="110" y="219"/>
                  </a:lnTo>
                  <a:lnTo>
                    <a:pt x="80" y="215"/>
                  </a:lnTo>
                  <a:lnTo>
                    <a:pt x="54" y="203"/>
                  </a:lnTo>
                  <a:lnTo>
                    <a:pt x="30" y="185"/>
                  </a:lnTo>
                  <a:lnTo>
                    <a:pt x="14" y="162"/>
                  </a:lnTo>
                  <a:lnTo>
                    <a:pt x="2" y="134"/>
                  </a:lnTo>
                  <a:lnTo>
                    <a:pt x="0" y="100"/>
                  </a:lnTo>
                  <a:lnTo>
                    <a:pt x="8" y="66"/>
                  </a:lnTo>
                  <a:lnTo>
                    <a:pt x="26" y="38"/>
                  </a:lnTo>
                  <a:lnTo>
                    <a:pt x="52" y="16"/>
                  </a:lnTo>
                  <a:lnTo>
                    <a:pt x="86" y="2"/>
                  </a:lnTo>
                  <a:lnTo>
                    <a:pt x="11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8" name="Freeform 66"/>
            <p:cNvSpPr>
              <a:spLocks/>
            </p:cNvSpPr>
            <p:nvPr/>
          </p:nvSpPr>
          <p:spPr bwMode="auto">
            <a:xfrm>
              <a:off x="3017" y="3676"/>
              <a:ext cx="108" cy="109"/>
            </a:xfrm>
            <a:custGeom>
              <a:avLst/>
              <a:gdLst>
                <a:gd name="T0" fmla="*/ 94 w 216"/>
                <a:gd name="T1" fmla="*/ 0 h 217"/>
                <a:gd name="T2" fmla="*/ 130 w 216"/>
                <a:gd name="T3" fmla="*/ 0 h 217"/>
                <a:gd name="T4" fmla="*/ 162 w 216"/>
                <a:gd name="T5" fmla="*/ 12 h 217"/>
                <a:gd name="T6" fmla="*/ 188 w 216"/>
                <a:gd name="T7" fmla="*/ 34 h 217"/>
                <a:gd name="T8" fmla="*/ 206 w 216"/>
                <a:gd name="T9" fmla="*/ 62 h 217"/>
                <a:gd name="T10" fmla="*/ 216 w 216"/>
                <a:gd name="T11" fmla="*/ 96 h 217"/>
                <a:gd name="T12" fmla="*/ 216 w 216"/>
                <a:gd name="T13" fmla="*/ 129 h 217"/>
                <a:gd name="T14" fmla="*/ 204 w 216"/>
                <a:gd name="T15" fmla="*/ 161 h 217"/>
                <a:gd name="T16" fmla="*/ 182 w 216"/>
                <a:gd name="T17" fmla="*/ 187 h 217"/>
                <a:gd name="T18" fmla="*/ 154 w 216"/>
                <a:gd name="T19" fmla="*/ 207 h 217"/>
                <a:gd name="T20" fmla="*/ 120 w 216"/>
                <a:gd name="T21" fmla="*/ 217 h 217"/>
                <a:gd name="T22" fmla="*/ 108 w 216"/>
                <a:gd name="T23" fmla="*/ 217 h 217"/>
                <a:gd name="T24" fmla="*/ 76 w 216"/>
                <a:gd name="T25" fmla="*/ 213 h 217"/>
                <a:gd name="T26" fmla="*/ 48 w 216"/>
                <a:gd name="T27" fmla="*/ 199 h 217"/>
                <a:gd name="T28" fmla="*/ 24 w 216"/>
                <a:gd name="T29" fmla="*/ 179 h 217"/>
                <a:gd name="T30" fmla="*/ 8 w 216"/>
                <a:gd name="T31" fmla="*/ 153 h 217"/>
                <a:gd name="T32" fmla="*/ 0 w 216"/>
                <a:gd name="T33" fmla="*/ 121 h 217"/>
                <a:gd name="T34" fmla="*/ 0 w 216"/>
                <a:gd name="T35" fmla="*/ 88 h 217"/>
                <a:gd name="T36" fmla="*/ 12 w 216"/>
                <a:gd name="T37" fmla="*/ 56 h 217"/>
                <a:gd name="T38" fmla="*/ 32 w 216"/>
                <a:gd name="T39" fmla="*/ 28 h 217"/>
                <a:gd name="T40" fmla="*/ 60 w 216"/>
                <a:gd name="T41" fmla="*/ 10 h 217"/>
                <a:gd name="T42" fmla="*/ 94 w 216"/>
                <a:gd name="T43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6" h="217">
                  <a:moveTo>
                    <a:pt x="94" y="0"/>
                  </a:moveTo>
                  <a:lnTo>
                    <a:pt x="130" y="0"/>
                  </a:lnTo>
                  <a:lnTo>
                    <a:pt x="162" y="12"/>
                  </a:lnTo>
                  <a:lnTo>
                    <a:pt x="188" y="34"/>
                  </a:lnTo>
                  <a:lnTo>
                    <a:pt x="206" y="62"/>
                  </a:lnTo>
                  <a:lnTo>
                    <a:pt x="216" y="96"/>
                  </a:lnTo>
                  <a:lnTo>
                    <a:pt x="216" y="129"/>
                  </a:lnTo>
                  <a:lnTo>
                    <a:pt x="204" y="161"/>
                  </a:lnTo>
                  <a:lnTo>
                    <a:pt x="182" y="187"/>
                  </a:lnTo>
                  <a:lnTo>
                    <a:pt x="154" y="207"/>
                  </a:lnTo>
                  <a:lnTo>
                    <a:pt x="120" y="217"/>
                  </a:lnTo>
                  <a:lnTo>
                    <a:pt x="108" y="217"/>
                  </a:lnTo>
                  <a:lnTo>
                    <a:pt x="76" y="213"/>
                  </a:lnTo>
                  <a:lnTo>
                    <a:pt x="48" y="199"/>
                  </a:lnTo>
                  <a:lnTo>
                    <a:pt x="24" y="179"/>
                  </a:lnTo>
                  <a:lnTo>
                    <a:pt x="8" y="153"/>
                  </a:lnTo>
                  <a:lnTo>
                    <a:pt x="0" y="121"/>
                  </a:lnTo>
                  <a:lnTo>
                    <a:pt x="0" y="88"/>
                  </a:lnTo>
                  <a:lnTo>
                    <a:pt x="12" y="56"/>
                  </a:lnTo>
                  <a:lnTo>
                    <a:pt x="32" y="28"/>
                  </a:lnTo>
                  <a:lnTo>
                    <a:pt x="60" y="10"/>
                  </a:lnTo>
                  <a:lnTo>
                    <a:pt x="9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9" name="Freeform 67"/>
            <p:cNvSpPr>
              <a:spLocks/>
            </p:cNvSpPr>
            <p:nvPr/>
          </p:nvSpPr>
          <p:spPr bwMode="auto">
            <a:xfrm>
              <a:off x="3632" y="3465"/>
              <a:ext cx="109" cy="109"/>
            </a:xfrm>
            <a:custGeom>
              <a:avLst/>
              <a:gdLst>
                <a:gd name="T0" fmla="*/ 108 w 217"/>
                <a:gd name="T1" fmla="*/ 0 h 218"/>
                <a:gd name="T2" fmla="*/ 136 w 217"/>
                <a:gd name="T3" fmla="*/ 4 h 218"/>
                <a:gd name="T4" fmla="*/ 161 w 217"/>
                <a:gd name="T5" fmla="*/ 14 h 218"/>
                <a:gd name="T6" fmla="*/ 183 w 217"/>
                <a:gd name="T7" fmla="*/ 30 h 218"/>
                <a:gd name="T8" fmla="*/ 201 w 217"/>
                <a:gd name="T9" fmla="*/ 54 h 218"/>
                <a:gd name="T10" fmla="*/ 213 w 217"/>
                <a:gd name="T11" fmla="*/ 80 h 218"/>
                <a:gd name="T12" fmla="*/ 217 w 217"/>
                <a:gd name="T13" fmla="*/ 108 h 218"/>
                <a:gd name="T14" fmla="*/ 215 w 217"/>
                <a:gd name="T15" fmla="*/ 136 h 218"/>
                <a:gd name="T16" fmla="*/ 203 w 217"/>
                <a:gd name="T17" fmla="*/ 162 h 218"/>
                <a:gd name="T18" fmla="*/ 187 w 217"/>
                <a:gd name="T19" fmla="*/ 186 h 218"/>
                <a:gd name="T20" fmla="*/ 165 w 217"/>
                <a:gd name="T21" fmla="*/ 204 h 218"/>
                <a:gd name="T22" fmla="*/ 137 w 217"/>
                <a:gd name="T23" fmla="*/ 216 h 218"/>
                <a:gd name="T24" fmla="*/ 110 w 217"/>
                <a:gd name="T25" fmla="*/ 218 h 218"/>
                <a:gd name="T26" fmla="*/ 82 w 217"/>
                <a:gd name="T27" fmla="*/ 216 h 218"/>
                <a:gd name="T28" fmla="*/ 56 w 217"/>
                <a:gd name="T29" fmla="*/ 206 h 218"/>
                <a:gd name="T30" fmla="*/ 32 w 217"/>
                <a:gd name="T31" fmla="*/ 188 h 218"/>
                <a:gd name="T32" fmla="*/ 16 w 217"/>
                <a:gd name="T33" fmla="*/ 166 h 218"/>
                <a:gd name="T34" fmla="*/ 4 w 217"/>
                <a:gd name="T35" fmla="*/ 138 h 218"/>
                <a:gd name="T36" fmla="*/ 0 w 217"/>
                <a:gd name="T37" fmla="*/ 110 h 218"/>
                <a:gd name="T38" fmla="*/ 2 w 217"/>
                <a:gd name="T39" fmla="*/ 82 h 218"/>
                <a:gd name="T40" fmla="*/ 12 w 217"/>
                <a:gd name="T41" fmla="*/ 56 h 218"/>
                <a:gd name="T42" fmla="*/ 30 w 217"/>
                <a:gd name="T43" fmla="*/ 34 h 218"/>
                <a:gd name="T44" fmla="*/ 52 w 217"/>
                <a:gd name="T45" fmla="*/ 14 h 218"/>
                <a:gd name="T46" fmla="*/ 80 w 217"/>
                <a:gd name="T47" fmla="*/ 4 h 218"/>
                <a:gd name="T48" fmla="*/ 108 w 217"/>
                <a:gd name="T49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7" h="218">
                  <a:moveTo>
                    <a:pt x="108" y="0"/>
                  </a:moveTo>
                  <a:lnTo>
                    <a:pt x="136" y="4"/>
                  </a:lnTo>
                  <a:lnTo>
                    <a:pt x="161" y="14"/>
                  </a:lnTo>
                  <a:lnTo>
                    <a:pt x="183" y="30"/>
                  </a:lnTo>
                  <a:lnTo>
                    <a:pt x="201" y="54"/>
                  </a:lnTo>
                  <a:lnTo>
                    <a:pt x="213" y="80"/>
                  </a:lnTo>
                  <a:lnTo>
                    <a:pt x="217" y="108"/>
                  </a:lnTo>
                  <a:lnTo>
                    <a:pt x="215" y="136"/>
                  </a:lnTo>
                  <a:lnTo>
                    <a:pt x="203" y="162"/>
                  </a:lnTo>
                  <a:lnTo>
                    <a:pt x="187" y="186"/>
                  </a:lnTo>
                  <a:lnTo>
                    <a:pt x="165" y="204"/>
                  </a:lnTo>
                  <a:lnTo>
                    <a:pt x="137" y="216"/>
                  </a:lnTo>
                  <a:lnTo>
                    <a:pt x="110" y="218"/>
                  </a:lnTo>
                  <a:lnTo>
                    <a:pt x="82" y="216"/>
                  </a:lnTo>
                  <a:lnTo>
                    <a:pt x="56" y="206"/>
                  </a:lnTo>
                  <a:lnTo>
                    <a:pt x="32" y="188"/>
                  </a:lnTo>
                  <a:lnTo>
                    <a:pt x="16" y="166"/>
                  </a:lnTo>
                  <a:lnTo>
                    <a:pt x="4" y="138"/>
                  </a:lnTo>
                  <a:lnTo>
                    <a:pt x="0" y="110"/>
                  </a:lnTo>
                  <a:lnTo>
                    <a:pt x="2" y="82"/>
                  </a:lnTo>
                  <a:lnTo>
                    <a:pt x="12" y="56"/>
                  </a:lnTo>
                  <a:lnTo>
                    <a:pt x="30" y="34"/>
                  </a:lnTo>
                  <a:lnTo>
                    <a:pt x="52" y="14"/>
                  </a:lnTo>
                  <a:lnTo>
                    <a:pt x="80" y="4"/>
                  </a:lnTo>
                  <a:lnTo>
                    <a:pt x="1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0" name="Freeform 68"/>
            <p:cNvSpPr>
              <a:spLocks/>
            </p:cNvSpPr>
            <p:nvPr/>
          </p:nvSpPr>
          <p:spPr bwMode="auto">
            <a:xfrm>
              <a:off x="3335" y="3603"/>
              <a:ext cx="109" cy="108"/>
            </a:xfrm>
            <a:custGeom>
              <a:avLst/>
              <a:gdLst>
                <a:gd name="T0" fmla="*/ 101 w 217"/>
                <a:gd name="T1" fmla="*/ 0 h 218"/>
                <a:gd name="T2" fmla="*/ 129 w 217"/>
                <a:gd name="T3" fmla="*/ 2 h 218"/>
                <a:gd name="T4" fmla="*/ 157 w 217"/>
                <a:gd name="T5" fmla="*/ 12 h 218"/>
                <a:gd name="T6" fmla="*/ 179 w 217"/>
                <a:gd name="T7" fmla="*/ 26 h 218"/>
                <a:gd name="T8" fmla="*/ 199 w 217"/>
                <a:gd name="T9" fmla="*/ 48 h 218"/>
                <a:gd name="T10" fmla="*/ 213 w 217"/>
                <a:gd name="T11" fmla="*/ 74 h 218"/>
                <a:gd name="T12" fmla="*/ 217 w 217"/>
                <a:gd name="T13" fmla="*/ 102 h 218"/>
                <a:gd name="T14" fmla="*/ 215 w 217"/>
                <a:gd name="T15" fmla="*/ 132 h 218"/>
                <a:gd name="T16" fmla="*/ 207 w 217"/>
                <a:gd name="T17" fmla="*/ 158 h 218"/>
                <a:gd name="T18" fmla="*/ 191 w 217"/>
                <a:gd name="T19" fmla="*/ 182 h 218"/>
                <a:gd name="T20" fmla="*/ 171 w 217"/>
                <a:gd name="T21" fmla="*/ 200 h 218"/>
                <a:gd name="T22" fmla="*/ 145 w 217"/>
                <a:gd name="T23" fmla="*/ 214 h 218"/>
                <a:gd name="T24" fmla="*/ 127 w 217"/>
                <a:gd name="T25" fmla="*/ 218 h 218"/>
                <a:gd name="T26" fmla="*/ 107 w 217"/>
                <a:gd name="T27" fmla="*/ 218 h 218"/>
                <a:gd name="T28" fmla="*/ 81 w 217"/>
                <a:gd name="T29" fmla="*/ 216 h 218"/>
                <a:gd name="T30" fmla="*/ 57 w 217"/>
                <a:gd name="T31" fmla="*/ 206 h 218"/>
                <a:gd name="T32" fmla="*/ 35 w 217"/>
                <a:gd name="T33" fmla="*/ 190 h 218"/>
                <a:gd name="T34" fmla="*/ 17 w 217"/>
                <a:gd name="T35" fmla="*/ 170 h 218"/>
                <a:gd name="T36" fmla="*/ 5 w 217"/>
                <a:gd name="T37" fmla="*/ 146 h 218"/>
                <a:gd name="T38" fmla="*/ 0 w 217"/>
                <a:gd name="T39" fmla="*/ 116 h 218"/>
                <a:gd name="T40" fmla="*/ 1 w 217"/>
                <a:gd name="T41" fmla="*/ 88 h 218"/>
                <a:gd name="T42" fmla="*/ 11 w 217"/>
                <a:gd name="T43" fmla="*/ 62 h 218"/>
                <a:gd name="T44" fmla="*/ 25 w 217"/>
                <a:gd name="T45" fmla="*/ 38 h 218"/>
                <a:gd name="T46" fmla="*/ 47 w 217"/>
                <a:gd name="T47" fmla="*/ 20 h 218"/>
                <a:gd name="T48" fmla="*/ 73 w 217"/>
                <a:gd name="T49" fmla="*/ 6 h 218"/>
                <a:gd name="T50" fmla="*/ 101 w 217"/>
                <a:gd name="T51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7" h="218">
                  <a:moveTo>
                    <a:pt x="101" y="0"/>
                  </a:moveTo>
                  <a:lnTo>
                    <a:pt x="129" y="2"/>
                  </a:lnTo>
                  <a:lnTo>
                    <a:pt x="157" y="12"/>
                  </a:lnTo>
                  <a:lnTo>
                    <a:pt x="179" y="26"/>
                  </a:lnTo>
                  <a:lnTo>
                    <a:pt x="199" y="48"/>
                  </a:lnTo>
                  <a:lnTo>
                    <a:pt x="213" y="74"/>
                  </a:lnTo>
                  <a:lnTo>
                    <a:pt x="217" y="102"/>
                  </a:lnTo>
                  <a:lnTo>
                    <a:pt x="215" y="132"/>
                  </a:lnTo>
                  <a:lnTo>
                    <a:pt x="207" y="158"/>
                  </a:lnTo>
                  <a:lnTo>
                    <a:pt x="191" y="182"/>
                  </a:lnTo>
                  <a:lnTo>
                    <a:pt x="171" y="200"/>
                  </a:lnTo>
                  <a:lnTo>
                    <a:pt x="145" y="214"/>
                  </a:lnTo>
                  <a:lnTo>
                    <a:pt x="127" y="218"/>
                  </a:lnTo>
                  <a:lnTo>
                    <a:pt x="107" y="218"/>
                  </a:lnTo>
                  <a:lnTo>
                    <a:pt x="81" y="216"/>
                  </a:lnTo>
                  <a:lnTo>
                    <a:pt x="57" y="206"/>
                  </a:lnTo>
                  <a:lnTo>
                    <a:pt x="35" y="190"/>
                  </a:lnTo>
                  <a:lnTo>
                    <a:pt x="17" y="170"/>
                  </a:lnTo>
                  <a:lnTo>
                    <a:pt x="5" y="146"/>
                  </a:lnTo>
                  <a:lnTo>
                    <a:pt x="0" y="116"/>
                  </a:lnTo>
                  <a:lnTo>
                    <a:pt x="1" y="88"/>
                  </a:lnTo>
                  <a:lnTo>
                    <a:pt x="11" y="62"/>
                  </a:lnTo>
                  <a:lnTo>
                    <a:pt x="25" y="38"/>
                  </a:lnTo>
                  <a:lnTo>
                    <a:pt x="47" y="20"/>
                  </a:lnTo>
                  <a:lnTo>
                    <a:pt x="73" y="6"/>
                  </a:lnTo>
                  <a:lnTo>
                    <a:pt x="1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1" name="Freeform 69"/>
            <p:cNvSpPr>
              <a:spLocks/>
            </p:cNvSpPr>
            <p:nvPr/>
          </p:nvSpPr>
          <p:spPr bwMode="auto">
            <a:xfrm>
              <a:off x="3487" y="3542"/>
              <a:ext cx="110" cy="109"/>
            </a:xfrm>
            <a:custGeom>
              <a:avLst/>
              <a:gdLst>
                <a:gd name="T0" fmla="*/ 119 w 219"/>
                <a:gd name="T1" fmla="*/ 0 h 217"/>
                <a:gd name="T2" fmla="*/ 147 w 219"/>
                <a:gd name="T3" fmla="*/ 6 h 217"/>
                <a:gd name="T4" fmla="*/ 171 w 219"/>
                <a:gd name="T5" fmla="*/ 18 h 217"/>
                <a:gd name="T6" fmla="*/ 193 w 219"/>
                <a:gd name="T7" fmla="*/ 38 h 217"/>
                <a:gd name="T8" fmla="*/ 209 w 219"/>
                <a:gd name="T9" fmla="*/ 62 h 217"/>
                <a:gd name="T10" fmla="*/ 217 w 219"/>
                <a:gd name="T11" fmla="*/ 89 h 217"/>
                <a:gd name="T12" fmla="*/ 219 w 219"/>
                <a:gd name="T13" fmla="*/ 119 h 217"/>
                <a:gd name="T14" fmla="*/ 213 w 219"/>
                <a:gd name="T15" fmla="*/ 145 h 217"/>
                <a:gd name="T16" fmla="*/ 199 w 219"/>
                <a:gd name="T17" fmla="*/ 171 h 217"/>
                <a:gd name="T18" fmla="*/ 181 w 219"/>
                <a:gd name="T19" fmla="*/ 191 h 217"/>
                <a:gd name="T20" fmla="*/ 155 w 219"/>
                <a:gd name="T21" fmla="*/ 207 h 217"/>
                <a:gd name="T22" fmla="*/ 133 w 219"/>
                <a:gd name="T23" fmla="*/ 215 h 217"/>
                <a:gd name="T24" fmla="*/ 109 w 219"/>
                <a:gd name="T25" fmla="*/ 217 h 217"/>
                <a:gd name="T26" fmla="*/ 79 w 219"/>
                <a:gd name="T27" fmla="*/ 213 h 217"/>
                <a:gd name="T28" fmla="*/ 52 w 219"/>
                <a:gd name="T29" fmla="*/ 201 h 217"/>
                <a:gd name="T30" fmla="*/ 28 w 219"/>
                <a:gd name="T31" fmla="*/ 181 h 217"/>
                <a:gd name="T32" fmla="*/ 12 w 219"/>
                <a:gd name="T33" fmla="*/ 153 h 217"/>
                <a:gd name="T34" fmla="*/ 2 w 219"/>
                <a:gd name="T35" fmla="*/ 125 h 217"/>
                <a:gd name="T36" fmla="*/ 0 w 219"/>
                <a:gd name="T37" fmla="*/ 97 h 217"/>
                <a:gd name="T38" fmla="*/ 6 w 219"/>
                <a:gd name="T39" fmla="*/ 72 h 217"/>
                <a:gd name="T40" fmla="*/ 20 w 219"/>
                <a:gd name="T41" fmla="*/ 46 h 217"/>
                <a:gd name="T42" fmla="*/ 38 w 219"/>
                <a:gd name="T43" fmla="*/ 26 h 217"/>
                <a:gd name="T44" fmla="*/ 63 w 219"/>
                <a:gd name="T45" fmla="*/ 10 h 217"/>
                <a:gd name="T46" fmla="*/ 91 w 219"/>
                <a:gd name="T47" fmla="*/ 0 h 217"/>
                <a:gd name="T48" fmla="*/ 119 w 219"/>
                <a:gd name="T49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9" h="217">
                  <a:moveTo>
                    <a:pt x="119" y="0"/>
                  </a:moveTo>
                  <a:lnTo>
                    <a:pt x="147" y="6"/>
                  </a:lnTo>
                  <a:lnTo>
                    <a:pt x="171" y="18"/>
                  </a:lnTo>
                  <a:lnTo>
                    <a:pt x="193" y="38"/>
                  </a:lnTo>
                  <a:lnTo>
                    <a:pt x="209" y="62"/>
                  </a:lnTo>
                  <a:lnTo>
                    <a:pt x="217" y="89"/>
                  </a:lnTo>
                  <a:lnTo>
                    <a:pt x="219" y="119"/>
                  </a:lnTo>
                  <a:lnTo>
                    <a:pt x="213" y="145"/>
                  </a:lnTo>
                  <a:lnTo>
                    <a:pt x="199" y="171"/>
                  </a:lnTo>
                  <a:lnTo>
                    <a:pt x="181" y="191"/>
                  </a:lnTo>
                  <a:lnTo>
                    <a:pt x="155" y="207"/>
                  </a:lnTo>
                  <a:lnTo>
                    <a:pt x="133" y="215"/>
                  </a:lnTo>
                  <a:lnTo>
                    <a:pt x="109" y="217"/>
                  </a:lnTo>
                  <a:lnTo>
                    <a:pt x="79" y="213"/>
                  </a:lnTo>
                  <a:lnTo>
                    <a:pt x="52" y="201"/>
                  </a:lnTo>
                  <a:lnTo>
                    <a:pt x="28" y="181"/>
                  </a:lnTo>
                  <a:lnTo>
                    <a:pt x="12" y="153"/>
                  </a:lnTo>
                  <a:lnTo>
                    <a:pt x="2" y="125"/>
                  </a:lnTo>
                  <a:lnTo>
                    <a:pt x="0" y="97"/>
                  </a:lnTo>
                  <a:lnTo>
                    <a:pt x="6" y="72"/>
                  </a:lnTo>
                  <a:lnTo>
                    <a:pt x="20" y="46"/>
                  </a:lnTo>
                  <a:lnTo>
                    <a:pt x="38" y="26"/>
                  </a:lnTo>
                  <a:lnTo>
                    <a:pt x="63" y="10"/>
                  </a:lnTo>
                  <a:lnTo>
                    <a:pt x="91" y="0"/>
                  </a:lnTo>
                  <a:lnTo>
                    <a:pt x="11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2" name="Freeform 70"/>
            <p:cNvSpPr>
              <a:spLocks/>
            </p:cNvSpPr>
            <p:nvPr/>
          </p:nvSpPr>
          <p:spPr bwMode="auto">
            <a:xfrm>
              <a:off x="2713" y="1786"/>
              <a:ext cx="109" cy="307"/>
            </a:xfrm>
            <a:custGeom>
              <a:avLst/>
              <a:gdLst>
                <a:gd name="T0" fmla="*/ 217 w 217"/>
                <a:gd name="T1" fmla="*/ 0 h 613"/>
                <a:gd name="T2" fmla="*/ 217 w 217"/>
                <a:gd name="T3" fmla="*/ 613 h 613"/>
                <a:gd name="T4" fmla="*/ 165 w 217"/>
                <a:gd name="T5" fmla="*/ 590 h 613"/>
                <a:gd name="T6" fmla="*/ 120 w 217"/>
                <a:gd name="T7" fmla="*/ 558 h 613"/>
                <a:gd name="T8" fmla="*/ 78 w 217"/>
                <a:gd name="T9" fmla="*/ 520 h 613"/>
                <a:gd name="T10" fmla="*/ 46 w 217"/>
                <a:gd name="T11" fmla="*/ 474 h 613"/>
                <a:gd name="T12" fmla="*/ 20 w 217"/>
                <a:gd name="T13" fmla="*/ 422 h 613"/>
                <a:gd name="T14" fmla="*/ 4 w 217"/>
                <a:gd name="T15" fmla="*/ 366 h 613"/>
                <a:gd name="T16" fmla="*/ 0 w 217"/>
                <a:gd name="T17" fmla="*/ 306 h 613"/>
                <a:gd name="T18" fmla="*/ 4 w 217"/>
                <a:gd name="T19" fmla="*/ 247 h 613"/>
                <a:gd name="T20" fmla="*/ 20 w 217"/>
                <a:gd name="T21" fmla="*/ 191 h 613"/>
                <a:gd name="T22" fmla="*/ 46 w 217"/>
                <a:gd name="T23" fmla="*/ 139 h 613"/>
                <a:gd name="T24" fmla="*/ 78 w 217"/>
                <a:gd name="T25" fmla="*/ 95 h 613"/>
                <a:gd name="T26" fmla="*/ 120 w 217"/>
                <a:gd name="T27" fmla="*/ 55 h 613"/>
                <a:gd name="T28" fmla="*/ 165 w 217"/>
                <a:gd name="T29" fmla="*/ 23 h 613"/>
                <a:gd name="T30" fmla="*/ 217 w 217"/>
                <a:gd name="T31" fmla="*/ 0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17" h="613">
                  <a:moveTo>
                    <a:pt x="217" y="0"/>
                  </a:moveTo>
                  <a:lnTo>
                    <a:pt x="217" y="613"/>
                  </a:lnTo>
                  <a:lnTo>
                    <a:pt x="165" y="590"/>
                  </a:lnTo>
                  <a:lnTo>
                    <a:pt x="120" y="558"/>
                  </a:lnTo>
                  <a:lnTo>
                    <a:pt x="78" y="520"/>
                  </a:lnTo>
                  <a:lnTo>
                    <a:pt x="46" y="474"/>
                  </a:lnTo>
                  <a:lnTo>
                    <a:pt x="20" y="422"/>
                  </a:lnTo>
                  <a:lnTo>
                    <a:pt x="4" y="366"/>
                  </a:lnTo>
                  <a:lnTo>
                    <a:pt x="0" y="306"/>
                  </a:lnTo>
                  <a:lnTo>
                    <a:pt x="4" y="247"/>
                  </a:lnTo>
                  <a:lnTo>
                    <a:pt x="20" y="191"/>
                  </a:lnTo>
                  <a:lnTo>
                    <a:pt x="46" y="139"/>
                  </a:lnTo>
                  <a:lnTo>
                    <a:pt x="78" y="95"/>
                  </a:lnTo>
                  <a:lnTo>
                    <a:pt x="120" y="55"/>
                  </a:lnTo>
                  <a:lnTo>
                    <a:pt x="165" y="23"/>
                  </a:lnTo>
                  <a:lnTo>
                    <a:pt x="21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3" name="Freeform 71"/>
            <p:cNvSpPr>
              <a:spLocks/>
            </p:cNvSpPr>
            <p:nvPr/>
          </p:nvSpPr>
          <p:spPr bwMode="auto">
            <a:xfrm>
              <a:off x="2931" y="2222"/>
              <a:ext cx="110" cy="308"/>
            </a:xfrm>
            <a:custGeom>
              <a:avLst/>
              <a:gdLst>
                <a:gd name="T0" fmla="*/ 0 w 219"/>
                <a:gd name="T1" fmla="*/ 0 h 616"/>
                <a:gd name="T2" fmla="*/ 52 w 219"/>
                <a:gd name="T3" fmla="*/ 24 h 616"/>
                <a:gd name="T4" fmla="*/ 99 w 219"/>
                <a:gd name="T5" fmla="*/ 55 h 616"/>
                <a:gd name="T6" fmla="*/ 139 w 219"/>
                <a:gd name="T7" fmla="*/ 95 h 616"/>
                <a:gd name="T8" fmla="*/ 173 w 219"/>
                <a:gd name="T9" fmla="*/ 141 h 616"/>
                <a:gd name="T10" fmla="*/ 197 w 219"/>
                <a:gd name="T11" fmla="*/ 193 h 616"/>
                <a:gd name="T12" fmla="*/ 213 w 219"/>
                <a:gd name="T13" fmla="*/ 249 h 616"/>
                <a:gd name="T14" fmla="*/ 219 w 219"/>
                <a:gd name="T15" fmla="*/ 309 h 616"/>
                <a:gd name="T16" fmla="*/ 213 w 219"/>
                <a:gd name="T17" fmla="*/ 366 h 616"/>
                <a:gd name="T18" fmla="*/ 197 w 219"/>
                <a:gd name="T19" fmla="*/ 422 h 616"/>
                <a:gd name="T20" fmla="*/ 173 w 219"/>
                <a:gd name="T21" fmla="*/ 474 h 616"/>
                <a:gd name="T22" fmla="*/ 139 w 219"/>
                <a:gd name="T23" fmla="*/ 520 h 616"/>
                <a:gd name="T24" fmla="*/ 99 w 219"/>
                <a:gd name="T25" fmla="*/ 560 h 616"/>
                <a:gd name="T26" fmla="*/ 52 w 219"/>
                <a:gd name="T27" fmla="*/ 592 h 616"/>
                <a:gd name="T28" fmla="*/ 0 w 219"/>
                <a:gd name="T29" fmla="*/ 616 h 616"/>
                <a:gd name="T30" fmla="*/ 0 w 219"/>
                <a:gd name="T31" fmla="*/ 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19" h="616">
                  <a:moveTo>
                    <a:pt x="0" y="0"/>
                  </a:moveTo>
                  <a:lnTo>
                    <a:pt x="52" y="24"/>
                  </a:lnTo>
                  <a:lnTo>
                    <a:pt x="99" y="55"/>
                  </a:lnTo>
                  <a:lnTo>
                    <a:pt x="139" y="95"/>
                  </a:lnTo>
                  <a:lnTo>
                    <a:pt x="173" y="141"/>
                  </a:lnTo>
                  <a:lnTo>
                    <a:pt x="197" y="193"/>
                  </a:lnTo>
                  <a:lnTo>
                    <a:pt x="213" y="249"/>
                  </a:lnTo>
                  <a:lnTo>
                    <a:pt x="219" y="309"/>
                  </a:lnTo>
                  <a:lnTo>
                    <a:pt x="213" y="366"/>
                  </a:lnTo>
                  <a:lnTo>
                    <a:pt x="197" y="422"/>
                  </a:lnTo>
                  <a:lnTo>
                    <a:pt x="173" y="474"/>
                  </a:lnTo>
                  <a:lnTo>
                    <a:pt x="139" y="520"/>
                  </a:lnTo>
                  <a:lnTo>
                    <a:pt x="99" y="560"/>
                  </a:lnTo>
                  <a:lnTo>
                    <a:pt x="52" y="592"/>
                  </a:lnTo>
                  <a:lnTo>
                    <a:pt x="0" y="61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4" name="Freeform 72"/>
            <p:cNvSpPr>
              <a:spLocks noEditPoints="1"/>
            </p:cNvSpPr>
            <p:nvPr/>
          </p:nvSpPr>
          <p:spPr bwMode="auto">
            <a:xfrm>
              <a:off x="1784" y="1065"/>
              <a:ext cx="2186" cy="2186"/>
            </a:xfrm>
            <a:custGeom>
              <a:avLst/>
              <a:gdLst>
                <a:gd name="T0" fmla="*/ 2098 w 4372"/>
                <a:gd name="T1" fmla="*/ 1029 h 4372"/>
                <a:gd name="T2" fmla="*/ 2005 w 4372"/>
                <a:gd name="T3" fmla="*/ 1234 h 4372"/>
                <a:gd name="T4" fmla="*/ 1765 w 4372"/>
                <a:gd name="T5" fmla="*/ 1402 h 4372"/>
                <a:gd name="T6" fmla="*/ 1646 w 4372"/>
                <a:gd name="T7" fmla="*/ 1671 h 4372"/>
                <a:gd name="T8" fmla="*/ 1687 w 4372"/>
                <a:gd name="T9" fmla="*/ 1972 h 4372"/>
                <a:gd name="T10" fmla="*/ 1873 w 4372"/>
                <a:gd name="T11" fmla="*/ 2195 h 4372"/>
                <a:gd name="T12" fmla="*/ 2076 w 4372"/>
                <a:gd name="T13" fmla="*/ 2931 h 4372"/>
                <a:gd name="T14" fmla="*/ 1905 w 4372"/>
                <a:gd name="T15" fmla="*/ 2789 h 4372"/>
                <a:gd name="T16" fmla="*/ 1853 w 4372"/>
                <a:gd name="T17" fmla="*/ 2588 h 4372"/>
                <a:gd name="T18" fmla="*/ 1749 w 4372"/>
                <a:gd name="T19" fmla="*/ 2514 h 4372"/>
                <a:gd name="T20" fmla="*/ 1646 w 4372"/>
                <a:gd name="T21" fmla="*/ 2588 h 4372"/>
                <a:gd name="T22" fmla="*/ 1687 w 4372"/>
                <a:gd name="T23" fmla="*/ 2845 h 4372"/>
                <a:gd name="T24" fmla="*/ 1873 w 4372"/>
                <a:gd name="T25" fmla="*/ 3070 h 4372"/>
                <a:gd name="T26" fmla="*/ 2076 w 4372"/>
                <a:gd name="T27" fmla="*/ 3277 h 4372"/>
                <a:gd name="T28" fmla="*/ 2152 w 4372"/>
                <a:gd name="T29" fmla="*/ 3381 h 4372"/>
                <a:gd name="T30" fmla="*/ 2274 w 4372"/>
                <a:gd name="T31" fmla="*/ 3343 h 4372"/>
                <a:gd name="T32" fmla="*/ 2368 w 4372"/>
                <a:gd name="T33" fmla="*/ 3138 h 4372"/>
                <a:gd name="T34" fmla="*/ 2607 w 4372"/>
                <a:gd name="T35" fmla="*/ 2970 h 4372"/>
                <a:gd name="T36" fmla="*/ 2727 w 4372"/>
                <a:gd name="T37" fmla="*/ 2701 h 4372"/>
                <a:gd name="T38" fmla="*/ 2685 w 4372"/>
                <a:gd name="T39" fmla="*/ 2400 h 4372"/>
                <a:gd name="T40" fmla="*/ 2499 w 4372"/>
                <a:gd name="T41" fmla="*/ 2175 h 4372"/>
                <a:gd name="T42" fmla="*/ 2296 w 4372"/>
                <a:gd name="T43" fmla="*/ 1442 h 4372"/>
                <a:gd name="T44" fmla="*/ 2469 w 4372"/>
                <a:gd name="T45" fmla="*/ 1581 h 4372"/>
                <a:gd name="T46" fmla="*/ 2519 w 4372"/>
                <a:gd name="T47" fmla="*/ 1782 h 4372"/>
                <a:gd name="T48" fmla="*/ 2623 w 4372"/>
                <a:gd name="T49" fmla="*/ 1858 h 4372"/>
                <a:gd name="T50" fmla="*/ 2727 w 4372"/>
                <a:gd name="T51" fmla="*/ 1782 h 4372"/>
                <a:gd name="T52" fmla="*/ 2685 w 4372"/>
                <a:gd name="T53" fmla="*/ 1525 h 4372"/>
                <a:gd name="T54" fmla="*/ 2499 w 4372"/>
                <a:gd name="T55" fmla="*/ 1302 h 4372"/>
                <a:gd name="T56" fmla="*/ 2296 w 4372"/>
                <a:gd name="T57" fmla="*/ 1093 h 4372"/>
                <a:gd name="T58" fmla="*/ 2220 w 4372"/>
                <a:gd name="T59" fmla="*/ 989 h 4372"/>
                <a:gd name="T60" fmla="*/ 2509 w 4372"/>
                <a:gd name="T61" fmla="*/ 24 h 4372"/>
                <a:gd name="T62" fmla="*/ 3107 w 4372"/>
                <a:gd name="T63" fmla="*/ 204 h 4372"/>
                <a:gd name="T64" fmla="*/ 3620 w 4372"/>
                <a:gd name="T65" fmla="*/ 537 h 4372"/>
                <a:gd name="T66" fmla="*/ 4021 w 4372"/>
                <a:gd name="T67" fmla="*/ 997 h 4372"/>
                <a:gd name="T68" fmla="*/ 4280 w 4372"/>
                <a:gd name="T69" fmla="*/ 1555 h 4372"/>
                <a:gd name="T70" fmla="*/ 4372 w 4372"/>
                <a:gd name="T71" fmla="*/ 2185 h 4372"/>
                <a:gd name="T72" fmla="*/ 4280 w 4372"/>
                <a:gd name="T73" fmla="*/ 2817 h 4372"/>
                <a:gd name="T74" fmla="*/ 4021 w 4372"/>
                <a:gd name="T75" fmla="*/ 3375 h 4372"/>
                <a:gd name="T76" fmla="*/ 3620 w 4372"/>
                <a:gd name="T77" fmla="*/ 3834 h 4372"/>
                <a:gd name="T78" fmla="*/ 3107 w 4372"/>
                <a:gd name="T79" fmla="*/ 4166 h 4372"/>
                <a:gd name="T80" fmla="*/ 2509 w 4372"/>
                <a:gd name="T81" fmla="*/ 4348 h 4372"/>
                <a:gd name="T82" fmla="*/ 1863 w 4372"/>
                <a:gd name="T83" fmla="*/ 4348 h 4372"/>
                <a:gd name="T84" fmla="*/ 1265 w 4372"/>
                <a:gd name="T85" fmla="*/ 4166 h 4372"/>
                <a:gd name="T86" fmla="*/ 752 w 4372"/>
                <a:gd name="T87" fmla="*/ 3834 h 4372"/>
                <a:gd name="T88" fmla="*/ 353 w 4372"/>
                <a:gd name="T89" fmla="*/ 3375 h 4372"/>
                <a:gd name="T90" fmla="*/ 92 w 4372"/>
                <a:gd name="T91" fmla="*/ 2817 h 4372"/>
                <a:gd name="T92" fmla="*/ 0 w 4372"/>
                <a:gd name="T93" fmla="*/ 2185 h 4372"/>
                <a:gd name="T94" fmla="*/ 92 w 4372"/>
                <a:gd name="T95" fmla="*/ 1555 h 4372"/>
                <a:gd name="T96" fmla="*/ 353 w 4372"/>
                <a:gd name="T97" fmla="*/ 997 h 4372"/>
                <a:gd name="T98" fmla="*/ 752 w 4372"/>
                <a:gd name="T99" fmla="*/ 537 h 4372"/>
                <a:gd name="T100" fmla="*/ 1265 w 4372"/>
                <a:gd name="T101" fmla="*/ 204 h 4372"/>
                <a:gd name="T102" fmla="*/ 1863 w 4372"/>
                <a:gd name="T103" fmla="*/ 24 h 4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372" h="4372">
                  <a:moveTo>
                    <a:pt x="2186" y="983"/>
                  </a:moveTo>
                  <a:lnTo>
                    <a:pt x="2152" y="989"/>
                  </a:lnTo>
                  <a:lnTo>
                    <a:pt x="2122" y="1005"/>
                  </a:lnTo>
                  <a:lnTo>
                    <a:pt x="2098" y="1029"/>
                  </a:lnTo>
                  <a:lnTo>
                    <a:pt x="2082" y="1059"/>
                  </a:lnTo>
                  <a:lnTo>
                    <a:pt x="2076" y="1093"/>
                  </a:lnTo>
                  <a:lnTo>
                    <a:pt x="2076" y="1214"/>
                  </a:lnTo>
                  <a:lnTo>
                    <a:pt x="2005" y="1234"/>
                  </a:lnTo>
                  <a:lnTo>
                    <a:pt x="1937" y="1264"/>
                  </a:lnTo>
                  <a:lnTo>
                    <a:pt x="1873" y="1302"/>
                  </a:lnTo>
                  <a:lnTo>
                    <a:pt x="1815" y="1348"/>
                  </a:lnTo>
                  <a:lnTo>
                    <a:pt x="1765" y="1402"/>
                  </a:lnTo>
                  <a:lnTo>
                    <a:pt x="1721" y="1461"/>
                  </a:lnTo>
                  <a:lnTo>
                    <a:pt x="1687" y="1525"/>
                  </a:lnTo>
                  <a:lnTo>
                    <a:pt x="1661" y="1597"/>
                  </a:lnTo>
                  <a:lnTo>
                    <a:pt x="1646" y="1671"/>
                  </a:lnTo>
                  <a:lnTo>
                    <a:pt x="1640" y="1748"/>
                  </a:lnTo>
                  <a:lnTo>
                    <a:pt x="1646" y="1826"/>
                  </a:lnTo>
                  <a:lnTo>
                    <a:pt x="1661" y="1900"/>
                  </a:lnTo>
                  <a:lnTo>
                    <a:pt x="1687" y="1972"/>
                  </a:lnTo>
                  <a:lnTo>
                    <a:pt x="1721" y="2036"/>
                  </a:lnTo>
                  <a:lnTo>
                    <a:pt x="1765" y="2095"/>
                  </a:lnTo>
                  <a:lnTo>
                    <a:pt x="1815" y="2149"/>
                  </a:lnTo>
                  <a:lnTo>
                    <a:pt x="1873" y="2195"/>
                  </a:lnTo>
                  <a:lnTo>
                    <a:pt x="1937" y="2235"/>
                  </a:lnTo>
                  <a:lnTo>
                    <a:pt x="2005" y="2263"/>
                  </a:lnTo>
                  <a:lnTo>
                    <a:pt x="2076" y="2283"/>
                  </a:lnTo>
                  <a:lnTo>
                    <a:pt x="2076" y="2931"/>
                  </a:lnTo>
                  <a:lnTo>
                    <a:pt x="2024" y="2907"/>
                  </a:lnTo>
                  <a:lnTo>
                    <a:pt x="1979" y="2875"/>
                  </a:lnTo>
                  <a:lnTo>
                    <a:pt x="1937" y="2835"/>
                  </a:lnTo>
                  <a:lnTo>
                    <a:pt x="1905" y="2789"/>
                  </a:lnTo>
                  <a:lnTo>
                    <a:pt x="1879" y="2737"/>
                  </a:lnTo>
                  <a:lnTo>
                    <a:pt x="1863" y="2681"/>
                  </a:lnTo>
                  <a:lnTo>
                    <a:pt x="1859" y="2624"/>
                  </a:lnTo>
                  <a:lnTo>
                    <a:pt x="1853" y="2588"/>
                  </a:lnTo>
                  <a:lnTo>
                    <a:pt x="1837" y="2558"/>
                  </a:lnTo>
                  <a:lnTo>
                    <a:pt x="1813" y="2534"/>
                  </a:lnTo>
                  <a:lnTo>
                    <a:pt x="1783" y="2518"/>
                  </a:lnTo>
                  <a:lnTo>
                    <a:pt x="1749" y="2514"/>
                  </a:lnTo>
                  <a:lnTo>
                    <a:pt x="1715" y="2518"/>
                  </a:lnTo>
                  <a:lnTo>
                    <a:pt x="1685" y="2534"/>
                  </a:lnTo>
                  <a:lnTo>
                    <a:pt x="1661" y="2558"/>
                  </a:lnTo>
                  <a:lnTo>
                    <a:pt x="1646" y="2588"/>
                  </a:lnTo>
                  <a:lnTo>
                    <a:pt x="1640" y="2624"/>
                  </a:lnTo>
                  <a:lnTo>
                    <a:pt x="1646" y="2701"/>
                  </a:lnTo>
                  <a:lnTo>
                    <a:pt x="1661" y="2775"/>
                  </a:lnTo>
                  <a:lnTo>
                    <a:pt x="1687" y="2845"/>
                  </a:lnTo>
                  <a:lnTo>
                    <a:pt x="1721" y="2911"/>
                  </a:lnTo>
                  <a:lnTo>
                    <a:pt x="1765" y="2970"/>
                  </a:lnTo>
                  <a:lnTo>
                    <a:pt x="1815" y="3024"/>
                  </a:lnTo>
                  <a:lnTo>
                    <a:pt x="1873" y="3070"/>
                  </a:lnTo>
                  <a:lnTo>
                    <a:pt x="1937" y="3108"/>
                  </a:lnTo>
                  <a:lnTo>
                    <a:pt x="2005" y="3138"/>
                  </a:lnTo>
                  <a:lnTo>
                    <a:pt x="2076" y="3158"/>
                  </a:lnTo>
                  <a:lnTo>
                    <a:pt x="2076" y="3277"/>
                  </a:lnTo>
                  <a:lnTo>
                    <a:pt x="2082" y="3313"/>
                  </a:lnTo>
                  <a:lnTo>
                    <a:pt x="2098" y="3343"/>
                  </a:lnTo>
                  <a:lnTo>
                    <a:pt x="2122" y="3367"/>
                  </a:lnTo>
                  <a:lnTo>
                    <a:pt x="2152" y="3381"/>
                  </a:lnTo>
                  <a:lnTo>
                    <a:pt x="2186" y="3387"/>
                  </a:lnTo>
                  <a:lnTo>
                    <a:pt x="2220" y="3381"/>
                  </a:lnTo>
                  <a:lnTo>
                    <a:pt x="2252" y="3367"/>
                  </a:lnTo>
                  <a:lnTo>
                    <a:pt x="2274" y="3343"/>
                  </a:lnTo>
                  <a:lnTo>
                    <a:pt x="2290" y="3313"/>
                  </a:lnTo>
                  <a:lnTo>
                    <a:pt x="2296" y="3277"/>
                  </a:lnTo>
                  <a:lnTo>
                    <a:pt x="2296" y="3158"/>
                  </a:lnTo>
                  <a:lnTo>
                    <a:pt x="2368" y="3138"/>
                  </a:lnTo>
                  <a:lnTo>
                    <a:pt x="2437" y="3108"/>
                  </a:lnTo>
                  <a:lnTo>
                    <a:pt x="2499" y="3070"/>
                  </a:lnTo>
                  <a:lnTo>
                    <a:pt x="2557" y="3024"/>
                  </a:lnTo>
                  <a:lnTo>
                    <a:pt x="2607" y="2970"/>
                  </a:lnTo>
                  <a:lnTo>
                    <a:pt x="2651" y="2911"/>
                  </a:lnTo>
                  <a:lnTo>
                    <a:pt x="2685" y="2845"/>
                  </a:lnTo>
                  <a:lnTo>
                    <a:pt x="2711" y="2775"/>
                  </a:lnTo>
                  <a:lnTo>
                    <a:pt x="2727" y="2701"/>
                  </a:lnTo>
                  <a:lnTo>
                    <a:pt x="2733" y="2624"/>
                  </a:lnTo>
                  <a:lnTo>
                    <a:pt x="2727" y="2546"/>
                  </a:lnTo>
                  <a:lnTo>
                    <a:pt x="2711" y="2470"/>
                  </a:lnTo>
                  <a:lnTo>
                    <a:pt x="2685" y="2400"/>
                  </a:lnTo>
                  <a:lnTo>
                    <a:pt x="2651" y="2335"/>
                  </a:lnTo>
                  <a:lnTo>
                    <a:pt x="2607" y="2275"/>
                  </a:lnTo>
                  <a:lnTo>
                    <a:pt x="2557" y="2221"/>
                  </a:lnTo>
                  <a:lnTo>
                    <a:pt x="2499" y="2175"/>
                  </a:lnTo>
                  <a:lnTo>
                    <a:pt x="2437" y="2137"/>
                  </a:lnTo>
                  <a:lnTo>
                    <a:pt x="2368" y="2107"/>
                  </a:lnTo>
                  <a:lnTo>
                    <a:pt x="2296" y="2087"/>
                  </a:lnTo>
                  <a:lnTo>
                    <a:pt x="2296" y="1442"/>
                  </a:lnTo>
                  <a:lnTo>
                    <a:pt x="2348" y="1465"/>
                  </a:lnTo>
                  <a:lnTo>
                    <a:pt x="2395" y="1497"/>
                  </a:lnTo>
                  <a:lnTo>
                    <a:pt x="2435" y="1537"/>
                  </a:lnTo>
                  <a:lnTo>
                    <a:pt x="2469" y="1581"/>
                  </a:lnTo>
                  <a:lnTo>
                    <a:pt x="2493" y="1633"/>
                  </a:lnTo>
                  <a:lnTo>
                    <a:pt x="2509" y="1689"/>
                  </a:lnTo>
                  <a:lnTo>
                    <a:pt x="2515" y="1748"/>
                  </a:lnTo>
                  <a:lnTo>
                    <a:pt x="2519" y="1782"/>
                  </a:lnTo>
                  <a:lnTo>
                    <a:pt x="2535" y="1812"/>
                  </a:lnTo>
                  <a:lnTo>
                    <a:pt x="2559" y="1836"/>
                  </a:lnTo>
                  <a:lnTo>
                    <a:pt x="2589" y="1852"/>
                  </a:lnTo>
                  <a:lnTo>
                    <a:pt x="2623" y="1858"/>
                  </a:lnTo>
                  <a:lnTo>
                    <a:pt x="2659" y="1852"/>
                  </a:lnTo>
                  <a:lnTo>
                    <a:pt x="2689" y="1836"/>
                  </a:lnTo>
                  <a:lnTo>
                    <a:pt x="2713" y="1812"/>
                  </a:lnTo>
                  <a:lnTo>
                    <a:pt x="2727" y="1782"/>
                  </a:lnTo>
                  <a:lnTo>
                    <a:pt x="2733" y="1748"/>
                  </a:lnTo>
                  <a:lnTo>
                    <a:pt x="2727" y="1671"/>
                  </a:lnTo>
                  <a:lnTo>
                    <a:pt x="2711" y="1597"/>
                  </a:lnTo>
                  <a:lnTo>
                    <a:pt x="2685" y="1525"/>
                  </a:lnTo>
                  <a:lnTo>
                    <a:pt x="2651" y="1461"/>
                  </a:lnTo>
                  <a:lnTo>
                    <a:pt x="2607" y="1402"/>
                  </a:lnTo>
                  <a:lnTo>
                    <a:pt x="2557" y="1348"/>
                  </a:lnTo>
                  <a:lnTo>
                    <a:pt x="2499" y="1302"/>
                  </a:lnTo>
                  <a:lnTo>
                    <a:pt x="2437" y="1264"/>
                  </a:lnTo>
                  <a:lnTo>
                    <a:pt x="2368" y="1234"/>
                  </a:lnTo>
                  <a:lnTo>
                    <a:pt x="2296" y="1214"/>
                  </a:lnTo>
                  <a:lnTo>
                    <a:pt x="2296" y="1093"/>
                  </a:lnTo>
                  <a:lnTo>
                    <a:pt x="2290" y="1059"/>
                  </a:lnTo>
                  <a:lnTo>
                    <a:pt x="2274" y="1029"/>
                  </a:lnTo>
                  <a:lnTo>
                    <a:pt x="2252" y="1005"/>
                  </a:lnTo>
                  <a:lnTo>
                    <a:pt x="2220" y="989"/>
                  </a:lnTo>
                  <a:lnTo>
                    <a:pt x="2186" y="983"/>
                  </a:lnTo>
                  <a:close/>
                  <a:moveTo>
                    <a:pt x="2186" y="0"/>
                  </a:moveTo>
                  <a:lnTo>
                    <a:pt x="2350" y="6"/>
                  </a:lnTo>
                  <a:lnTo>
                    <a:pt x="2509" y="24"/>
                  </a:lnTo>
                  <a:lnTo>
                    <a:pt x="2665" y="52"/>
                  </a:lnTo>
                  <a:lnTo>
                    <a:pt x="2816" y="94"/>
                  </a:lnTo>
                  <a:lnTo>
                    <a:pt x="2964" y="144"/>
                  </a:lnTo>
                  <a:lnTo>
                    <a:pt x="3107" y="204"/>
                  </a:lnTo>
                  <a:lnTo>
                    <a:pt x="3245" y="273"/>
                  </a:lnTo>
                  <a:lnTo>
                    <a:pt x="3377" y="353"/>
                  </a:lnTo>
                  <a:lnTo>
                    <a:pt x="3502" y="441"/>
                  </a:lnTo>
                  <a:lnTo>
                    <a:pt x="3620" y="537"/>
                  </a:lnTo>
                  <a:lnTo>
                    <a:pt x="3732" y="640"/>
                  </a:lnTo>
                  <a:lnTo>
                    <a:pt x="3835" y="752"/>
                  </a:lnTo>
                  <a:lnTo>
                    <a:pt x="3931" y="871"/>
                  </a:lnTo>
                  <a:lnTo>
                    <a:pt x="4021" y="997"/>
                  </a:lnTo>
                  <a:lnTo>
                    <a:pt x="4099" y="1129"/>
                  </a:lnTo>
                  <a:lnTo>
                    <a:pt x="4169" y="1266"/>
                  </a:lnTo>
                  <a:lnTo>
                    <a:pt x="4230" y="1408"/>
                  </a:lnTo>
                  <a:lnTo>
                    <a:pt x="4280" y="1555"/>
                  </a:lnTo>
                  <a:lnTo>
                    <a:pt x="4320" y="1707"/>
                  </a:lnTo>
                  <a:lnTo>
                    <a:pt x="4350" y="1864"/>
                  </a:lnTo>
                  <a:lnTo>
                    <a:pt x="4366" y="2024"/>
                  </a:lnTo>
                  <a:lnTo>
                    <a:pt x="4372" y="2185"/>
                  </a:lnTo>
                  <a:lnTo>
                    <a:pt x="4366" y="2348"/>
                  </a:lnTo>
                  <a:lnTo>
                    <a:pt x="4350" y="2508"/>
                  </a:lnTo>
                  <a:lnTo>
                    <a:pt x="4320" y="2663"/>
                  </a:lnTo>
                  <a:lnTo>
                    <a:pt x="4280" y="2817"/>
                  </a:lnTo>
                  <a:lnTo>
                    <a:pt x="4230" y="2964"/>
                  </a:lnTo>
                  <a:lnTo>
                    <a:pt x="4169" y="3106"/>
                  </a:lnTo>
                  <a:lnTo>
                    <a:pt x="4099" y="3243"/>
                  </a:lnTo>
                  <a:lnTo>
                    <a:pt x="4021" y="3375"/>
                  </a:lnTo>
                  <a:lnTo>
                    <a:pt x="3931" y="3501"/>
                  </a:lnTo>
                  <a:lnTo>
                    <a:pt x="3835" y="3618"/>
                  </a:lnTo>
                  <a:lnTo>
                    <a:pt x="3732" y="3730"/>
                  </a:lnTo>
                  <a:lnTo>
                    <a:pt x="3620" y="3834"/>
                  </a:lnTo>
                  <a:lnTo>
                    <a:pt x="3502" y="3931"/>
                  </a:lnTo>
                  <a:lnTo>
                    <a:pt x="3377" y="4019"/>
                  </a:lnTo>
                  <a:lnTo>
                    <a:pt x="3245" y="4097"/>
                  </a:lnTo>
                  <a:lnTo>
                    <a:pt x="3107" y="4166"/>
                  </a:lnTo>
                  <a:lnTo>
                    <a:pt x="2964" y="4228"/>
                  </a:lnTo>
                  <a:lnTo>
                    <a:pt x="2816" y="4278"/>
                  </a:lnTo>
                  <a:lnTo>
                    <a:pt x="2665" y="4318"/>
                  </a:lnTo>
                  <a:lnTo>
                    <a:pt x="2509" y="4348"/>
                  </a:lnTo>
                  <a:lnTo>
                    <a:pt x="2350" y="4366"/>
                  </a:lnTo>
                  <a:lnTo>
                    <a:pt x="2186" y="4372"/>
                  </a:lnTo>
                  <a:lnTo>
                    <a:pt x="2022" y="4366"/>
                  </a:lnTo>
                  <a:lnTo>
                    <a:pt x="1863" y="4348"/>
                  </a:lnTo>
                  <a:lnTo>
                    <a:pt x="1707" y="4318"/>
                  </a:lnTo>
                  <a:lnTo>
                    <a:pt x="1556" y="4278"/>
                  </a:lnTo>
                  <a:lnTo>
                    <a:pt x="1408" y="4228"/>
                  </a:lnTo>
                  <a:lnTo>
                    <a:pt x="1265" y="4166"/>
                  </a:lnTo>
                  <a:lnTo>
                    <a:pt x="1129" y="4097"/>
                  </a:lnTo>
                  <a:lnTo>
                    <a:pt x="997" y="4019"/>
                  </a:lnTo>
                  <a:lnTo>
                    <a:pt x="872" y="3931"/>
                  </a:lnTo>
                  <a:lnTo>
                    <a:pt x="752" y="3834"/>
                  </a:lnTo>
                  <a:lnTo>
                    <a:pt x="640" y="3730"/>
                  </a:lnTo>
                  <a:lnTo>
                    <a:pt x="537" y="3618"/>
                  </a:lnTo>
                  <a:lnTo>
                    <a:pt x="441" y="3501"/>
                  </a:lnTo>
                  <a:lnTo>
                    <a:pt x="353" y="3375"/>
                  </a:lnTo>
                  <a:lnTo>
                    <a:pt x="273" y="3243"/>
                  </a:lnTo>
                  <a:lnTo>
                    <a:pt x="203" y="3106"/>
                  </a:lnTo>
                  <a:lnTo>
                    <a:pt x="144" y="2964"/>
                  </a:lnTo>
                  <a:lnTo>
                    <a:pt x="92" y="2817"/>
                  </a:lnTo>
                  <a:lnTo>
                    <a:pt x="52" y="2663"/>
                  </a:lnTo>
                  <a:lnTo>
                    <a:pt x="24" y="2508"/>
                  </a:lnTo>
                  <a:lnTo>
                    <a:pt x="6" y="2348"/>
                  </a:lnTo>
                  <a:lnTo>
                    <a:pt x="0" y="2185"/>
                  </a:lnTo>
                  <a:lnTo>
                    <a:pt x="6" y="2024"/>
                  </a:lnTo>
                  <a:lnTo>
                    <a:pt x="24" y="1864"/>
                  </a:lnTo>
                  <a:lnTo>
                    <a:pt x="52" y="1707"/>
                  </a:lnTo>
                  <a:lnTo>
                    <a:pt x="92" y="1555"/>
                  </a:lnTo>
                  <a:lnTo>
                    <a:pt x="144" y="1408"/>
                  </a:lnTo>
                  <a:lnTo>
                    <a:pt x="203" y="1266"/>
                  </a:lnTo>
                  <a:lnTo>
                    <a:pt x="273" y="1129"/>
                  </a:lnTo>
                  <a:lnTo>
                    <a:pt x="353" y="997"/>
                  </a:lnTo>
                  <a:lnTo>
                    <a:pt x="441" y="871"/>
                  </a:lnTo>
                  <a:lnTo>
                    <a:pt x="537" y="752"/>
                  </a:lnTo>
                  <a:lnTo>
                    <a:pt x="640" y="640"/>
                  </a:lnTo>
                  <a:lnTo>
                    <a:pt x="752" y="537"/>
                  </a:lnTo>
                  <a:lnTo>
                    <a:pt x="872" y="441"/>
                  </a:lnTo>
                  <a:lnTo>
                    <a:pt x="997" y="353"/>
                  </a:lnTo>
                  <a:lnTo>
                    <a:pt x="1129" y="273"/>
                  </a:lnTo>
                  <a:lnTo>
                    <a:pt x="1265" y="204"/>
                  </a:lnTo>
                  <a:lnTo>
                    <a:pt x="1408" y="144"/>
                  </a:lnTo>
                  <a:lnTo>
                    <a:pt x="1556" y="94"/>
                  </a:lnTo>
                  <a:lnTo>
                    <a:pt x="1707" y="52"/>
                  </a:lnTo>
                  <a:lnTo>
                    <a:pt x="1863" y="24"/>
                  </a:lnTo>
                  <a:lnTo>
                    <a:pt x="2022" y="6"/>
                  </a:lnTo>
                  <a:lnTo>
                    <a:pt x="218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94" name="Group 193"/>
          <p:cNvGrpSpPr/>
          <p:nvPr/>
        </p:nvGrpSpPr>
        <p:grpSpPr>
          <a:xfrm>
            <a:off x="5696427" y="4297002"/>
            <a:ext cx="451450" cy="450348"/>
            <a:chOff x="4160913" y="4156511"/>
            <a:chExt cx="474478" cy="473320"/>
          </a:xfrm>
        </p:grpSpPr>
        <p:grpSp>
          <p:nvGrpSpPr>
            <p:cNvPr id="167" name="Group 9"/>
            <p:cNvGrpSpPr>
              <a:grpSpLocks noChangeAspect="1"/>
            </p:cNvGrpSpPr>
            <p:nvPr/>
          </p:nvGrpSpPr>
          <p:grpSpPr bwMode="auto">
            <a:xfrm>
              <a:off x="4160913" y="4156511"/>
              <a:ext cx="474478" cy="473320"/>
              <a:chOff x="3027" y="624"/>
              <a:chExt cx="3279" cy="3271"/>
            </a:xfrm>
            <a:solidFill>
              <a:schemeClr val="bg1">
                <a:alpha val="20000"/>
              </a:schemeClr>
            </a:solidFill>
          </p:grpSpPr>
          <p:sp>
            <p:nvSpPr>
              <p:cNvPr id="168" name="Freeform 11"/>
              <p:cNvSpPr>
                <a:spLocks/>
              </p:cNvSpPr>
              <p:nvPr/>
            </p:nvSpPr>
            <p:spPr bwMode="auto">
              <a:xfrm>
                <a:off x="4723" y="1497"/>
                <a:ext cx="677" cy="706"/>
              </a:xfrm>
              <a:custGeom>
                <a:avLst/>
                <a:gdLst>
                  <a:gd name="T0" fmla="*/ 1055 w 1355"/>
                  <a:gd name="T1" fmla="*/ 0 h 1413"/>
                  <a:gd name="T2" fmla="*/ 1128 w 1355"/>
                  <a:gd name="T3" fmla="*/ 193 h 1413"/>
                  <a:gd name="T4" fmla="*/ 1192 w 1355"/>
                  <a:gd name="T5" fmla="*/ 388 h 1413"/>
                  <a:gd name="T6" fmla="*/ 1246 w 1355"/>
                  <a:gd name="T7" fmla="*/ 587 h 1413"/>
                  <a:gd name="T8" fmla="*/ 1289 w 1355"/>
                  <a:gd name="T9" fmla="*/ 790 h 1413"/>
                  <a:gd name="T10" fmla="*/ 1323 w 1355"/>
                  <a:gd name="T11" fmla="*/ 995 h 1413"/>
                  <a:gd name="T12" fmla="*/ 1345 w 1355"/>
                  <a:gd name="T13" fmla="*/ 1204 h 1413"/>
                  <a:gd name="T14" fmla="*/ 1355 w 1355"/>
                  <a:gd name="T15" fmla="*/ 1413 h 1413"/>
                  <a:gd name="T16" fmla="*/ 0 w 1355"/>
                  <a:gd name="T17" fmla="*/ 1413 h 1413"/>
                  <a:gd name="T18" fmla="*/ 0 w 1355"/>
                  <a:gd name="T19" fmla="*/ 163 h 1413"/>
                  <a:gd name="T20" fmla="*/ 215 w 1355"/>
                  <a:gd name="T21" fmla="*/ 154 h 1413"/>
                  <a:gd name="T22" fmla="*/ 428 w 1355"/>
                  <a:gd name="T23" fmla="*/ 132 h 1413"/>
                  <a:gd name="T24" fmla="*/ 641 w 1355"/>
                  <a:gd name="T25" fmla="*/ 98 h 1413"/>
                  <a:gd name="T26" fmla="*/ 848 w 1355"/>
                  <a:gd name="T27" fmla="*/ 54 h 1413"/>
                  <a:gd name="T28" fmla="*/ 1055 w 1355"/>
                  <a:gd name="T29" fmla="*/ 0 h 1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55" h="1413">
                    <a:moveTo>
                      <a:pt x="1055" y="0"/>
                    </a:moveTo>
                    <a:lnTo>
                      <a:pt x="1128" y="193"/>
                    </a:lnTo>
                    <a:lnTo>
                      <a:pt x="1192" y="388"/>
                    </a:lnTo>
                    <a:lnTo>
                      <a:pt x="1246" y="587"/>
                    </a:lnTo>
                    <a:lnTo>
                      <a:pt x="1289" y="790"/>
                    </a:lnTo>
                    <a:lnTo>
                      <a:pt x="1323" y="995"/>
                    </a:lnTo>
                    <a:lnTo>
                      <a:pt x="1345" y="1204"/>
                    </a:lnTo>
                    <a:lnTo>
                      <a:pt x="1355" y="1413"/>
                    </a:lnTo>
                    <a:lnTo>
                      <a:pt x="0" y="1413"/>
                    </a:lnTo>
                    <a:lnTo>
                      <a:pt x="0" y="163"/>
                    </a:lnTo>
                    <a:lnTo>
                      <a:pt x="215" y="154"/>
                    </a:lnTo>
                    <a:lnTo>
                      <a:pt x="428" y="132"/>
                    </a:lnTo>
                    <a:lnTo>
                      <a:pt x="641" y="98"/>
                    </a:lnTo>
                    <a:lnTo>
                      <a:pt x="848" y="54"/>
                    </a:lnTo>
                    <a:lnTo>
                      <a:pt x="10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69" name="Freeform 12"/>
              <p:cNvSpPr>
                <a:spLocks/>
              </p:cNvSpPr>
              <p:nvPr/>
            </p:nvSpPr>
            <p:spPr bwMode="auto">
              <a:xfrm>
                <a:off x="4756" y="624"/>
                <a:ext cx="1064" cy="735"/>
              </a:xfrm>
              <a:custGeom>
                <a:avLst/>
                <a:gdLst>
                  <a:gd name="T0" fmla="*/ 60 w 2128"/>
                  <a:gd name="T1" fmla="*/ 0 h 1470"/>
                  <a:gd name="T2" fmla="*/ 259 w 2128"/>
                  <a:gd name="T3" fmla="*/ 20 h 1470"/>
                  <a:gd name="T4" fmla="*/ 454 w 2128"/>
                  <a:gd name="T5" fmla="*/ 52 h 1470"/>
                  <a:gd name="T6" fmla="*/ 646 w 2128"/>
                  <a:gd name="T7" fmla="*/ 95 h 1470"/>
                  <a:gd name="T8" fmla="*/ 833 w 2128"/>
                  <a:gd name="T9" fmla="*/ 151 h 1470"/>
                  <a:gd name="T10" fmla="*/ 1016 w 2128"/>
                  <a:gd name="T11" fmla="*/ 217 h 1470"/>
                  <a:gd name="T12" fmla="*/ 1193 w 2128"/>
                  <a:gd name="T13" fmla="*/ 292 h 1470"/>
                  <a:gd name="T14" fmla="*/ 1365 w 2128"/>
                  <a:gd name="T15" fmla="*/ 378 h 1470"/>
                  <a:gd name="T16" fmla="*/ 1532 w 2128"/>
                  <a:gd name="T17" fmla="*/ 471 h 1470"/>
                  <a:gd name="T18" fmla="*/ 1691 w 2128"/>
                  <a:gd name="T19" fmla="*/ 577 h 1470"/>
                  <a:gd name="T20" fmla="*/ 1844 w 2128"/>
                  <a:gd name="T21" fmla="*/ 690 h 1470"/>
                  <a:gd name="T22" fmla="*/ 1991 w 2128"/>
                  <a:gd name="T23" fmla="*/ 812 h 1470"/>
                  <a:gd name="T24" fmla="*/ 2128 w 2128"/>
                  <a:gd name="T25" fmla="*/ 941 h 1470"/>
                  <a:gd name="T26" fmla="*/ 2055 w 2128"/>
                  <a:gd name="T27" fmla="*/ 998 h 1470"/>
                  <a:gd name="T28" fmla="*/ 1906 w 2128"/>
                  <a:gd name="T29" fmla="*/ 1094 h 1470"/>
                  <a:gd name="T30" fmla="*/ 1754 w 2128"/>
                  <a:gd name="T31" fmla="*/ 1183 h 1470"/>
                  <a:gd name="T32" fmla="*/ 1597 w 2128"/>
                  <a:gd name="T33" fmla="*/ 1267 h 1470"/>
                  <a:gd name="T34" fmla="*/ 1440 w 2128"/>
                  <a:gd name="T35" fmla="*/ 1341 h 1470"/>
                  <a:gd name="T36" fmla="*/ 1277 w 2128"/>
                  <a:gd name="T37" fmla="*/ 1408 h 1470"/>
                  <a:gd name="T38" fmla="*/ 1112 w 2128"/>
                  <a:gd name="T39" fmla="*/ 1470 h 1470"/>
                  <a:gd name="T40" fmla="*/ 1022 w 2128"/>
                  <a:gd name="T41" fmla="*/ 1291 h 1470"/>
                  <a:gd name="T42" fmla="*/ 923 w 2128"/>
                  <a:gd name="T43" fmla="*/ 1118 h 1470"/>
                  <a:gd name="T44" fmla="*/ 816 w 2128"/>
                  <a:gd name="T45" fmla="*/ 949 h 1470"/>
                  <a:gd name="T46" fmla="*/ 700 w 2128"/>
                  <a:gd name="T47" fmla="*/ 784 h 1470"/>
                  <a:gd name="T48" fmla="*/ 575 w 2128"/>
                  <a:gd name="T49" fmla="*/ 625 h 1470"/>
                  <a:gd name="T50" fmla="*/ 444 w 2128"/>
                  <a:gd name="T51" fmla="*/ 471 h 1470"/>
                  <a:gd name="T52" fmla="*/ 302 w 2128"/>
                  <a:gd name="T53" fmla="*/ 324 h 1470"/>
                  <a:gd name="T54" fmla="*/ 155 w 2128"/>
                  <a:gd name="T55" fmla="*/ 183 h 1470"/>
                  <a:gd name="T56" fmla="*/ 0 w 2128"/>
                  <a:gd name="T57" fmla="*/ 48 h 1470"/>
                  <a:gd name="T58" fmla="*/ 60 w 2128"/>
                  <a:gd name="T59" fmla="*/ 0 h 1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28" h="1470">
                    <a:moveTo>
                      <a:pt x="60" y="0"/>
                    </a:moveTo>
                    <a:lnTo>
                      <a:pt x="259" y="20"/>
                    </a:lnTo>
                    <a:lnTo>
                      <a:pt x="454" y="52"/>
                    </a:lnTo>
                    <a:lnTo>
                      <a:pt x="646" y="95"/>
                    </a:lnTo>
                    <a:lnTo>
                      <a:pt x="833" y="151"/>
                    </a:lnTo>
                    <a:lnTo>
                      <a:pt x="1016" y="217"/>
                    </a:lnTo>
                    <a:lnTo>
                      <a:pt x="1193" y="292"/>
                    </a:lnTo>
                    <a:lnTo>
                      <a:pt x="1365" y="378"/>
                    </a:lnTo>
                    <a:lnTo>
                      <a:pt x="1532" y="471"/>
                    </a:lnTo>
                    <a:lnTo>
                      <a:pt x="1691" y="577"/>
                    </a:lnTo>
                    <a:lnTo>
                      <a:pt x="1844" y="690"/>
                    </a:lnTo>
                    <a:lnTo>
                      <a:pt x="1991" y="812"/>
                    </a:lnTo>
                    <a:lnTo>
                      <a:pt x="2128" y="941"/>
                    </a:lnTo>
                    <a:lnTo>
                      <a:pt x="2055" y="998"/>
                    </a:lnTo>
                    <a:lnTo>
                      <a:pt x="1906" y="1094"/>
                    </a:lnTo>
                    <a:lnTo>
                      <a:pt x="1754" y="1183"/>
                    </a:lnTo>
                    <a:lnTo>
                      <a:pt x="1597" y="1267"/>
                    </a:lnTo>
                    <a:lnTo>
                      <a:pt x="1440" y="1341"/>
                    </a:lnTo>
                    <a:lnTo>
                      <a:pt x="1277" y="1408"/>
                    </a:lnTo>
                    <a:lnTo>
                      <a:pt x="1112" y="1470"/>
                    </a:lnTo>
                    <a:lnTo>
                      <a:pt x="1022" y="1291"/>
                    </a:lnTo>
                    <a:lnTo>
                      <a:pt x="923" y="1118"/>
                    </a:lnTo>
                    <a:lnTo>
                      <a:pt x="816" y="949"/>
                    </a:lnTo>
                    <a:lnTo>
                      <a:pt x="700" y="784"/>
                    </a:lnTo>
                    <a:lnTo>
                      <a:pt x="575" y="625"/>
                    </a:lnTo>
                    <a:lnTo>
                      <a:pt x="444" y="471"/>
                    </a:lnTo>
                    <a:lnTo>
                      <a:pt x="302" y="324"/>
                    </a:lnTo>
                    <a:lnTo>
                      <a:pt x="155" y="183"/>
                    </a:lnTo>
                    <a:lnTo>
                      <a:pt x="0" y="48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70" name="Freeform 13"/>
              <p:cNvSpPr>
                <a:spLocks/>
              </p:cNvSpPr>
              <p:nvPr/>
            </p:nvSpPr>
            <p:spPr bwMode="auto">
              <a:xfrm>
                <a:off x="4723" y="769"/>
                <a:ext cx="479" cy="696"/>
              </a:xfrm>
              <a:custGeom>
                <a:avLst/>
                <a:gdLst>
                  <a:gd name="T0" fmla="*/ 0 w 959"/>
                  <a:gd name="T1" fmla="*/ 0 h 1393"/>
                  <a:gd name="T2" fmla="*/ 150 w 959"/>
                  <a:gd name="T3" fmla="*/ 136 h 1393"/>
                  <a:gd name="T4" fmla="*/ 289 w 959"/>
                  <a:gd name="T5" fmla="*/ 277 h 1393"/>
                  <a:gd name="T6" fmla="*/ 422 w 959"/>
                  <a:gd name="T7" fmla="*/ 426 h 1393"/>
                  <a:gd name="T8" fmla="*/ 547 w 959"/>
                  <a:gd name="T9" fmla="*/ 579 h 1393"/>
                  <a:gd name="T10" fmla="*/ 663 w 959"/>
                  <a:gd name="T11" fmla="*/ 740 h 1393"/>
                  <a:gd name="T12" fmla="*/ 770 w 959"/>
                  <a:gd name="T13" fmla="*/ 905 h 1393"/>
                  <a:gd name="T14" fmla="*/ 870 w 959"/>
                  <a:gd name="T15" fmla="*/ 1074 h 1393"/>
                  <a:gd name="T16" fmla="*/ 959 w 959"/>
                  <a:gd name="T17" fmla="*/ 1248 h 1393"/>
                  <a:gd name="T18" fmla="*/ 772 w 959"/>
                  <a:gd name="T19" fmla="*/ 1295 h 1393"/>
                  <a:gd name="T20" fmla="*/ 583 w 959"/>
                  <a:gd name="T21" fmla="*/ 1335 h 1393"/>
                  <a:gd name="T22" fmla="*/ 390 w 959"/>
                  <a:gd name="T23" fmla="*/ 1363 h 1393"/>
                  <a:gd name="T24" fmla="*/ 197 w 959"/>
                  <a:gd name="T25" fmla="*/ 1383 h 1393"/>
                  <a:gd name="T26" fmla="*/ 0 w 959"/>
                  <a:gd name="T27" fmla="*/ 1393 h 1393"/>
                  <a:gd name="T28" fmla="*/ 0 w 959"/>
                  <a:gd name="T29" fmla="*/ 0 h 1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59" h="1393">
                    <a:moveTo>
                      <a:pt x="0" y="0"/>
                    </a:moveTo>
                    <a:lnTo>
                      <a:pt x="150" y="136"/>
                    </a:lnTo>
                    <a:lnTo>
                      <a:pt x="289" y="277"/>
                    </a:lnTo>
                    <a:lnTo>
                      <a:pt x="422" y="426"/>
                    </a:lnTo>
                    <a:lnTo>
                      <a:pt x="547" y="579"/>
                    </a:lnTo>
                    <a:lnTo>
                      <a:pt x="663" y="740"/>
                    </a:lnTo>
                    <a:lnTo>
                      <a:pt x="770" y="905"/>
                    </a:lnTo>
                    <a:lnTo>
                      <a:pt x="870" y="1074"/>
                    </a:lnTo>
                    <a:lnTo>
                      <a:pt x="959" y="1248"/>
                    </a:lnTo>
                    <a:lnTo>
                      <a:pt x="772" y="1295"/>
                    </a:lnTo>
                    <a:lnTo>
                      <a:pt x="583" y="1335"/>
                    </a:lnTo>
                    <a:lnTo>
                      <a:pt x="390" y="1363"/>
                    </a:lnTo>
                    <a:lnTo>
                      <a:pt x="197" y="1383"/>
                    </a:lnTo>
                    <a:lnTo>
                      <a:pt x="0" y="13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71" name="Freeform 14"/>
              <p:cNvSpPr>
                <a:spLocks/>
              </p:cNvSpPr>
              <p:nvPr/>
            </p:nvSpPr>
            <p:spPr bwMode="auto">
              <a:xfrm>
                <a:off x="5377" y="2317"/>
                <a:ext cx="929" cy="990"/>
              </a:xfrm>
              <a:custGeom>
                <a:avLst/>
                <a:gdLst>
                  <a:gd name="T0" fmla="*/ 273 w 1858"/>
                  <a:gd name="T1" fmla="*/ 0 h 1982"/>
                  <a:gd name="T2" fmla="*/ 1858 w 1858"/>
                  <a:gd name="T3" fmla="*/ 0 h 1982"/>
                  <a:gd name="T4" fmla="*/ 1844 w 1858"/>
                  <a:gd name="T5" fmla="*/ 203 h 1982"/>
                  <a:gd name="T6" fmla="*/ 1818 w 1858"/>
                  <a:gd name="T7" fmla="*/ 404 h 1982"/>
                  <a:gd name="T8" fmla="*/ 1782 w 1858"/>
                  <a:gd name="T9" fmla="*/ 599 h 1982"/>
                  <a:gd name="T10" fmla="*/ 1733 w 1858"/>
                  <a:gd name="T11" fmla="*/ 790 h 1982"/>
                  <a:gd name="T12" fmla="*/ 1673 w 1858"/>
                  <a:gd name="T13" fmla="*/ 977 h 1982"/>
                  <a:gd name="T14" fmla="*/ 1603 w 1858"/>
                  <a:gd name="T15" fmla="*/ 1160 h 1982"/>
                  <a:gd name="T16" fmla="*/ 1522 w 1858"/>
                  <a:gd name="T17" fmla="*/ 1337 h 1982"/>
                  <a:gd name="T18" fmla="*/ 1432 w 1858"/>
                  <a:gd name="T19" fmla="*/ 1508 h 1982"/>
                  <a:gd name="T20" fmla="*/ 1331 w 1858"/>
                  <a:gd name="T21" fmla="*/ 1671 h 1982"/>
                  <a:gd name="T22" fmla="*/ 1222 w 1858"/>
                  <a:gd name="T23" fmla="*/ 1830 h 1982"/>
                  <a:gd name="T24" fmla="*/ 1104 w 1858"/>
                  <a:gd name="T25" fmla="*/ 1982 h 1982"/>
                  <a:gd name="T26" fmla="*/ 1005 w 1858"/>
                  <a:gd name="T27" fmla="*/ 1908 h 1982"/>
                  <a:gd name="T28" fmla="*/ 848 w 1858"/>
                  <a:gd name="T29" fmla="*/ 1801 h 1982"/>
                  <a:gd name="T30" fmla="*/ 684 w 1858"/>
                  <a:gd name="T31" fmla="*/ 1701 h 1982"/>
                  <a:gd name="T32" fmla="*/ 517 w 1858"/>
                  <a:gd name="T33" fmla="*/ 1610 h 1982"/>
                  <a:gd name="T34" fmla="*/ 348 w 1858"/>
                  <a:gd name="T35" fmla="*/ 1526 h 1982"/>
                  <a:gd name="T36" fmla="*/ 175 w 1858"/>
                  <a:gd name="T37" fmla="*/ 1450 h 1982"/>
                  <a:gd name="T38" fmla="*/ 0 w 1858"/>
                  <a:gd name="T39" fmla="*/ 1383 h 1982"/>
                  <a:gd name="T40" fmla="*/ 66 w 1858"/>
                  <a:gd name="T41" fmla="*/ 1194 h 1982"/>
                  <a:gd name="T42" fmla="*/ 126 w 1858"/>
                  <a:gd name="T43" fmla="*/ 1001 h 1982"/>
                  <a:gd name="T44" fmla="*/ 173 w 1858"/>
                  <a:gd name="T45" fmla="*/ 806 h 1982"/>
                  <a:gd name="T46" fmla="*/ 213 w 1858"/>
                  <a:gd name="T47" fmla="*/ 609 h 1982"/>
                  <a:gd name="T48" fmla="*/ 243 w 1858"/>
                  <a:gd name="T49" fmla="*/ 408 h 1982"/>
                  <a:gd name="T50" fmla="*/ 263 w 1858"/>
                  <a:gd name="T51" fmla="*/ 205 h 1982"/>
                  <a:gd name="T52" fmla="*/ 273 w 1858"/>
                  <a:gd name="T53" fmla="*/ 0 h 19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858" h="1982">
                    <a:moveTo>
                      <a:pt x="273" y="0"/>
                    </a:moveTo>
                    <a:lnTo>
                      <a:pt x="1858" y="0"/>
                    </a:lnTo>
                    <a:lnTo>
                      <a:pt x="1844" y="203"/>
                    </a:lnTo>
                    <a:lnTo>
                      <a:pt x="1818" y="404"/>
                    </a:lnTo>
                    <a:lnTo>
                      <a:pt x="1782" y="599"/>
                    </a:lnTo>
                    <a:lnTo>
                      <a:pt x="1733" y="790"/>
                    </a:lnTo>
                    <a:lnTo>
                      <a:pt x="1673" y="977"/>
                    </a:lnTo>
                    <a:lnTo>
                      <a:pt x="1603" y="1160"/>
                    </a:lnTo>
                    <a:lnTo>
                      <a:pt x="1522" y="1337"/>
                    </a:lnTo>
                    <a:lnTo>
                      <a:pt x="1432" y="1508"/>
                    </a:lnTo>
                    <a:lnTo>
                      <a:pt x="1331" y="1671"/>
                    </a:lnTo>
                    <a:lnTo>
                      <a:pt x="1222" y="1830"/>
                    </a:lnTo>
                    <a:lnTo>
                      <a:pt x="1104" y="1982"/>
                    </a:lnTo>
                    <a:lnTo>
                      <a:pt x="1005" y="1908"/>
                    </a:lnTo>
                    <a:lnTo>
                      <a:pt x="848" y="1801"/>
                    </a:lnTo>
                    <a:lnTo>
                      <a:pt x="684" y="1701"/>
                    </a:lnTo>
                    <a:lnTo>
                      <a:pt x="517" y="1610"/>
                    </a:lnTo>
                    <a:lnTo>
                      <a:pt x="348" y="1526"/>
                    </a:lnTo>
                    <a:lnTo>
                      <a:pt x="175" y="1450"/>
                    </a:lnTo>
                    <a:lnTo>
                      <a:pt x="0" y="1383"/>
                    </a:lnTo>
                    <a:lnTo>
                      <a:pt x="66" y="1194"/>
                    </a:lnTo>
                    <a:lnTo>
                      <a:pt x="126" y="1001"/>
                    </a:lnTo>
                    <a:lnTo>
                      <a:pt x="173" y="806"/>
                    </a:lnTo>
                    <a:lnTo>
                      <a:pt x="213" y="609"/>
                    </a:lnTo>
                    <a:lnTo>
                      <a:pt x="243" y="408"/>
                    </a:lnTo>
                    <a:lnTo>
                      <a:pt x="263" y="205"/>
                    </a:lnTo>
                    <a:lnTo>
                      <a:pt x="27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72" name="Freeform 15"/>
              <p:cNvSpPr>
                <a:spLocks/>
              </p:cNvSpPr>
              <p:nvPr/>
            </p:nvSpPr>
            <p:spPr bwMode="auto">
              <a:xfrm>
                <a:off x="3510" y="624"/>
                <a:ext cx="1067" cy="735"/>
              </a:xfrm>
              <a:custGeom>
                <a:avLst/>
                <a:gdLst>
                  <a:gd name="T0" fmla="*/ 2074 w 2134"/>
                  <a:gd name="T1" fmla="*/ 0 h 1470"/>
                  <a:gd name="T2" fmla="*/ 2134 w 2134"/>
                  <a:gd name="T3" fmla="*/ 48 h 1470"/>
                  <a:gd name="T4" fmla="*/ 1979 w 2134"/>
                  <a:gd name="T5" fmla="*/ 183 h 1470"/>
                  <a:gd name="T6" fmla="*/ 1830 w 2134"/>
                  <a:gd name="T7" fmla="*/ 324 h 1470"/>
                  <a:gd name="T8" fmla="*/ 1690 w 2134"/>
                  <a:gd name="T9" fmla="*/ 471 h 1470"/>
                  <a:gd name="T10" fmla="*/ 1557 w 2134"/>
                  <a:gd name="T11" fmla="*/ 625 h 1470"/>
                  <a:gd name="T12" fmla="*/ 1434 w 2134"/>
                  <a:gd name="T13" fmla="*/ 784 h 1470"/>
                  <a:gd name="T14" fmla="*/ 1318 w 2134"/>
                  <a:gd name="T15" fmla="*/ 949 h 1470"/>
                  <a:gd name="T16" fmla="*/ 1211 w 2134"/>
                  <a:gd name="T17" fmla="*/ 1118 h 1470"/>
                  <a:gd name="T18" fmla="*/ 1112 w 2134"/>
                  <a:gd name="T19" fmla="*/ 1291 h 1470"/>
                  <a:gd name="T20" fmla="*/ 1020 w 2134"/>
                  <a:gd name="T21" fmla="*/ 1470 h 1470"/>
                  <a:gd name="T22" fmla="*/ 857 w 2134"/>
                  <a:gd name="T23" fmla="*/ 1408 h 1470"/>
                  <a:gd name="T24" fmla="*/ 694 w 2134"/>
                  <a:gd name="T25" fmla="*/ 1341 h 1470"/>
                  <a:gd name="T26" fmla="*/ 535 w 2134"/>
                  <a:gd name="T27" fmla="*/ 1267 h 1470"/>
                  <a:gd name="T28" fmla="*/ 380 w 2134"/>
                  <a:gd name="T29" fmla="*/ 1183 h 1470"/>
                  <a:gd name="T30" fmla="*/ 226 w 2134"/>
                  <a:gd name="T31" fmla="*/ 1094 h 1470"/>
                  <a:gd name="T32" fmla="*/ 77 w 2134"/>
                  <a:gd name="T33" fmla="*/ 998 h 1470"/>
                  <a:gd name="T34" fmla="*/ 0 w 2134"/>
                  <a:gd name="T35" fmla="*/ 945 h 1470"/>
                  <a:gd name="T36" fmla="*/ 139 w 2134"/>
                  <a:gd name="T37" fmla="*/ 814 h 1470"/>
                  <a:gd name="T38" fmla="*/ 286 w 2134"/>
                  <a:gd name="T39" fmla="*/ 692 h 1470"/>
                  <a:gd name="T40" fmla="*/ 439 w 2134"/>
                  <a:gd name="T41" fmla="*/ 579 h 1470"/>
                  <a:gd name="T42" fmla="*/ 600 w 2134"/>
                  <a:gd name="T43" fmla="*/ 473 h 1470"/>
                  <a:gd name="T44" fmla="*/ 765 w 2134"/>
                  <a:gd name="T45" fmla="*/ 378 h 1470"/>
                  <a:gd name="T46" fmla="*/ 939 w 2134"/>
                  <a:gd name="T47" fmla="*/ 292 h 1470"/>
                  <a:gd name="T48" fmla="*/ 1116 w 2134"/>
                  <a:gd name="T49" fmla="*/ 217 h 1470"/>
                  <a:gd name="T50" fmla="*/ 1299 w 2134"/>
                  <a:gd name="T51" fmla="*/ 151 h 1470"/>
                  <a:gd name="T52" fmla="*/ 1486 w 2134"/>
                  <a:gd name="T53" fmla="*/ 95 h 1470"/>
                  <a:gd name="T54" fmla="*/ 1678 w 2134"/>
                  <a:gd name="T55" fmla="*/ 54 h 1470"/>
                  <a:gd name="T56" fmla="*/ 1875 w 2134"/>
                  <a:gd name="T57" fmla="*/ 20 h 1470"/>
                  <a:gd name="T58" fmla="*/ 2074 w 2134"/>
                  <a:gd name="T59" fmla="*/ 0 h 1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34" h="1470">
                    <a:moveTo>
                      <a:pt x="2074" y="0"/>
                    </a:moveTo>
                    <a:lnTo>
                      <a:pt x="2134" y="48"/>
                    </a:lnTo>
                    <a:lnTo>
                      <a:pt x="1979" y="183"/>
                    </a:lnTo>
                    <a:lnTo>
                      <a:pt x="1830" y="324"/>
                    </a:lnTo>
                    <a:lnTo>
                      <a:pt x="1690" y="471"/>
                    </a:lnTo>
                    <a:lnTo>
                      <a:pt x="1557" y="625"/>
                    </a:lnTo>
                    <a:lnTo>
                      <a:pt x="1434" y="784"/>
                    </a:lnTo>
                    <a:lnTo>
                      <a:pt x="1318" y="949"/>
                    </a:lnTo>
                    <a:lnTo>
                      <a:pt x="1211" y="1118"/>
                    </a:lnTo>
                    <a:lnTo>
                      <a:pt x="1112" y="1291"/>
                    </a:lnTo>
                    <a:lnTo>
                      <a:pt x="1020" y="1470"/>
                    </a:lnTo>
                    <a:lnTo>
                      <a:pt x="857" y="1408"/>
                    </a:lnTo>
                    <a:lnTo>
                      <a:pt x="694" y="1341"/>
                    </a:lnTo>
                    <a:lnTo>
                      <a:pt x="535" y="1267"/>
                    </a:lnTo>
                    <a:lnTo>
                      <a:pt x="380" y="1183"/>
                    </a:lnTo>
                    <a:lnTo>
                      <a:pt x="226" y="1094"/>
                    </a:lnTo>
                    <a:lnTo>
                      <a:pt x="77" y="998"/>
                    </a:lnTo>
                    <a:lnTo>
                      <a:pt x="0" y="945"/>
                    </a:lnTo>
                    <a:lnTo>
                      <a:pt x="139" y="814"/>
                    </a:lnTo>
                    <a:lnTo>
                      <a:pt x="286" y="692"/>
                    </a:lnTo>
                    <a:lnTo>
                      <a:pt x="439" y="579"/>
                    </a:lnTo>
                    <a:lnTo>
                      <a:pt x="600" y="473"/>
                    </a:lnTo>
                    <a:lnTo>
                      <a:pt x="765" y="378"/>
                    </a:lnTo>
                    <a:lnTo>
                      <a:pt x="939" y="292"/>
                    </a:lnTo>
                    <a:lnTo>
                      <a:pt x="1116" y="217"/>
                    </a:lnTo>
                    <a:lnTo>
                      <a:pt x="1299" y="151"/>
                    </a:lnTo>
                    <a:lnTo>
                      <a:pt x="1486" y="95"/>
                    </a:lnTo>
                    <a:lnTo>
                      <a:pt x="1678" y="54"/>
                    </a:lnTo>
                    <a:lnTo>
                      <a:pt x="1875" y="20"/>
                    </a:lnTo>
                    <a:lnTo>
                      <a:pt x="207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73" name="Freeform 16"/>
              <p:cNvSpPr>
                <a:spLocks/>
              </p:cNvSpPr>
              <p:nvPr/>
            </p:nvSpPr>
            <p:spPr bwMode="auto">
              <a:xfrm>
                <a:off x="4130" y="769"/>
                <a:ext cx="480" cy="696"/>
              </a:xfrm>
              <a:custGeom>
                <a:avLst/>
                <a:gdLst>
                  <a:gd name="T0" fmla="*/ 961 w 961"/>
                  <a:gd name="T1" fmla="*/ 0 h 1393"/>
                  <a:gd name="T2" fmla="*/ 961 w 961"/>
                  <a:gd name="T3" fmla="*/ 1393 h 1393"/>
                  <a:gd name="T4" fmla="*/ 764 w 961"/>
                  <a:gd name="T5" fmla="*/ 1383 h 1393"/>
                  <a:gd name="T6" fmla="*/ 571 w 961"/>
                  <a:gd name="T7" fmla="*/ 1363 h 1393"/>
                  <a:gd name="T8" fmla="*/ 378 w 961"/>
                  <a:gd name="T9" fmla="*/ 1335 h 1393"/>
                  <a:gd name="T10" fmla="*/ 189 w 961"/>
                  <a:gd name="T11" fmla="*/ 1295 h 1393"/>
                  <a:gd name="T12" fmla="*/ 0 w 961"/>
                  <a:gd name="T13" fmla="*/ 1248 h 1393"/>
                  <a:gd name="T14" fmla="*/ 91 w 961"/>
                  <a:gd name="T15" fmla="*/ 1074 h 1393"/>
                  <a:gd name="T16" fmla="*/ 191 w 961"/>
                  <a:gd name="T17" fmla="*/ 905 h 1393"/>
                  <a:gd name="T18" fmla="*/ 298 w 961"/>
                  <a:gd name="T19" fmla="*/ 740 h 1393"/>
                  <a:gd name="T20" fmla="*/ 414 w 961"/>
                  <a:gd name="T21" fmla="*/ 579 h 1393"/>
                  <a:gd name="T22" fmla="*/ 539 w 961"/>
                  <a:gd name="T23" fmla="*/ 426 h 1393"/>
                  <a:gd name="T24" fmla="*/ 670 w 961"/>
                  <a:gd name="T25" fmla="*/ 277 h 1393"/>
                  <a:gd name="T26" fmla="*/ 811 w 961"/>
                  <a:gd name="T27" fmla="*/ 136 h 1393"/>
                  <a:gd name="T28" fmla="*/ 961 w 961"/>
                  <a:gd name="T29" fmla="*/ 0 h 1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61" h="1393">
                    <a:moveTo>
                      <a:pt x="961" y="0"/>
                    </a:moveTo>
                    <a:lnTo>
                      <a:pt x="961" y="1393"/>
                    </a:lnTo>
                    <a:lnTo>
                      <a:pt x="764" y="1383"/>
                    </a:lnTo>
                    <a:lnTo>
                      <a:pt x="571" y="1363"/>
                    </a:lnTo>
                    <a:lnTo>
                      <a:pt x="378" y="1335"/>
                    </a:lnTo>
                    <a:lnTo>
                      <a:pt x="189" y="1295"/>
                    </a:lnTo>
                    <a:lnTo>
                      <a:pt x="0" y="1248"/>
                    </a:lnTo>
                    <a:lnTo>
                      <a:pt x="91" y="1074"/>
                    </a:lnTo>
                    <a:lnTo>
                      <a:pt x="191" y="905"/>
                    </a:lnTo>
                    <a:lnTo>
                      <a:pt x="298" y="740"/>
                    </a:lnTo>
                    <a:lnTo>
                      <a:pt x="414" y="579"/>
                    </a:lnTo>
                    <a:lnTo>
                      <a:pt x="539" y="426"/>
                    </a:lnTo>
                    <a:lnTo>
                      <a:pt x="670" y="277"/>
                    </a:lnTo>
                    <a:lnTo>
                      <a:pt x="811" y="136"/>
                    </a:lnTo>
                    <a:lnTo>
                      <a:pt x="96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74" name="Freeform 17"/>
              <p:cNvSpPr>
                <a:spLocks/>
              </p:cNvSpPr>
              <p:nvPr/>
            </p:nvSpPr>
            <p:spPr bwMode="auto">
              <a:xfrm>
                <a:off x="3027" y="2317"/>
                <a:ext cx="929" cy="990"/>
              </a:xfrm>
              <a:custGeom>
                <a:avLst/>
                <a:gdLst>
                  <a:gd name="T0" fmla="*/ 0 w 1858"/>
                  <a:gd name="T1" fmla="*/ 0 h 1982"/>
                  <a:gd name="T2" fmla="*/ 1585 w 1858"/>
                  <a:gd name="T3" fmla="*/ 0 h 1982"/>
                  <a:gd name="T4" fmla="*/ 1595 w 1858"/>
                  <a:gd name="T5" fmla="*/ 205 h 1982"/>
                  <a:gd name="T6" fmla="*/ 1615 w 1858"/>
                  <a:gd name="T7" fmla="*/ 408 h 1982"/>
                  <a:gd name="T8" fmla="*/ 1645 w 1858"/>
                  <a:gd name="T9" fmla="*/ 609 h 1982"/>
                  <a:gd name="T10" fmla="*/ 1685 w 1858"/>
                  <a:gd name="T11" fmla="*/ 806 h 1982"/>
                  <a:gd name="T12" fmla="*/ 1732 w 1858"/>
                  <a:gd name="T13" fmla="*/ 1001 h 1982"/>
                  <a:gd name="T14" fmla="*/ 1790 w 1858"/>
                  <a:gd name="T15" fmla="*/ 1194 h 1982"/>
                  <a:gd name="T16" fmla="*/ 1858 w 1858"/>
                  <a:gd name="T17" fmla="*/ 1383 h 1982"/>
                  <a:gd name="T18" fmla="*/ 1683 w 1858"/>
                  <a:gd name="T19" fmla="*/ 1450 h 1982"/>
                  <a:gd name="T20" fmla="*/ 1510 w 1858"/>
                  <a:gd name="T21" fmla="*/ 1526 h 1982"/>
                  <a:gd name="T22" fmla="*/ 1339 w 1858"/>
                  <a:gd name="T23" fmla="*/ 1610 h 1982"/>
                  <a:gd name="T24" fmla="*/ 1172 w 1858"/>
                  <a:gd name="T25" fmla="*/ 1701 h 1982"/>
                  <a:gd name="T26" fmla="*/ 1008 w 1858"/>
                  <a:gd name="T27" fmla="*/ 1801 h 1982"/>
                  <a:gd name="T28" fmla="*/ 851 w 1858"/>
                  <a:gd name="T29" fmla="*/ 1910 h 1982"/>
                  <a:gd name="T30" fmla="*/ 754 w 1858"/>
                  <a:gd name="T31" fmla="*/ 1982 h 1982"/>
                  <a:gd name="T32" fmla="*/ 637 w 1858"/>
                  <a:gd name="T33" fmla="*/ 1830 h 1982"/>
                  <a:gd name="T34" fmla="*/ 527 w 1858"/>
                  <a:gd name="T35" fmla="*/ 1671 h 1982"/>
                  <a:gd name="T36" fmla="*/ 426 w 1858"/>
                  <a:gd name="T37" fmla="*/ 1506 h 1982"/>
                  <a:gd name="T38" fmla="*/ 336 w 1858"/>
                  <a:gd name="T39" fmla="*/ 1337 h 1982"/>
                  <a:gd name="T40" fmla="*/ 255 w 1858"/>
                  <a:gd name="T41" fmla="*/ 1160 h 1982"/>
                  <a:gd name="T42" fmla="*/ 185 w 1858"/>
                  <a:gd name="T43" fmla="*/ 977 h 1982"/>
                  <a:gd name="T44" fmla="*/ 125 w 1858"/>
                  <a:gd name="T45" fmla="*/ 790 h 1982"/>
                  <a:gd name="T46" fmla="*/ 76 w 1858"/>
                  <a:gd name="T47" fmla="*/ 599 h 1982"/>
                  <a:gd name="T48" fmla="*/ 38 w 1858"/>
                  <a:gd name="T49" fmla="*/ 404 h 1982"/>
                  <a:gd name="T50" fmla="*/ 14 w 1858"/>
                  <a:gd name="T51" fmla="*/ 203 h 1982"/>
                  <a:gd name="T52" fmla="*/ 0 w 1858"/>
                  <a:gd name="T53" fmla="*/ 0 h 19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858" h="1982">
                    <a:moveTo>
                      <a:pt x="0" y="0"/>
                    </a:moveTo>
                    <a:lnTo>
                      <a:pt x="1585" y="0"/>
                    </a:lnTo>
                    <a:lnTo>
                      <a:pt x="1595" y="205"/>
                    </a:lnTo>
                    <a:lnTo>
                      <a:pt x="1615" y="408"/>
                    </a:lnTo>
                    <a:lnTo>
                      <a:pt x="1645" y="609"/>
                    </a:lnTo>
                    <a:lnTo>
                      <a:pt x="1685" y="806"/>
                    </a:lnTo>
                    <a:lnTo>
                      <a:pt x="1732" y="1001"/>
                    </a:lnTo>
                    <a:lnTo>
                      <a:pt x="1790" y="1194"/>
                    </a:lnTo>
                    <a:lnTo>
                      <a:pt x="1858" y="1383"/>
                    </a:lnTo>
                    <a:lnTo>
                      <a:pt x="1683" y="1450"/>
                    </a:lnTo>
                    <a:lnTo>
                      <a:pt x="1510" y="1526"/>
                    </a:lnTo>
                    <a:lnTo>
                      <a:pt x="1339" y="1610"/>
                    </a:lnTo>
                    <a:lnTo>
                      <a:pt x="1172" y="1701"/>
                    </a:lnTo>
                    <a:lnTo>
                      <a:pt x="1008" y="1801"/>
                    </a:lnTo>
                    <a:lnTo>
                      <a:pt x="851" y="1910"/>
                    </a:lnTo>
                    <a:lnTo>
                      <a:pt x="754" y="1982"/>
                    </a:lnTo>
                    <a:lnTo>
                      <a:pt x="637" y="1830"/>
                    </a:lnTo>
                    <a:lnTo>
                      <a:pt x="527" y="1671"/>
                    </a:lnTo>
                    <a:lnTo>
                      <a:pt x="426" y="1506"/>
                    </a:lnTo>
                    <a:lnTo>
                      <a:pt x="336" y="1337"/>
                    </a:lnTo>
                    <a:lnTo>
                      <a:pt x="255" y="1160"/>
                    </a:lnTo>
                    <a:lnTo>
                      <a:pt x="185" y="977"/>
                    </a:lnTo>
                    <a:lnTo>
                      <a:pt x="125" y="790"/>
                    </a:lnTo>
                    <a:lnTo>
                      <a:pt x="76" y="599"/>
                    </a:lnTo>
                    <a:lnTo>
                      <a:pt x="38" y="404"/>
                    </a:lnTo>
                    <a:lnTo>
                      <a:pt x="14" y="20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75" name="Freeform 18"/>
              <p:cNvSpPr>
                <a:spLocks/>
              </p:cNvSpPr>
              <p:nvPr/>
            </p:nvSpPr>
            <p:spPr bwMode="auto">
              <a:xfrm>
                <a:off x="3027" y="1180"/>
                <a:ext cx="948" cy="1023"/>
              </a:xfrm>
              <a:custGeom>
                <a:avLst/>
                <a:gdLst>
                  <a:gd name="T0" fmla="*/ 812 w 1896"/>
                  <a:gd name="T1" fmla="*/ 0 h 2047"/>
                  <a:gd name="T2" fmla="*/ 917 w 1896"/>
                  <a:gd name="T3" fmla="*/ 73 h 2047"/>
                  <a:gd name="T4" fmla="*/ 1072 w 1896"/>
                  <a:gd name="T5" fmla="*/ 173 h 2047"/>
                  <a:gd name="T6" fmla="*/ 1231 w 1896"/>
                  <a:gd name="T7" fmla="*/ 266 h 2047"/>
                  <a:gd name="T8" fmla="*/ 1392 w 1896"/>
                  <a:gd name="T9" fmla="*/ 352 h 2047"/>
                  <a:gd name="T10" fmla="*/ 1557 w 1896"/>
                  <a:gd name="T11" fmla="*/ 430 h 2047"/>
                  <a:gd name="T12" fmla="*/ 1725 w 1896"/>
                  <a:gd name="T13" fmla="*/ 501 h 2047"/>
                  <a:gd name="T14" fmla="*/ 1896 w 1896"/>
                  <a:gd name="T15" fmla="*/ 565 h 2047"/>
                  <a:gd name="T16" fmla="*/ 1818 w 1896"/>
                  <a:gd name="T17" fmla="*/ 766 h 2047"/>
                  <a:gd name="T18" fmla="*/ 1752 w 1896"/>
                  <a:gd name="T19" fmla="*/ 973 h 2047"/>
                  <a:gd name="T20" fmla="*/ 1697 w 1896"/>
                  <a:gd name="T21" fmla="*/ 1181 h 2047"/>
                  <a:gd name="T22" fmla="*/ 1653 w 1896"/>
                  <a:gd name="T23" fmla="*/ 1394 h 2047"/>
                  <a:gd name="T24" fmla="*/ 1619 w 1896"/>
                  <a:gd name="T25" fmla="*/ 1609 h 2047"/>
                  <a:gd name="T26" fmla="*/ 1595 w 1896"/>
                  <a:gd name="T27" fmla="*/ 1826 h 2047"/>
                  <a:gd name="T28" fmla="*/ 1585 w 1896"/>
                  <a:gd name="T29" fmla="*/ 2047 h 2047"/>
                  <a:gd name="T30" fmla="*/ 0 w 1896"/>
                  <a:gd name="T31" fmla="*/ 2047 h 2047"/>
                  <a:gd name="T32" fmla="*/ 12 w 1896"/>
                  <a:gd name="T33" fmla="*/ 1854 h 2047"/>
                  <a:gd name="T34" fmla="*/ 36 w 1896"/>
                  <a:gd name="T35" fmla="*/ 1663 h 2047"/>
                  <a:gd name="T36" fmla="*/ 70 w 1896"/>
                  <a:gd name="T37" fmla="*/ 1474 h 2047"/>
                  <a:gd name="T38" fmla="*/ 115 w 1896"/>
                  <a:gd name="T39" fmla="*/ 1291 h 2047"/>
                  <a:gd name="T40" fmla="*/ 169 w 1896"/>
                  <a:gd name="T41" fmla="*/ 1112 h 2047"/>
                  <a:gd name="T42" fmla="*/ 235 w 1896"/>
                  <a:gd name="T43" fmla="*/ 937 h 2047"/>
                  <a:gd name="T44" fmla="*/ 308 w 1896"/>
                  <a:gd name="T45" fmla="*/ 768 h 2047"/>
                  <a:gd name="T46" fmla="*/ 392 w 1896"/>
                  <a:gd name="T47" fmla="*/ 603 h 2047"/>
                  <a:gd name="T48" fmla="*/ 485 w 1896"/>
                  <a:gd name="T49" fmla="*/ 441 h 2047"/>
                  <a:gd name="T50" fmla="*/ 585 w 1896"/>
                  <a:gd name="T51" fmla="*/ 288 h 2047"/>
                  <a:gd name="T52" fmla="*/ 694 w 1896"/>
                  <a:gd name="T53" fmla="*/ 141 h 2047"/>
                  <a:gd name="T54" fmla="*/ 812 w 1896"/>
                  <a:gd name="T55" fmla="*/ 0 h 20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896" h="2047">
                    <a:moveTo>
                      <a:pt x="812" y="0"/>
                    </a:moveTo>
                    <a:lnTo>
                      <a:pt x="917" y="73"/>
                    </a:lnTo>
                    <a:lnTo>
                      <a:pt x="1072" y="173"/>
                    </a:lnTo>
                    <a:lnTo>
                      <a:pt x="1231" y="266"/>
                    </a:lnTo>
                    <a:lnTo>
                      <a:pt x="1392" y="352"/>
                    </a:lnTo>
                    <a:lnTo>
                      <a:pt x="1557" y="430"/>
                    </a:lnTo>
                    <a:lnTo>
                      <a:pt x="1725" y="501"/>
                    </a:lnTo>
                    <a:lnTo>
                      <a:pt x="1896" y="565"/>
                    </a:lnTo>
                    <a:lnTo>
                      <a:pt x="1818" y="766"/>
                    </a:lnTo>
                    <a:lnTo>
                      <a:pt x="1752" y="973"/>
                    </a:lnTo>
                    <a:lnTo>
                      <a:pt x="1697" y="1181"/>
                    </a:lnTo>
                    <a:lnTo>
                      <a:pt x="1653" y="1394"/>
                    </a:lnTo>
                    <a:lnTo>
                      <a:pt x="1619" y="1609"/>
                    </a:lnTo>
                    <a:lnTo>
                      <a:pt x="1595" y="1826"/>
                    </a:lnTo>
                    <a:lnTo>
                      <a:pt x="1585" y="2047"/>
                    </a:lnTo>
                    <a:lnTo>
                      <a:pt x="0" y="2047"/>
                    </a:lnTo>
                    <a:lnTo>
                      <a:pt x="12" y="1854"/>
                    </a:lnTo>
                    <a:lnTo>
                      <a:pt x="36" y="1663"/>
                    </a:lnTo>
                    <a:lnTo>
                      <a:pt x="70" y="1474"/>
                    </a:lnTo>
                    <a:lnTo>
                      <a:pt x="115" y="1291"/>
                    </a:lnTo>
                    <a:lnTo>
                      <a:pt x="169" y="1112"/>
                    </a:lnTo>
                    <a:lnTo>
                      <a:pt x="235" y="937"/>
                    </a:lnTo>
                    <a:lnTo>
                      <a:pt x="308" y="768"/>
                    </a:lnTo>
                    <a:lnTo>
                      <a:pt x="392" y="603"/>
                    </a:lnTo>
                    <a:lnTo>
                      <a:pt x="485" y="441"/>
                    </a:lnTo>
                    <a:lnTo>
                      <a:pt x="585" y="288"/>
                    </a:lnTo>
                    <a:lnTo>
                      <a:pt x="694" y="141"/>
                    </a:lnTo>
                    <a:lnTo>
                      <a:pt x="81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76" name="Freeform 19"/>
              <p:cNvSpPr>
                <a:spLocks/>
              </p:cNvSpPr>
              <p:nvPr/>
            </p:nvSpPr>
            <p:spPr bwMode="auto">
              <a:xfrm>
                <a:off x="3932" y="1497"/>
                <a:ext cx="678" cy="706"/>
              </a:xfrm>
              <a:custGeom>
                <a:avLst/>
                <a:gdLst>
                  <a:gd name="T0" fmla="*/ 302 w 1357"/>
                  <a:gd name="T1" fmla="*/ 0 h 1413"/>
                  <a:gd name="T2" fmla="*/ 507 w 1357"/>
                  <a:gd name="T3" fmla="*/ 56 h 1413"/>
                  <a:gd name="T4" fmla="*/ 716 w 1357"/>
                  <a:gd name="T5" fmla="*/ 98 h 1413"/>
                  <a:gd name="T6" fmla="*/ 927 w 1357"/>
                  <a:gd name="T7" fmla="*/ 132 h 1413"/>
                  <a:gd name="T8" fmla="*/ 1140 w 1357"/>
                  <a:gd name="T9" fmla="*/ 154 h 1413"/>
                  <a:gd name="T10" fmla="*/ 1357 w 1357"/>
                  <a:gd name="T11" fmla="*/ 163 h 1413"/>
                  <a:gd name="T12" fmla="*/ 1357 w 1357"/>
                  <a:gd name="T13" fmla="*/ 1413 h 1413"/>
                  <a:gd name="T14" fmla="*/ 0 w 1357"/>
                  <a:gd name="T15" fmla="*/ 1413 h 1413"/>
                  <a:gd name="T16" fmla="*/ 12 w 1357"/>
                  <a:gd name="T17" fmla="*/ 1204 h 1413"/>
                  <a:gd name="T18" fmla="*/ 34 w 1357"/>
                  <a:gd name="T19" fmla="*/ 995 h 1413"/>
                  <a:gd name="T20" fmla="*/ 68 w 1357"/>
                  <a:gd name="T21" fmla="*/ 790 h 1413"/>
                  <a:gd name="T22" fmla="*/ 111 w 1357"/>
                  <a:gd name="T23" fmla="*/ 587 h 1413"/>
                  <a:gd name="T24" fmla="*/ 165 w 1357"/>
                  <a:gd name="T25" fmla="*/ 388 h 1413"/>
                  <a:gd name="T26" fmla="*/ 229 w 1357"/>
                  <a:gd name="T27" fmla="*/ 193 h 1413"/>
                  <a:gd name="T28" fmla="*/ 302 w 1357"/>
                  <a:gd name="T29" fmla="*/ 0 h 1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57" h="1413">
                    <a:moveTo>
                      <a:pt x="302" y="0"/>
                    </a:moveTo>
                    <a:lnTo>
                      <a:pt x="507" y="56"/>
                    </a:lnTo>
                    <a:lnTo>
                      <a:pt x="716" y="98"/>
                    </a:lnTo>
                    <a:lnTo>
                      <a:pt x="927" y="132"/>
                    </a:lnTo>
                    <a:lnTo>
                      <a:pt x="1140" y="154"/>
                    </a:lnTo>
                    <a:lnTo>
                      <a:pt x="1357" y="163"/>
                    </a:lnTo>
                    <a:lnTo>
                      <a:pt x="1357" y="1413"/>
                    </a:lnTo>
                    <a:lnTo>
                      <a:pt x="0" y="1413"/>
                    </a:lnTo>
                    <a:lnTo>
                      <a:pt x="12" y="1204"/>
                    </a:lnTo>
                    <a:lnTo>
                      <a:pt x="34" y="995"/>
                    </a:lnTo>
                    <a:lnTo>
                      <a:pt x="68" y="790"/>
                    </a:lnTo>
                    <a:lnTo>
                      <a:pt x="111" y="587"/>
                    </a:lnTo>
                    <a:lnTo>
                      <a:pt x="165" y="388"/>
                    </a:lnTo>
                    <a:lnTo>
                      <a:pt x="229" y="193"/>
                    </a:lnTo>
                    <a:lnTo>
                      <a:pt x="3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77" name="Freeform 20"/>
              <p:cNvSpPr>
                <a:spLocks/>
              </p:cNvSpPr>
              <p:nvPr/>
            </p:nvSpPr>
            <p:spPr bwMode="auto">
              <a:xfrm>
                <a:off x="3480" y="3112"/>
                <a:ext cx="1092" cy="783"/>
              </a:xfrm>
              <a:custGeom>
                <a:avLst/>
                <a:gdLst>
                  <a:gd name="T0" fmla="*/ 1040 w 2184"/>
                  <a:gd name="T1" fmla="*/ 0 h 1565"/>
                  <a:gd name="T2" fmla="*/ 1130 w 2184"/>
                  <a:gd name="T3" fmla="*/ 189 h 1565"/>
                  <a:gd name="T4" fmla="*/ 1229 w 2184"/>
                  <a:gd name="T5" fmla="*/ 374 h 1565"/>
                  <a:gd name="T6" fmla="*/ 1339 w 2184"/>
                  <a:gd name="T7" fmla="*/ 555 h 1565"/>
                  <a:gd name="T8" fmla="*/ 1458 w 2184"/>
                  <a:gd name="T9" fmla="*/ 728 h 1565"/>
                  <a:gd name="T10" fmla="*/ 1585 w 2184"/>
                  <a:gd name="T11" fmla="*/ 897 h 1565"/>
                  <a:gd name="T12" fmla="*/ 1723 w 2184"/>
                  <a:gd name="T13" fmla="*/ 1060 h 1565"/>
                  <a:gd name="T14" fmla="*/ 1868 w 2184"/>
                  <a:gd name="T15" fmla="*/ 1217 h 1565"/>
                  <a:gd name="T16" fmla="*/ 2021 w 2184"/>
                  <a:gd name="T17" fmla="*/ 1366 h 1565"/>
                  <a:gd name="T18" fmla="*/ 2184 w 2184"/>
                  <a:gd name="T19" fmla="*/ 1509 h 1565"/>
                  <a:gd name="T20" fmla="*/ 2106 w 2184"/>
                  <a:gd name="T21" fmla="*/ 1565 h 1565"/>
                  <a:gd name="T22" fmla="*/ 1918 w 2184"/>
                  <a:gd name="T23" fmla="*/ 1543 h 1565"/>
                  <a:gd name="T24" fmla="*/ 1733 w 2184"/>
                  <a:gd name="T25" fmla="*/ 1513 h 1565"/>
                  <a:gd name="T26" fmla="*/ 1550 w 2184"/>
                  <a:gd name="T27" fmla="*/ 1472 h 1565"/>
                  <a:gd name="T28" fmla="*/ 1373 w 2184"/>
                  <a:gd name="T29" fmla="*/ 1420 h 1565"/>
                  <a:gd name="T30" fmla="*/ 1197 w 2184"/>
                  <a:gd name="T31" fmla="*/ 1358 h 1565"/>
                  <a:gd name="T32" fmla="*/ 1028 w 2184"/>
                  <a:gd name="T33" fmla="*/ 1287 h 1565"/>
                  <a:gd name="T34" fmla="*/ 865 w 2184"/>
                  <a:gd name="T35" fmla="*/ 1207 h 1565"/>
                  <a:gd name="T36" fmla="*/ 706 w 2184"/>
                  <a:gd name="T37" fmla="*/ 1120 h 1565"/>
                  <a:gd name="T38" fmla="*/ 553 w 2184"/>
                  <a:gd name="T39" fmla="*/ 1022 h 1565"/>
                  <a:gd name="T40" fmla="*/ 406 w 2184"/>
                  <a:gd name="T41" fmla="*/ 919 h 1565"/>
                  <a:gd name="T42" fmla="*/ 265 w 2184"/>
                  <a:gd name="T43" fmla="*/ 805 h 1565"/>
                  <a:gd name="T44" fmla="*/ 129 w 2184"/>
                  <a:gd name="T45" fmla="*/ 686 h 1565"/>
                  <a:gd name="T46" fmla="*/ 0 w 2184"/>
                  <a:gd name="T47" fmla="*/ 559 h 1565"/>
                  <a:gd name="T48" fmla="*/ 80 w 2184"/>
                  <a:gd name="T49" fmla="*/ 501 h 1565"/>
                  <a:gd name="T50" fmla="*/ 231 w 2184"/>
                  <a:gd name="T51" fmla="*/ 397 h 1565"/>
                  <a:gd name="T52" fmla="*/ 386 w 2184"/>
                  <a:gd name="T53" fmla="*/ 302 h 1565"/>
                  <a:gd name="T54" fmla="*/ 545 w 2184"/>
                  <a:gd name="T55" fmla="*/ 216 h 1565"/>
                  <a:gd name="T56" fmla="*/ 706 w 2184"/>
                  <a:gd name="T57" fmla="*/ 137 h 1565"/>
                  <a:gd name="T58" fmla="*/ 871 w 2184"/>
                  <a:gd name="T59" fmla="*/ 63 h 1565"/>
                  <a:gd name="T60" fmla="*/ 1040 w 2184"/>
                  <a:gd name="T61" fmla="*/ 0 h 15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184" h="1565">
                    <a:moveTo>
                      <a:pt x="1040" y="0"/>
                    </a:moveTo>
                    <a:lnTo>
                      <a:pt x="1130" y="189"/>
                    </a:lnTo>
                    <a:lnTo>
                      <a:pt x="1229" y="374"/>
                    </a:lnTo>
                    <a:lnTo>
                      <a:pt x="1339" y="555"/>
                    </a:lnTo>
                    <a:lnTo>
                      <a:pt x="1458" y="728"/>
                    </a:lnTo>
                    <a:lnTo>
                      <a:pt x="1585" y="897"/>
                    </a:lnTo>
                    <a:lnTo>
                      <a:pt x="1723" y="1060"/>
                    </a:lnTo>
                    <a:lnTo>
                      <a:pt x="1868" y="1217"/>
                    </a:lnTo>
                    <a:lnTo>
                      <a:pt x="2021" y="1366"/>
                    </a:lnTo>
                    <a:lnTo>
                      <a:pt x="2184" y="1509"/>
                    </a:lnTo>
                    <a:lnTo>
                      <a:pt x="2106" y="1565"/>
                    </a:lnTo>
                    <a:lnTo>
                      <a:pt x="1918" y="1543"/>
                    </a:lnTo>
                    <a:lnTo>
                      <a:pt x="1733" y="1513"/>
                    </a:lnTo>
                    <a:lnTo>
                      <a:pt x="1550" y="1472"/>
                    </a:lnTo>
                    <a:lnTo>
                      <a:pt x="1373" y="1420"/>
                    </a:lnTo>
                    <a:lnTo>
                      <a:pt x="1197" y="1358"/>
                    </a:lnTo>
                    <a:lnTo>
                      <a:pt x="1028" y="1287"/>
                    </a:lnTo>
                    <a:lnTo>
                      <a:pt x="865" y="1207"/>
                    </a:lnTo>
                    <a:lnTo>
                      <a:pt x="706" y="1120"/>
                    </a:lnTo>
                    <a:lnTo>
                      <a:pt x="553" y="1022"/>
                    </a:lnTo>
                    <a:lnTo>
                      <a:pt x="406" y="919"/>
                    </a:lnTo>
                    <a:lnTo>
                      <a:pt x="265" y="805"/>
                    </a:lnTo>
                    <a:lnTo>
                      <a:pt x="129" y="686"/>
                    </a:lnTo>
                    <a:lnTo>
                      <a:pt x="0" y="559"/>
                    </a:lnTo>
                    <a:lnTo>
                      <a:pt x="80" y="501"/>
                    </a:lnTo>
                    <a:lnTo>
                      <a:pt x="231" y="397"/>
                    </a:lnTo>
                    <a:lnTo>
                      <a:pt x="386" y="302"/>
                    </a:lnTo>
                    <a:lnTo>
                      <a:pt x="545" y="216"/>
                    </a:lnTo>
                    <a:lnTo>
                      <a:pt x="706" y="137"/>
                    </a:lnTo>
                    <a:lnTo>
                      <a:pt x="871" y="63"/>
                    </a:lnTo>
                    <a:lnTo>
                      <a:pt x="104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78" name="Freeform 21"/>
              <p:cNvSpPr>
                <a:spLocks/>
              </p:cNvSpPr>
              <p:nvPr/>
            </p:nvSpPr>
            <p:spPr bwMode="auto">
              <a:xfrm>
                <a:off x="3932" y="2317"/>
                <a:ext cx="678" cy="655"/>
              </a:xfrm>
              <a:custGeom>
                <a:avLst/>
                <a:gdLst>
                  <a:gd name="T0" fmla="*/ 0 w 1357"/>
                  <a:gd name="T1" fmla="*/ 0 h 1311"/>
                  <a:gd name="T2" fmla="*/ 1357 w 1357"/>
                  <a:gd name="T3" fmla="*/ 0 h 1311"/>
                  <a:gd name="T4" fmla="*/ 1357 w 1357"/>
                  <a:gd name="T5" fmla="*/ 1136 h 1311"/>
                  <a:gd name="T6" fmla="*/ 1132 w 1357"/>
                  <a:gd name="T7" fmla="*/ 1148 h 1311"/>
                  <a:gd name="T8" fmla="*/ 911 w 1357"/>
                  <a:gd name="T9" fmla="*/ 1172 h 1311"/>
                  <a:gd name="T10" fmla="*/ 692 w 1357"/>
                  <a:gd name="T11" fmla="*/ 1206 h 1311"/>
                  <a:gd name="T12" fmla="*/ 475 w 1357"/>
                  <a:gd name="T13" fmla="*/ 1254 h 1311"/>
                  <a:gd name="T14" fmla="*/ 263 w 1357"/>
                  <a:gd name="T15" fmla="*/ 1311 h 1311"/>
                  <a:gd name="T16" fmla="*/ 199 w 1357"/>
                  <a:gd name="T17" fmla="*/ 1132 h 1311"/>
                  <a:gd name="T18" fmla="*/ 143 w 1357"/>
                  <a:gd name="T19" fmla="*/ 949 h 1311"/>
                  <a:gd name="T20" fmla="*/ 98 w 1357"/>
                  <a:gd name="T21" fmla="*/ 764 h 1311"/>
                  <a:gd name="T22" fmla="*/ 60 w 1357"/>
                  <a:gd name="T23" fmla="*/ 577 h 1311"/>
                  <a:gd name="T24" fmla="*/ 30 w 1357"/>
                  <a:gd name="T25" fmla="*/ 386 h 1311"/>
                  <a:gd name="T26" fmla="*/ 12 w 1357"/>
                  <a:gd name="T27" fmla="*/ 193 h 1311"/>
                  <a:gd name="T28" fmla="*/ 0 w 1357"/>
                  <a:gd name="T29" fmla="*/ 0 h 1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57" h="1311">
                    <a:moveTo>
                      <a:pt x="0" y="0"/>
                    </a:moveTo>
                    <a:lnTo>
                      <a:pt x="1357" y="0"/>
                    </a:lnTo>
                    <a:lnTo>
                      <a:pt x="1357" y="1136"/>
                    </a:lnTo>
                    <a:lnTo>
                      <a:pt x="1132" y="1148"/>
                    </a:lnTo>
                    <a:lnTo>
                      <a:pt x="911" y="1172"/>
                    </a:lnTo>
                    <a:lnTo>
                      <a:pt x="692" y="1206"/>
                    </a:lnTo>
                    <a:lnTo>
                      <a:pt x="475" y="1254"/>
                    </a:lnTo>
                    <a:lnTo>
                      <a:pt x="263" y="1311"/>
                    </a:lnTo>
                    <a:lnTo>
                      <a:pt x="199" y="1132"/>
                    </a:lnTo>
                    <a:lnTo>
                      <a:pt x="143" y="949"/>
                    </a:lnTo>
                    <a:lnTo>
                      <a:pt x="98" y="764"/>
                    </a:lnTo>
                    <a:lnTo>
                      <a:pt x="60" y="577"/>
                    </a:lnTo>
                    <a:lnTo>
                      <a:pt x="30" y="386"/>
                    </a:lnTo>
                    <a:lnTo>
                      <a:pt x="12" y="19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79" name="Freeform 22"/>
              <p:cNvSpPr>
                <a:spLocks/>
              </p:cNvSpPr>
              <p:nvPr/>
            </p:nvSpPr>
            <p:spPr bwMode="auto">
              <a:xfrm>
                <a:off x="4761" y="3112"/>
                <a:ext cx="1092" cy="783"/>
              </a:xfrm>
              <a:custGeom>
                <a:avLst/>
                <a:gdLst>
                  <a:gd name="T0" fmla="*/ 1144 w 2182"/>
                  <a:gd name="T1" fmla="*/ 0 h 1565"/>
                  <a:gd name="T2" fmla="*/ 1313 w 2182"/>
                  <a:gd name="T3" fmla="*/ 63 h 1565"/>
                  <a:gd name="T4" fmla="*/ 1476 w 2182"/>
                  <a:gd name="T5" fmla="*/ 135 h 1565"/>
                  <a:gd name="T6" fmla="*/ 1639 w 2182"/>
                  <a:gd name="T7" fmla="*/ 214 h 1565"/>
                  <a:gd name="T8" fmla="*/ 1796 w 2182"/>
                  <a:gd name="T9" fmla="*/ 302 h 1565"/>
                  <a:gd name="T10" fmla="*/ 1951 w 2182"/>
                  <a:gd name="T11" fmla="*/ 396 h 1565"/>
                  <a:gd name="T12" fmla="*/ 2102 w 2182"/>
                  <a:gd name="T13" fmla="*/ 499 h 1565"/>
                  <a:gd name="T14" fmla="*/ 2182 w 2182"/>
                  <a:gd name="T15" fmla="*/ 559 h 1565"/>
                  <a:gd name="T16" fmla="*/ 2055 w 2182"/>
                  <a:gd name="T17" fmla="*/ 686 h 1565"/>
                  <a:gd name="T18" fmla="*/ 1919 w 2182"/>
                  <a:gd name="T19" fmla="*/ 805 h 1565"/>
                  <a:gd name="T20" fmla="*/ 1778 w 2182"/>
                  <a:gd name="T21" fmla="*/ 919 h 1565"/>
                  <a:gd name="T22" fmla="*/ 1631 w 2182"/>
                  <a:gd name="T23" fmla="*/ 1022 h 1565"/>
                  <a:gd name="T24" fmla="*/ 1478 w 2182"/>
                  <a:gd name="T25" fmla="*/ 1120 h 1565"/>
                  <a:gd name="T26" fmla="*/ 1319 w 2182"/>
                  <a:gd name="T27" fmla="*/ 1207 h 1565"/>
                  <a:gd name="T28" fmla="*/ 1154 w 2182"/>
                  <a:gd name="T29" fmla="*/ 1287 h 1565"/>
                  <a:gd name="T30" fmla="*/ 985 w 2182"/>
                  <a:gd name="T31" fmla="*/ 1358 h 1565"/>
                  <a:gd name="T32" fmla="*/ 812 w 2182"/>
                  <a:gd name="T33" fmla="*/ 1420 h 1565"/>
                  <a:gd name="T34" fmla="*/ 634 w 2182"/>
                  <a:gd name="T35" fmla="*/ 1472 h 1565"/>
                  <a:gd name="T36" fmla="*/ 451 w 2182"/>
                  <a:gd name="T37" fmla="*/ 1513 h 1565"/>
                  <a:gd name="T38" fmla="*/ 267 w 2182"/>
                  <a:gd name="T39" fmla="*/ 1543 h 1565"/>
                  <a:gd name="T40" fmla="*/ 78 w 2182"/>
                  <a:gd name="T41" fmla="*/ 1565 h 1565"/>
                  <a:gd name="T42" fmla="*/ 0 w 2182"/>
                  <a:gd name="T43" fmla="*/ 1509 h 1565"/>
                  <a:gd name="T44" fmla="*/ 163 w 2182"/>
                  <a:gd name="T45" fmla="*/ 1368 h 1565"/>
                  <a:gd name="T46" fmla="*/ 316 w 2182"/>
                  <a:gd name="T47" fmla="*/ 1217 h 1565"/>
                  <a:gd name="T48" fmla="*/ 461 w 2182"/>
                  <a:gd name="T49" fmla="*/ 1062 h 1565"/>
                  <a:gd name="T50" fmla="*/ 599 w 2182"/>
                  <a:gd name="T51" fmla="*/ 899 h 1565"/>
                  <a:gd name="T52" fmla="*/ 726 w 2182"/>
                  <a:gd name="T53" fmla="*/ 730 h 1565"/>
                  <a:gd name="T54" fmla="*/ 843 w 2182"/>
                  <a:gd name="T55" fmla="*/ 555 h 1565"/>
                  <a:gd name="T56" fmla="*/ 953 w 2182"/>
                  <a:gd name="T57" fmla="*/ 376 h 1565"/>
                  <a:gd name="T58" fmla="*/ 1054 w 2182"/>
                  <a:gd name="T59" fmla="*/ 191 h 1565"/>
                  <a:gd name="T60" fmla="*/ 1144 w 2182"/>
                  <a:gd name="T61" fmla="*/ 0 h 15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182" h="1565">
                    <a:moveTo>
                      <a:pt x="1144" y="0"/>
                    </a:moveTo>
                    <a:lnTo>
                      <a:pt x="1313" y="63"/>
                    </a:lnTo>
                    <a:lnTo>
                      <a:pt x="1476" y="135"/>
                    </a:lnTo>
                    <a:lnTo>
                      <a:pt x="1639" y="214"/>
                    </a:lnTo>
                    <a:lnTo>
                      <a:pt x="1796" y="302"/>
                    </a:lnTo>
                    <a:lnTo>
                      <a:pt x="1951" y="396"/>
                    </a:lnTo>
                    <a:lnTo>
                      <a:pt x="2102" y="499"/>
                    </a:lnTo>
                    <a:lnTo>
                      <a:pt x="2182" y="559"/>
                    </a:lnTo>
                    <a:lnTo>
                      <a:pt x="2055" y="686"/>
                    </a:lnTo>
                    <a:lnTo>
                      <a:pt x="1919" y="805"/>
                    </a:lnTo>
                    <a:lnTo>
                      <a:pt x="1778" y="919"/>
                    </a:lnTo>
                    <a:lnTo>
                      <a:pt x="1631" y="1022"/>
                    </a:lnTo>
                    <a:lnTo>
                      <a:pt x="1478" y="1120"/>
                    </a:lnTo>
                    <a:lnTo>
                      <a:pt x="1319" y="1207"/>
                    </a:lnTo>
                    <a:lnTo>
                      <a:pt x="1154" y="1287"/>
                    </a:lnTo>
                    <a:lnTo>
                      <a:pt x="985" y="1358"/>
                    </a:lnTo>
                    <a:lnTo>
                      <a:pt x="812" y="1420"/>
                    </a:lnTo>
                    <a:lnTo>
                      <a:pt x="634" y="1472"/>
                    </a:lnTo>
                    <a:lnTo>
                      <a:pt x="451" y="1513"/>
                    </a:lnTo>
                    <a:lnTo>
                      <a:pt x="267" y="1543"/>
                    </a:lnTo>
                    <a:lnTo>
                      <a:pt x="78" y="1565"/>
                    </a:lnTo>
                    <a:lnTo>
                      <a:pt x="0" y="1509"/>
                    </a:lnTo>
                    <a:lnTo>
                      <a:pt x="163" y="1368"/>
                    </a:lnTo>
                    <a:lnTo>
                      <a:pt x="316" y="1217"/>
                    </a:lnTo>
                    <a:lnTo>
                      <a:pt x="461" y="1062"/>
                    </a:lnTo>
                    <a:lnTo>
                      <a:pt x="599" y="899"/>
                    </a:lnTo>
                    <a:lnTo>
                      <a:pt x="726" y="730"/>
                    </a:lnTo>
                    <a:lnTo>
                      <a:pt x="843" y="555"/>
                    </a:lnTo>
                    <a:lnTo>
                      <a:pt x="953" y="376"/>
                    </a:lnTo>
                    <a:lnTo>
                      <a:pt x="1054" y="191"/>
                    </a:lnTo>
                    <a:lnTo>
                      <a:pt x="114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80" name="Freeform 23"/>
              <p:cNvSpPr>
                <a:spLocks/>
              </p:cNvSpPr>
              <p:nvPr/>
            </p:nvSpPr>
            <p:spPr bwMode="auto">
              <a:xfrm>
                <a:off x="5358" y="1178"/>
                <a:ext cx="948" cy="1025"/>
              </a:xfrm>
              <a:custGeom>
                <a:avLst/>
                <a:gdLst>
                  <a:gd name="T0" fmla="*/ 1081 w 1896"/>
                  <a:gd name="T1" fmla="*/ 0 h 2051"/>
                  <a:gd name="T2" fmla="*/ 1198 w 1896"/>
                  <a:gd name="T3" fmla="*/ 141 h 2051"/>
                  <a:gd name="T4" fmla="*/ 1307 w 1896"/>
                  <a:gd name="T5" fmla="*/ 288 h 2051"/>
                  <a:gd name="T6" fmla="*/ 1409 w 1896"/>
                  <a:gd name="T7" fmla="*/ 441 h 2051"/>
                  <a:gd name="T8" fmla="*/ 1502 w 1896"/>
                  <a:gd name="T9" fmla="*/ 603 h 2051"/>
                  <a:gd name="T10" fmla="*/ 1586 w 1896"/>
                  <a:gd name="T11" fmla="*/ 768 h 2051"/>
                  <a:gd name="T12" fmla="*/ 1659 w 1896"/>
                  <a:gd name="T13" fmla="*/ 937 h 2051"/>
                  <a:gd name="T14" fmla="*/ 1725 w 1896"/>
                  <a:gd name="T15" fmla="*/ 1114 h 2051"/>
                  <a:gd name="T16" fmla="*/ 1781 w 1896"/>
                  <a:gd name="T17" fmla="*/ 1293 h 2051"/>
                  <a:gd name="T18" fmla="*/ 1824 w 1896"/>
                  <a:gd name="T19" fmla="*/ 1478 h 2051"/>
                  <a:gd name="T20" fmla="*/ 1860 w 1896"/>
                  <a:gd name="T21" fmla="*/ 1665 h 2051"/>
                  <a:gd name="T22" fmla="*/ 1884 w 1896"/>
                  <a:gd name="T23" fmla="*/ 1856 h 2051"/>
                  <a:gd name="T24" fmla="*/ 1896 w 1896"/>
                  <a:gd name="T25" fmla="*/ 2051 h 2051"/>
                  <a:gd name="T26" fmla="*/ 311 w 1896"/>
                  <a:gd name="T27" fmla="*/ 2051 h 2051"/>
                  <a:gd name="T28" fmla="*/ 299 w 1896"/>
                  <a:gd name="T29" fmla="*/ 1830 h 2051"/>
                  <a:gd name="T30" fmla="*/ 277 w 1896"/>
                  <a:gd name="T31" fmla="*/ 1613 h 2051"/>
                  <a:gd name="T32" fmla="*/ 243 w 1896"/>
                  <a:gd name="T33" fmla="*/ 1396 h 2051"/>
                  <a:gd name="T34" fmla="*/ 199 w 1896"/>
                  <a:gd name="T35" fmla="*/ 1185 h 2051"/>
                  <a:gd name="T36" fmla="*/ 144 w 1896"/>
                  <a:gd name="T37" fmla="*/ 977 h 2051"/>
                  <a:gd name="T38" fmla="*/ 76 w 1896"/>
                  <a:gd name="T39" fmla="*/ 770 h 2051"/>
                  <a:gd name="T40" fmla="*/ 0 w 1896"/>
                  <a:gd name="T41" fmla="*/ 569 h 2051"/>
                  <a:gd name="T42" fmla="*/ 171 w 1896"/>
                  <a:gd name="T43" fmla="*/ 505 h 2051"/>
                  <a:gd name="T44" fmla="*/ 339 w 1896"/>
                  <a:gd name="T45" fmla="*/ 434 h 2051"/>
                  <a:gd name="T46" fmla="*/ 506 w 1896"/>
                  <a:gd name="T47" fmla="*/ 354 h 2051"/>
                  <a:gd name="T48" fmla="*/ 669 w 1896"/>
                  <a:gd name="T49" fmla="*/ 268 h 2051"/>
                  <a:gd name="T50" fmla="*/ 828 w 1896"/>
                  <a:gd name="T51" fmla="*/ 175 h 2051"/>
                  <a:gd name="T52" fmla="*/ 983 w 1896"/>
                  <a:gd name="T53" fmla="*/ 73 h 2051"/>
                  <a:gd name="T54" fmla="*/ 1081 w 1896"/>
                  <a:gd name="T55" fmla="*/ 0 h 20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896" h="2051">
                    <a:moveTo>
                      <a:pt x="1081" y="0"/>
                    </a:moveTo>
                    <a:lnTo>
                      <a:pt x="1198" y="141"/>
                    </a:lnTo>
                    <a:lnTo>
                      <a:pt x="1307" y="288"/>
                    </a:lnTo>
                    <a:lnTo>
                      <a:pt x="1409" y="441"/>
                    </a:lnTo>
                    <a:lnTo>
                      <a:pt x="1502" y="603"/>
                    </a:lnTo>
                    <a:lnTo>
                      <a:pt x="1586" y="768"/>
                    </a:lnTo>
                    <a:lnTo>
                      <a:pt x="1659" y="937"/>
                    </a:lnTo>
                    <a:lnTo>
                      <a:pt x="1725" y="1114"/>
                    </a:lnTo>
                    <a:lnTo>
                      <a:pt x="1781" y="1293"/>
                    </a:lnTo>
                    <a:lnTo>
                      <a:pt x="1824" y="1478"/>
                    </a:lnTo>
                    <a:lnTo>
                      <a:pt x="1860" y="1665"/>
                    </a:lnTo>
                    <a:lnTo>
                      <a:pt x="1884" y="1856"/>
                    </a:lnTo>
                    <a:lnTo>
                      <a:pt x="1896" y="2051"/>
                    </a:lnTo>
                    <a:lnTo>
                      <a:pt x="311" y="2051"/>
                    </a:lnTo>
                    <a:lnTo>
                      <a:pt x="299" y="1830"/>
                    </a:lnTo>
                    <a:lnTo>
                      <a:pt x="277" y="1613"/>
                    </a:lnTo>
                    <a:lnTo>
                      <a:pt x="243" y="1396"/>
                    </a:lnTo>
                    <a:lnTo>
                      <a:pt x="199" y="1185"/>
                    </a:lnTo>
                    <a:lnTo>
                      <a:pt x="144" y="977"/>
                    </a:lnTo>
                    <a:lnTo>
                      <a:pt x="76" y="770"/>
                    </a:lnTo>
                    <a:lnTo>
                      <a:pt x="0" y="569"/>
                    </a:lnTo>
                    <a:lnTo>
                      <a:pt x="171" y="505"/>
                    </a:lnTo>
                    <a:lnTo>
                      <a:pt x="339" y="434"/>
                    </a:lnTo>
                    <a:lnTo>
                      <a:pt x="506" y="354"/>
                    </a:lnTo>
                    <a:lnTo>
                      <a:pt x="669" y="268"/>
                    </a:lnTo>
                    <a:lnTo>
                      <a:pt x="828" y="175"/>
                    </a:lnTo>
                    <a:lnTo>
                      <a:pt x="983" y="73"/>
                    </a:lnTo>
                    <a:lnTo>
                      <a:pt x="108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81" name="Freeform 24"/>
              <p:cNvSpPr>
                <a:spLocks/>
              </p:cNvSpPr>
              <p:nvPr/>
            </p:nvSpPr>
            <p:spPr bwMode="auto">
              <a:xfrm>
                <a:off x="4107" y="2998"/>
                <a:ext cx="503" cy="753"/>
              </a:xfrm>
              <a:custGeom>
                <a:avLst/>
                <a:gdLst>
                  <a:gd name="T0" fmla="*/ 1007 w 1007"/>
                  <a:gd name="T1" fmla="*/ 0 h 1506"/>
                  <a:gd name="T2" fmla="*/ 1007 w 1007"/>
                  <a:gd name="T3" fmla="*/ 1506 h 1506"/>
                  <a:gd name="T4" fmla="*/ 865 w 1007"/>
                  <a:gd name="T5" fmla="*/ 1378 h 1506"/>
                  <a:gd name="T6" fmla="*/ 730 w 1007"/>
                  <a:gd name="T7" fmla="*/ 1243 h 1506"/>
                  <a:gd name="T8" fmla="*/ 603 w 1007"/>
                  <a:gd name="T9" fmla="*/ 1102 h 1506"/>
                  <a:gd name="T10" fmla="*/ 484 w 1007"/>
                  <a:gd name="T11" fmla="*/ 957 h 1506"/>
                  <a:gd name="T12" fmla="*/ 372 w 1007"/>
                  <a:gd name="T13" fmla="*/ 806 h 1506"/>
                  <a:gd name="T14" fmla="*/ 267 w 1007"/>
                  <a:gd name="T15" fmla="*/ 650 h 1506"/>
                  <a:gd name="T16" fmla="*/ 171 w 1007"/>
                  <a:gd name="T17" fmla="*/ 491 h 1506"/>
                  <a:gd name="T18" fmla="*/ 82 w 1007"/>
                  <a:gd name="T19" fmla="*/ 326 h 1506"/>
                  <a:gd name="T20" fmla="*/ 0 w 1007"/>
                  <a:gd name="T21" fmla="*/ 157 h 1506"/>
                  <a:gd name="T22" fmla="*/ 197 w 1007"/>
                  <a:gd name="T23" fmla="*/ 105 h 1506"/>
                  <a:gd name="T24" fmla="*/ 396 w 1007"/>
                  <a:gd name="T25" fmla="*/ 64 h 1506"/>
                  <a:gd name="T26" fmla="*/ 597 w 1007"/>
                  <a:gd name="T27" fmla="*/ 32 h 1506"/>
                  <a:gd name="T28" fmla="*/ 800 w 1007"/>
                  <a:gd name="T29" fmla="*/ 10 h 1506"/>
                  <a:gd name="T30" fmla="*/ 1007 w 1007"/>
                  <a:gd name="T31" fmla="*/ 0 h 1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07" h="1506">
                    <a:moveTo>
                      <a:pt x="1007" y="0"/>
                    </a:moveTo>
                    <a:lnTo>
                      <a:pt x="1007" y="1506"/>
                    </a:lnTo>
                    <a:lnTo>
                      <a:pt x="865" y="1378"/>
                    </a:lnTo>
                    <a:lnTo>
                      <a:pt x="730" y="1243"/>
                    </a:lnTo>
                    <a:lnTo>
                      <a:pt x="603" y="1102"/>
                    </a:lnTo>
                    <a:lnTo>
                      <a:pt x="484" y="957"/>
                    </a:lnTo>
                    <a:lnTo>
                      <a:pt x="372" y="806"/>
                    </a:lnTo>
                    <a:lnTo>
                      <a:pt x="267" y="650"/>
                    </a:lnTo>
                    <a:lnTo>
                      <a:pt x="171" y="491"/>
                    </a:lnTo>
                    <a:lnTo>
                      <a:pt x="82" y="326"/>
                    </a:lnTo>
                    <a:lnTo>
                      <a:pt x="0" y="157"/>
                    </a:lnTo>
                    <a:lnTo>
                      <a:pt x="197" y="105"/>
                    </a:lnTo>
                    <a:lnTo>
                      <a:pt x="396" y="64"/>
                    </a:lnTo>
                    <a:lnTo>
                      <a:pt x="597" y="32"/>
                    </a:lnTo>
                    <a:lnTo>
                      <a:pt x="800" y="10"/>
                    </a:lnTo>
                    <a:lnTo>
                      <a:pt x="100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82" name="Freeform 25"/>
              <p:cNvSpPr>
                <a:spLocks/>
              </p:cNvSpPr>
              <p:nvPr/>
            </p:nvSpPr>
            <p:spPr bwMode="auto">
              <a:xfrm>
                <a:off x="4723" y="2317"/>
                <a:ext cx="677" cy="655"/>
              </a:xfrm>
              <a:custGeom>
                <a:avLst/>
                <a:gdLst>
                  <a:gd name="T0" fmla="*/ 0 w 1355"/>
                  <a:gd name="T1" fmla="*/ 0 h 1311"/>
                  <a:gd name="T2" fmla="*/ 1355 w 1355"/>
                  <a:gd name="T3" fmla="*/ 0 h 1311"/>
                  <a:gd name="T4" fmla="*/ 1345 w 1355"/>
                  <a:gd name="T5" fmla="*/ 195 h 1311"/>
                  <a:gd name="T6" fmla="*/ 1325 w 1355"/>
                  <a:gd name="T7" fmla="*/ 386 h 1311"/>
                  <a:gd name="T8" fmla="*/ 1297 w 1355"/>
                  <a:gd name="T9" fmla="*/ 577 h 1311"/>
                  <a:gd name="T10" fmla="*/ 1259 w 1355"/>
                  <a:gd name="T11" fmla="*/ 764 h 1311"/>
                  <a:gd name="T12" fmla="*/ 1214 w 1355"/>
                  <a:gd name="T13" fmla="*/ 949 h 1311"/>
                  <a:gd name="T14" fmla="*/ 1158 w 1355"/>
                  <a:gd name="T15" fmla="*/ 1132 h 1311"/>
                  <a:gd name="T16" fmla="*/ 1094 w 1355"/>
                  <a:gd name="T17" fmla="*/ 1311 h 1311"/>
                  <a:gd name="T18" fmla="*/ 882 w 1355"/>
                  <a:gd name="T19" fmla="*/ 1254 h 1311"/>
                  <a:gd name="T20" fmla="*/ 665 w 1355"/>
                  <a:gd name="T21" fmla="*/ 1206 h 1311"/>
                  <a:gd name="T22" fmla="*/ 446 w 1355"/>
                  <a:gd name="T23" fmla="*/ 1172 h 1311"/>
                  <a:gd name="T24" fmla="*/ 225 w 1355"/>
                  <a:gd name="T25" fmla="*/ 1148 h 1311"/>
                  <a:gd name="T26" fmla="*/ 0 w 1355"/>
                  <a:gd name="T27" fmla="*/ 1136 h 1311"/>
                  <a:gd name="T28" fmla="*/ 0 w 1355"/>
                  <a:gd name="T29" fmla="*/ 0 h 1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55" h="1311">
                    <a:moveTo>
                      <a:pt x="0" y="0"/>
                    </a:moveTo>
                    <a:lnTo>
                      <a:pt x="1355" y="0"/>
                    </a:lnTo>
                    <a:lnTo>
                      <a:pt x="1345" y="195"/>
                    </a:lnTo>
                    <a:lnTo>
                      <a:pt x="1325" y="386"/>
                    </a:lnTo>
                    <a:lnTo>
                      <a:pt x="1297" y="577"/>
                    </a:lnTo>
                    <a:lnTo>
                      <a:pt x="1259" y="764"/>
                    </a:lnTo>
                    <a:lnTo>
                      <a:pt x="1214" y="949"/>
                    </a:lnTo>
                    <a:lnTo>
                      <a:pt x="1158" y="1132"/>
                    </a:lnTo>
                    <a:lnTo>
                      <a:pt x="1094" y="1311"/>
                    </a:lnTo>
                    <a:lnTo>
                      <a:pt x="882" y="1254"/>
                    </a:lnTo>
                    <a:lnTo>
                      <a:pt x="665" y="1206"/>
                    </a:lnTo>
                    <a:lnTo>
                      <a:pt x="446" y="1172"/>
                    </a:lnTo>
                    <a:lnTo>
                      <a:pt x="225" y="1148"/>
                    </a:lnTo>
                    <a:lnTo>
                      <a:pt x="0" y="113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83" name="Freeform 26"/>
              <p:cNvSpPr>
                <a:spLocks/>
              </p:cNvSpPr>
              <p:nvPr/>
            </p:nvSpPr>
            <p:spPr bwMode="auto">
              <a:xfrm>
                <a:off x="4723" y="2998"/>
                <a:ext cx="503" cy="754"/>
              </a:xfrm>
              <a:custGeom>
                <a:avLst/>
                <a:gdLst>
                  <a:gd name="T0" fmla="*/ 0 w 1007"/>
                  <a:gd name="T1" fmla="*/ 0 h 1508"/>
                  <a:gd name="T2" fmla="*/ 207 w 1007"/>
                  <a:gd name="T3" fmla="*/ 10 h 1508"/>
                  <a:gd name="T4" fmla="*/ 410 w 1007"/>
                  <a:gd name="T5" fmla="*/ 32 h 1508"/>
                  <a:gd name="T6" fmla="*/ 611 w 1007"/>
                  <a:gd name="T7" fmla="*/ 64 h 1508"/>
                  <a:gd name="T8" fmla="*/ 810 w 1007"/>
                  <a:gd name="T9" fmla="*/ 105 h 1508"/>
                  <a:gd name="T10" fmla="*/ 1007 w 1007"/>
                  <a:gd name="T11" fmla="*/ 157 h 1508"/>
                  <a:gd name="T12" fmla="*/ 925 w 1007"/>
                  <a:gd name="T13" fmla="*/ 326 h 1508"/>
                  <a:gd name="T14" fmla="*/ 836 w 1007"/>
                  <a:gd name="T15" fmla="*/ 491 h 1508"/>
                  <a:gd name="T16" fmla="*/ 738 w 1007"/>
                  <a:gd name="T17" fmla="*/ 650 h 1508"/>
                  <a:gd name="T18" fmla="*/ 635 w 1007"/>
                  <a:gd name="T19" fmla="*/ 807 h 1508"/>
                  <a:gd name="T20" fmla="*/ 522 w 1007"/>
                  <a:gd name="T21" fmla="*/ 959 h 1508"/>
                  <a:gd name="T22" fmla="*/ 402 w 1007"/>
                  <a:gd name="T23" fmla="*/ 1104 h 1508"/>
                  <a:gd name="T24" fmla="*/ 277 w 1007"/>
                  <a:gd name="T25" fmla="*/ 1243 h 1508"/>
                  <a:gd name="T26" fmla="*/ 142 w 1007"/>
                  <a:gd name="T27" fmla="*/ 1378 h 1508"/>
                  <a:gd name="T28" fmla="*/ 0 w 1007"/>
                  <a:gd name="T29" fmla="*/ 1508 h 1508"/>
                  <a:gd name="T30" fmla="*/ 0 w 1007"/>
                  <a:gd name="T31" fmla="*/ 0 h 1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07" h="1508">
                    <a:moveTo>
                      <a:pt x="0" y="0"/>
                    </a:moveTo>
                    <a:lnTo>
                      <a:pt x="207" y="10"/>
                    </a:lnTo>
                    <a:lnTo>
                      <a:pt x="410" y="32"/>
                    </a:lnTo>
                    <a:lnTo>
                      <a:pt x="611" y="64"/>
                    </a:lnTo>
                    <a:lnTo>
                      <a:pt x="810" y="105"/>
                    </a:lnTo>
                    <a:lnTo>
                      <a:pt x="1007" y="157"/>
                    </a:lnTo>
                    <a:lnTo>
                      <a:pt x="925" y="326"/>
                    </a:lnTo>
                    <a:lnTo>
                      <a:pt x="836" y="491"/>
                    </a:lnTo>
                    <a:lnTo>
                      <a:pt x="738" y="650"/>
                    </a:lnTo>
                    <a:lnTo>
                      <a:pt x="635" y="807"/>
                    </a:lnTo>
                    <a:lnTo>
                      <a:pt x="522" y="959"/>
                    </a:lnTo>
                    <a:lnTo>
                      <a:pt x="402" y="1104"/>
                    </a:lnTo>
                    <a:lnTo>
                      <a:pt x="277" y="1243"/>
                    </a:lnTo>
                    <a:lnTo>
                      <a:pt x="142" y="1378"/>
                    </a:lnTo>
                    <a:lnTo>
                      <a:pt x="0" y="150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85" name="Group 75"/>
            <p:cNvGrpSpPr>
              <a:grpSpLocks noChangeAspect="1"/>
            </p:cNvGrpSpPr>
            <p:nvPr/>
          </p:nvGrpSpPr>
          <p:grpSpPr bwMode="auto">
            <a:xfrm>
              <a:off x="4222658" y="4232116"/>
              <a:ext cx="350988" cy="322110"/>
              <a:chOff x="1149" y="1784"/>
              <a:chExt cx="863" cy="792"/>
            </a:xfrm>
            <a:solidFill>
              <a:schemeClr val="bg1"/>
            </a:solidFill>
          </p:grpSpPr>
          <p:sp>
            <p:nvSpPr>
              <p:cNvPr id="188" name="Freeform 77"/>
              <p:cNvSpPr>
                <a:spLocks/>
              </p:cNvSpPr>
              <p:nvPr/>
            </p:nvSpPr>
            <p:spPr bwMode="auto">
              <a:xfrm>
                <a:off x="1149" y="2345"/>
                <a:ext cx="231" cy="231"/>
              </a:xfrm>
              <a:custGeom>
                <a:avLst/>
                <a:gdLst>
                  <a:gd name="T0" fmla="*/ 72 w 926"/>
                  <a:gd name="T1" fmla="*/ 0 h 926"/>
                  <a:gd name="T2" fmla="*/ 854 w 926"/>
                  <a:gd name="T3" fmla="*/ 0 h 926"/>
                  <a:gd name="T4" fmla="*/ 872 w 926"/>
                  <a:gd name="T5" fmla="*/ 2 h 926"/>
                  <a:gd name="T6" fmla="*/ 889 w 926"/>
                  <a:gd name="T7" fmla="*/ 10 h 926"/>
                  <a:gd name="T8" fmla="*/ 904 w 926"/>
                  <a:gd name="T9" fmla="*/ 21 h 926"/>
                  <a:gd name="T10" fmla="*/ 915 w 926"/>
                  <a:gd name="T11" fmla="*/ 36 h 926"/>
                  <a:gd name="T12" fmla="*/ 923 w 926"/>
                  <a:gd name="T13" fmla="*/ 53 h 926"/>
                  <a:gd name="T14" fmla="*/ 926 w 926"/>
                  <a:gd name="T15" fmla="*/ 71 h 926"/>
                  <a:gd name="T16" fmla="*/ 926 w 926"/>
                  <a:gd name="T17" fmla="*/ 853 h 926"/>
                  <a:gd name="T18" fmla="*/ 923 w 926"/>
                  <a:gd name="T19" fmla="*/ 873 h 926"/>
                  <a:gd name="T20" fmla="*/ 915 w 926"/>
                  <a:gd name="T21" fmla="*/ 890 h 926"/>
                  <a:gd name="T22" fmla="*/ 904 w 926"/>
                  <a:gd name="T23" fmla="*/ 905 h 926"/>
                  <a:gd name="T24" fmla="*/ 889 w 926"/>
                  <a:gd name="T25" fmla="*/ 916 h 926"/>
                  <a:gd name="T26" fmla="*/ 872 w 926"/>
                  <a:gd name="T27" fmla="*/ 924 h 926"/>
                  <a:gd name="T28" fmla="*/ 854 w 926"/>
                  <a:gd name="T29" fmla="*/ 926 h 926"/>
                  <a:gd name="T30" fmla="*/ 72 w 926"/>
                  <a:gd name="T31" fmla="*/ 926 h 926"/>
                  <a:gd name="T32" fmla="*/ 53 w 926"/>
                  <a:gd name="T33" fmla="*/ 924 h 926"/>
                  <a:gd name="T34" fmla="*/ 36 w 926"/>
                  <a:gd name="T35" fmla="*/ 916 h 926"/>
                  <a:gd name="T36" fmla="*/ 21 w 926"/>
                  <a:gd name="T37" fmla="*/ 905 h 926"/>
                  <a:gd name="T38" fmla="*/ 9 w 926"/>
                  <a:gd name="T39" fmla="*/ 890 h 926"/>
                  <a:gd name="T40" fmla="*/ 2 w 926"/>
                  <a:gd name="T41" fmla="*/ 873 h 926"/>
                  <a:gd name="T42" fmla="*/ 0 w 926"/>
                  <a:gd name="T43" fmla="*/ 853 h 926"/>
                  <a:gd name="T44" fmla="*/ 0 w 926"/>
                  <a:gd name="T45" fmla="*/ 71 h 926"/>
                  <a:gd name="T46" fmla="*/ 2 w 926"/>
                  <a:gd name="T47" fmla="*/ 53 h 926"/>
                  <a:gd name="T48" fmla="*/ 9 w 926"/>
                  <a:gd name="T49" fmla="*/ 36 h 926"/>
                  <a:gd name="T50" fmla="*/ 21 w 926"/>
                  <a:gd name="T51" fmla="*/ 21 h 926"/>
                  <a:gd name="T52" fmla="*/ 36 w 926"/>
                  <a:gd name="T53" fmla="*/ 10 h 926"/>
                  <a:gd name="T54" fmla="*/ 53 w 926"/>
                  <a:gd name="T55" fmla="*/ 2 h 926"/>
                  <a:gd name="T56" fmla="*/ 72 w 926"/>
                  <a:gd name="T57" fmla="*/ 0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26" h="926">
                    <a:moveTo>
                      <a:pt x="72" y="0"/>
                    </a:moveTo>
                    <a:lnTo>
                      <a:pt x="854" y="0"/>
                    </a:lnTo>
                    <a:lnTo>
                      <a:pt x="872" y="2"/>
                    </a:lnTo>
                    <a:lnTo>
                      <a:pt x="889" y="10"/>
                    </a:lnTo>
                    <a:lnTo>
                      <a:pt x="904" y="21"/>
                    </a:lnTo>
                    <a:lnTo>
                      <a:pt x="915" y="36"/>
                    </a:lnTo>
                    <a:lnTo>
                      <a:pt x="923" y="53"/>
                    </a:lnTo>
                    <a:lnTo>
                      <a:pt x="926" y="71"/>
                    </a:lnTo>
                    <a:lnTo>
                      <a:pt x="926" y="853"/>
                    </a:lnTo>
                    <a:lnTo>
                      <a:pt x="923" y="873"/>
                    </a:lnTo>
                    <a:lnTo>
                      <a:pt x="915" y="890"/>
                    </a:lnTo>
                    <a:lnTo>
                      <a:pt x="904" y="905"/>
                    </a:lnTo>
                    <a:lnTo>
                      <a:pt x="889" y="916"/>
                    </a:lnTo>
                    <a:lnTo>
                      <a:pt x="872" y="924"/>
                    </a:lnTo>
                    <a:lnTo>
                      <a:pt x="854" y="926"/>
                    </a:lnTo>
                    <a:lnTo>
                      <a:pt x="72" y="926"/>
                    </a:lnTo>
                    <a:lnTo>
                      <a:pt x="53" y="924"/>
                    </a:lnTo>
                    <a:lnTo>
                      <a:pt x="36" y="916"/>
                    </a:lnTo>
                    <a:lnTo>
                      <a:pt x="21" y="905"/>
                    </a:lnTo>
                    <a:lnTo>
                      <a:pt x="9" y="890"/>
                    </a:lnTo>
                    <a:lnTo>
                      <a:pt x="2" y="873"/>
                    </a:lnTo>
                    <a:lnTo>
                      <a:pt x="0" y="853"/>
                    </a:lnTo>
                    <a:lnTo>
                      <a:pt x="0" y="71"/>
                    </a:lnTo>
                    <a:lnTo>
                      <a:pt x="2" y="53"/>
                    </a:lnTo>
                    <a:lnTo>
                      <a:pt x="9" y="36"/>
                    </a:lnTo>
                    <a:lnTo>
                      <a:pt x="21" y="21"/>
                    </a:lnTo>
                    <a:lnTo>
                      <a:pt x="36" y="10"/>
                    </a:lnTo>
                    <a:lnTo>
                      <a:pt x="53" y="2"/>
                    </a:lnTo>
                    <a:lnTo>
                      <a:pt x="7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89" name="Freeform 78"/>
              <p:cNvSpPr>
                <a:spLocks/>
              </p:cNvSpPr>
              <p:nvPr/>
            </p:nvSpPr>
            <p:spPr bwMode="auto">
              <a:xfrm>
                <a:off x="1462" y="2345"/>
                <a:ext cx="231" cy="231"/>
              </a:xfrm>
              <a:custGeom>
                <a:avLst/>
                <a:gdLst>
                  <a:gd name="T0" fmla="*/ 73 w 925"/>
                  <a:gd name="T1" fmla="*/ 0 h 926"/>
                  <a:gd name="T2" fmla="*/ 854 w 925"/>
                  <a:gd name="T3" fmla="*/ 0 h 926"/>
                  <a:gd name="T4" fmla="*/ 873 w 925"/>
                  <a:gd name="T5" fmla="*/ 2 h 926"/>
                  <a:gd name="T6" fmla="*/ 890 w 925"/>
                  <a:gd name="T7" fmla="*/ 10 h 926"/>
                  <a:gd name="T8" fmla="*/ 904 w 925"/>
                  <a:gd name="T9" fmla="*/ 21 h 926"/>
                  <a:gd name="T10" fmla="*/ 916 w 925"/>
                  <a:gd name="T11" fmla="*/ 36 h 926"/>
                  <a:gd name="T12" fmla="*/ 923 w 925"/>
                  <a:gd name="T13" fmla="*/ 53 h 926"/>
                  <a:gd name="T14" fmla="*/ 925 w 925"/>
                  <a:gd name="T15" fmla="*/ 71 h 926"/>
                  <a:gd name="T16" fmla="*/ 925 w 925"/>
                  <a:gd name="T17" fmla="*/ 853 h 926"/>
                  <a:gd name="T18" fmla="*/ 923 w 925"/>
                  <a:gd name="T19" fmla="*/ 873 h 926"/>
                  <a:gd name="T20" fmla="*/ 916 w 925"/>
                  <a:gd name="T21" fmla="*/ 890 h 926"/>
                  <a:gd name="T22" fmla="*/ 904 w 925"/>
                  <a:gd name="T23" fmla="*/ 905 h 926"/>
                  <a:gd name="T24" fmla="*/ 890 w 925"/>
                  <a:gd name="T25" fmla="*/ 916 h 926"/>
                  <a:gd name="T26" fmla="*/ 873 w 925"/>
                  <a:gd name="T27" fmla="*/ 924 h 926"/>
                  <a:gd name="T28" fmla="*/ 854 w 925"/>
                  <a:gd name="T29" fmla="*/ 926 h 926"/>
                  <a:gd name="T30" fmla="*/ 73 w 925"/>
                  <a:gd name="T31" fmla="*/ 926 h 926"/>
                  <a:gd name="T32" fmla="*/ 53 w 925"/>
                  <a:gd name="T33" fmla="*/ 924 h 926"/>
                  <a:gd name="T34" fmla="*/ 36 w 925"/>
                  <a:gd name="T35" fmla="*/ 916 h 926"/>
                  <a:gd name="T36" fmla="*/ 21 w 925"/>
                  <a:gd name="T37" fmla="*/ 905 h 926"/>
                  <a:gd name="T38" fmla="*/ 10 w 925"/>
                  <a:gd name="T39" fmla="*/ 890 h 926"/>
                  <a:gd name="T40" fmla="*/ 3 w 925"/>
                  <a:gd name="T41" fmla="*/ 873 h 926"/>
                  <a:gd name="T42" fmla="*/ 0 w 925"/>
                  <a:gd name="T43" fmla="*/ 853 h 926"/>
                  <a:gd name="T44" fmla="*/ 0 w 925"/>
                  <a:gd name="T45" fmla="*/ 71 h 926"/>
                  <a:gd name="T46" fmla="*/ 3 w 925"/>
                  <a:gd name="T47" fmla="*/ 53 h 926"/>
                  <a:gd name="T48" fmla="*/ 10 w 925"/>
                  <a:gd name="T49" fmla="*/ 36 h 926"/>
                  <a:gd name="T50" fmla="*/ 21 w 925"/>
                  <a:gd name="T51" fmla="*/ 21 h 926"/>
                  <a:gd name="T52" fmla="*/ 36 w 925"/>
                  <a:gd name="T53" fmla="*/ 10 h 926"/>
                  <a:gd name="T54" fmla="*/ 53 w 925"/>
                  <a:gd name="T55" fmla="*/ 2 h 926"/>
                  <a:gd name="T56" fmla="*/ 73 w 925"/>
                  <a:gd name="T57" fmla="*/ 0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25" h="926">
                    <a:moveTo>
                      <a:pt x="73" y="0"/>
                    </a:moveTo>
                    <a:lnTo>
                      <a:pt x="854" y="0"/>
                    </a:lnTo>
                    <a:lnTo>
                      <a:pt x="873" y="2"/>
                    </a:lnTo>
                    <a:lnTo>
                      <a:pt x="890" y="10"/>
                    </a:lnTo>
                    <a:lnTo>
                      <a:pt x="904" y="21"/>
                    </a:lnTo>
                    <a:lnTo>
                      <a:pt x="916" y="36"/>
                    </a:lnTo>
                    <a:lnTo>
                      <a:pt x="923" y="53"/>
                    </a:lnTo>
                    <a:lnTo>
                      <a:pt x="925" y="71"/>
                    </a:lnTo>
                    <a:lnTo>
                      <a:pt x="925" y="853"/>
                    </a:lnTo>
                    <a:lnTo>
                      <a:pt x="923" y="873"/>
                    </a:lnTo>
                    <a:lnTo>
                      <a:pt x="916" y="890"/>
                    </a:lnTo>
                    <a:lnTo>
                      <a:pt x="904" y="905"/>
                    </a:lnTo>
                    <a:lnTo>
                      <a:pt x="890" y="916"/>
                    </a:lnTo>
                    <a:lnTo>
                      <a:pt x="873" y="924"/>
                    </a:lnTo>
                    <a:lnTo>
                      <a:pt x="854" y="926"/>
                    </a:lnTo>
                    <a:lnTo>
                      <a:pt x="73" y="926"/>
                    </a:lnTo>
                    <a:lnTo>
                      <a:pt x="53" y="924"/>
                    </a:lnTo>
                    <a:lnTo>
                      <a:pt x="36" y="916"/>
                    </a:lnTo>
                    <a:lnTo>
                      <a:pt x="21" y="905"/>
                    </a:lnTo>
                    <a:lnTo>
                      <a:pt x="10" y="890"/>
                    </a:lnTo>
                    <a:lnTo>
                      <a:pt x="3" y="873"/>
                    </a:lnTo>
                    <a:lnTo>
                      <a:pt x="0" y="853"/>
                    </a:lnTo>
                    <a:lnTo>
                      <a:pt x="0" y="71"/>
                    </a:lnTo>
                    <a:lnTo>
                      <a:pt x="3" y="53"/>
                    </a:lnTo>
                    <a:lnTo>
                      <a:pt x="10" y="36"/>
                    </a:lnTo>
                    <a:lnTo>
                      <a:pt x="21" y="21"/>
                    </a:lnTo>
                    <a:lnTo>
                      <a:pt x="36" y="10"/>
                    </a:lnTo>
                    <a:lnTo>
                      <a:pt x="53" y="2"/>
                    </a:lnTo>
                    <a:lnTo>
                      <a:pt x="7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90" name="Freeform 79"/>
              <p:cNvSpPr>
                <a:spLocks/>
              </p:cNvSpPr>
              <p:nvPr/>
            </p:nvSpPr>
            <p:spPr bwMode="auto">
              <a:xfrm>
                <a:off x="1781" y="2345"/>
                <a:ext cx="231" cy="231"/>
              </a:xfrm>
              <a:custGeom>
                <a:avLst/>
                <a:gdLst>
                  <a:gd name="T0" fmla="*/ 72 w 926"/>
                  <a:gd name="T1" fmla="*/ 0 h 926"/>
                  <a:gd name="T2" fmla="*/ 854 w 926"/>
                  <a:gd name="T3" fmla="*/ 0 h 926"/>
                  <a:gd name="T4" fmla="*/ 872 w 926"/>
                  <a:gd name="T5" fmla="*/ 2 h 926"/>
                  <a:gd name="T6" fmla="*/ 890 w 926"/>
                  <a:gd name="T7" fmla="*/ 10 h 926"/>
                  <a:gd name="T8" fmla="*/ 905 w 926"/>
                  <a:gd name="T9" fmla="*/ 21 h 926"/>
                  <a:gd name="T10" fmla="*/ 915 w 926"/>
                  <a:gd name="T11" fmla="*/ 36 h 926"/>
                  <a:gd name="T12" fmla="*/ 923 w 926"/>
                  <a:gd name="T13" fmla="*/ 53 h 926"/>
                  <a:gd name="T14" fmla="*/ 926 w 926"/>
                  <a:gd name="T15" fmla="*/ 71 h 926"/>
                  <a:gd name="T16" fmla="*/ 926 w 926"/>
                  <a:gd name="T17" fmla="*/ 853 h 926"/>
                  <a:gd name="T18" fmla="*/ 923 w 926"/>
                  <a:gd name="T19" fmla="*/ 873 h 926"/>
                  <a:gd name="T20" fmla="*/ 915 w 926"/>
                  <a:gd name="T21" fmla="*/ 890 h 926"/>
                  <a:gd name="T22" fmla="*/ 905 w 926"/>
                  <a:gd name="T23" fmla="*/ 905 h 926"/>
                  <a:gd name="T24" fmla="*/ 890 w 926"/>
                  <a:gd name="T25" fmla="*/ 916 h 926"/>
                  <a:gd name="T26" fmla="*/ 872 w 926"/>
                  <a:gd name="T27" fmla="*/ 924 h 926"/>
                  <a:gd name="T28" fmla="*/ 854 w 926"/>
                  <a:gd name="T29" fmla="*/ 926 h 926"/>
                  <a:gd name="T30" fmla="*/ 72 w 926"/>
                  <a:gd name="T31" fmla="*/ 926 h 926"/>
                  <a:gd name="T32" fmla="*/ 53 w 926"/>
                  <a:gd name="T33" fmla="*/ 924 h 926"/>
                  <a:gd name="T34" fmla="*/ 36 w 926"/>
                  <a:gd name="T35" fmla="*/ 916 h 926"/>
                  <a:gd name="T36" fmla="*/ 21 w 926"/>
                  <a:gd name="T37" fmla="*/ 905 h 926"/>
                  <a:gd name="T38" fmla="*/ 11 w 926"/>
                  <a:gd name="T39" fmla="*/ 890 h 926"/>
                  <a:gd name="T40" fmla="*/ 3 w 926"/>
                  <a:gd name="T41" fmla="*/ 873 h 926"/>
                  <a:gd name="T42" fmla="*/ 0 w 926"/>
                  <a:gd name="T43" fmla="*/ 853 h 926"/>
                  <a:gd name="T44" fmla="*/ 0 w 926"/>
                  <a:gd name="T45" fmla="*/ 71 h 926"/>
                  <a:gd name="T46" fmla="*/ 3 w 926"/>
                  <a:gd name="T47" fmla="*/ 53 h 926"/>
                  <a:gd name="T48" fmla="*/ 11 w 926"/>
                  <a:gd name="T49" fmla="*/ 36 h 926"/>
                  <a:gd name="T50" fmla="*/ 21 w 926"/>
                  <a:gd name="T51" fmla="*/ 21 h 926"/>
                  <a:gd name="T52" fmla="*/ 36 w 926"/>
                  <a:gd name="T53" fmla="*/ 10 h 926"/>
                  <a:gd name="T54" fmla="*/ 53 w 926"/>
                  <a:gd name="T55" fmla="*/ 2 h 926"/>
                  <a:gd name="T56" fmla="*/ 72 w 926"/>
                  <a:gd name="T57" fmla="*/ 0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26" h="926">
                    <a:moveTo>
                      <a:pt x="72" y="0"/>
                    </a:moveTo>
                    <a:lnTo>
                      <a:pt x="854" y="0"/>
                    </a:lnTo>
                    <a:lnTo>
                      <a:pt x="872" y="2"/>
                    </a:lnTo>
                    <a:lnTo>
                      <a:pt x="890" y="10"/>
                    </a:lnTo>
                    <a:lnTo>
                      <a:pt x="905" y="21"/>
                    </a:lnTo>
                    <a:lnTo>
                      <a:pt x="915" y="36"/>
                    </a:lnTo>
                    <a:lnTo>
                      <a:pt x="923" y="53"/>
                    </a:lnTo>
                    <a:lnTo>
                      <a:pt x="926" y="71"/>
                    </a:lnTo>
                    <a:lnTo>
                      <a:pt x="926" y="853"/>
                    </a:lnTo>
                    <a:lnTo>
                      <a:pt x="923" y="873"/>
                    </a:lnTo>
                    <a:lnTo>
                      <a:pt x="915" y="890"/>
                    </a:lnTo>
                    <a:lnTo>
                      <a:pt x="905" y="905"/>
                    </a:lnTo>
                    <a:lnTo>
                      <a:pt x="890" y="916"/>
                    </a:lnTo>
                    <a:lnTo>
                      <a:pt x="872" y="924"/>
                    </a:lnTo>
                    <a:lnTo>
                      <a:pt x="854" y="926"/>
                    </a:lnTo>
                    <a:lnTo>
                      <a:pt x="72" y="926"/>
                    </a:lnTo>
                    <a:lnTo>
                      <a:pt x="53" y="924"/>
                    </a:lnTo>
                    <a:lnTo>
                      <a:pt x="36" y="916"/>
                    </a:lnTo>
                    <a:lnTo>
                      <a:pt x="21" y="905"/>
                    </a:lnTo>
                    <a:lnTo>
                      <a:pt x="11" y="890"/>
                    </a:lnTo>
                    <a:lnTo>
                      <a:pt x="3" y="873"/>
                    </a:lnTo>
                    <a:lnTo>
                      <a:pt x="0" y="853"/>
                    </a:lnTo>
                    <a:lnTo>
                      <a:pt x="0" y="71"/>
                    </a:lnTo>
                    <a:lnTo>
                      <a:pt x="3" y="53"/>
                    </a:lnTo>
                    <a:lnTo>
                      <a:pt x="11" y="36"/>
                    </a:lnTo>
                    <a:lnTo>
                      <a:pt x="21" y="21"/>
                    </a:lnTo>
                    <a:lnTo>
                      <a:pt x="36" y="10"/>
                    </a:lnTo>
                    <a:lnTo>
                      <a:pt x="53" y="2"/>
                    </a:lnTo>
                    <a:lnTo>
                      <a:pt x="7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91" name="Freeform 80"/>
              <p:cNvSpPr>
                <a:spLocks/>
              </p:cNvSpPr>
              <p:nvPr/>
            </p:nvSpPr>
            <p:spPr bwMode="auto">
              <a:xfrm>
                <a:off x="1465" y="1784"/>
                <a:ext cx="231" cy="232"/>
              </a:xfrm>
              <a:custGeom>
                <a:avLst/>
                <a:gdLst>
                  <a:gd name="T0" fmla="*/ 71 w 925"/>
                  <a:gd name="T1" fmla="*/ 0 h 927"/>
                  <a:gd name="T2" fmla="*/ 853 w 925"/>
                  <a:gd name="T3" fmla="*/ 0 h 927"/>
                  <a:gd name="T4" fmla="*/ 872 w 925"/>
                  <a:gd name="T5" fmla="*/ 2 h 927"/>
                  <a:gd name="T6" fmla="*/ 889 w 925"/>
                  <a:gd name="T7" fmla="*/ 10 h 927"/>
                  <a:gd name="T8" fmla="*/ 904 w 925"/>
                  <a:gd name="T9" fmla="*/ 21 h 927"/>
                  <a:gd name="T10" fmla="*/ 915 w 925"/>
                  <a:gd name="T11" fmla="*/ 36 h 927"/>
                  <a:gd name="T12" fmla="*/ 923 w 925"/>
                  <a:gd name="T13" fmla="*/ 54 h 927"/>
                  <a:gd name="T14" fmla="*/ 925 w 925"/>
                  <a:gd name="T15" fmla="*/ 73 h 927"/>
                  <a:gd name="T16" fmla="*/ 925 w 925"/>
                  <a:gd name="T17" fmla="*/ 854 h 927"/>
                  <a:gd name="T18" fmla="*/ 923 w 925"/>
                  <a:gd name="T19" fmla="*/ 873 h 927"/>
                  <a:gd name="T20" fmla="*/ 915 w 925"/>
                  <a:gd name="T21" fmla="*/ 890 h 927"/>
                  <a:gd name="T22" fmla="*/ 904 w 925"/>
                  <a:gd name="T23" fmla="*/ 905 h 927"/>
                  <a:gd name="T24" fmla="*/ 889 w 925"/>
                  <a:gd name="T25" fmla="*/ 916 h 927"/>
                  <a:gd name="T26" fmla="*/ 872 w 925"/>
                  <a:gd name="T27" fmla="*/ 924 h 927"/>
                  <a:gd name="T28" fmla="*/ 853 w 925"/>
                  <a:gd name="T29" fmla="*/ 927 h 927"/>
                  <a:gd name="T30" fmla="*/ 71 w 925"/>
                  <a:gd name="T31" fmla="*/ 927 h 927"/>
                  <a:gd name="T32" fmla="*/ 52 w 925"/>
                  <a:gd name="T33" fmla="*/ 924 h 927"/>
                  <a:gd name="T34" fmla="*/ 36 w 925"/>
                  <a:gd name="T35" fmla="*/ 916 h 927"/>
                  <a:gd name="T36" fmla="*/ 21 w 925"/>
                  <a:gd name="T37" fmla="*/ 905 h 927"/>
                  <a:gd name="T38" fmla="*/ 9 w 925"/>
                  <a:gd name="T39" fmla="*/ 890 h 927"/>
                  <a:gd name="T40" fmla="*/ 2 w 925"/>
                  <a:gd name="T41" fmla="*/ 873 h 927"/>
                  <a:gd name="T42" fmla="*/ 0 w 925"/>
                  <a:gd name="T43" fmla="*/ 854 h 927"/>
                  <a:gd name="T44" fmla="*/ 0 w 925"/>
                  <a:gd name="T45" fmla="*/ 73 h 927"/>
                  <a:gd name="T46" fmla="*/ 2 w 925"/>
                  <a:gd name="T47" fmla="*/ 54 h 927"/>
                  <a:gd name="T48" fmla="*/ 9 w 925"/>
                  <a:gd name="T49" fmla="*/ 36 h 927"/>
                  <a:gd name="T50" fmla="*/ 21 w 925"/>
                  <a:gd name="T51" fmla="*/ 21 h 927"/>
                  <a:gd name="T52" fmla="*/ 36 w 925"/>
                  <a:gd name="T53" fmla="*/ 10 h 927"/>
                  <a:gd name="T54" fmla="*/ 52 w 925"/>
                  <a:gd name="T55" fmla="*/ 2 h 927"/>
                  <a:gd name="T56" fmla="*/ 71 w 925"/>
                  <a:gd name="T57" fmla="*/ 0 h 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25" h="927">
                    <a:moveTo>
                      <a:pt x="71" y="0"/>
                    </a:moveTo>
                    <a:lnTo>
                      <a:pt x="853" y="0"/>
                    </a:lnTo>
                    <a:lnTo>
                      <a:pt x="872" y="2"/>
                    </a:lnTo>
                    <a:lnTo>
                      <a:pt x="889" y="10"/>
                    </a:lnTo>
                    <a:lnTo>
                      <a:pt x="904" y="21"/>
                    </a:lnTo>
                    <a:lnTo>
                      <a:pt x="915" y="36"/>
                    </a:lnTo>
                    <a:lnTo>
                      <a:pt x="923" y="54"/>
                    </a:lnTo>
                    <a:lnTo>
                      <a:pt x="925" y="73"/>
                    </a:lnTo>
                    <a:lnTo>
                      <a:pt x="925" y="854"/>
                    </a:lnTo>
                    <a:lnTo>
                      <a:pt x="923" y="873"/>
                    </a:lnTo>
                    <a:lnTo>
                      <a:pt x="915" y="890"/>
                    </a:lnTo>
                    <a:lnTo>
                      <a:pt x="904" y="905"/>
                    </a:lnTo>
                    <a:lnTo>
                      <a:pt x="889" y="916"/>
                    </a:lnTo>
                    <a:lnTo>
                      <a:pt x="872" y="924"/>
                    </a:lnTo>
                    <a:lnTo>
                      <a:pt x="853" y="927"/>
                    </a:lnTo>
                    <a:lnTo>
                      <a:pt x="71" y="927"/>
                    </a:lnTo>
                    <a:lnTo>
                      <a:pt x="52" y="924"/>
                    </a:lnTo>
                    <a:lnTo>
                      <a:pt x="36" y="916"/>
                    </a:lnTo>
                    <a:lnTo>
                      <a:pt x="21" y="905"/>
                    </a:lnTo>
                    <a:lnTo>
                      <a:pt x="9" y="890"/>
                    </a:lnTo>
                    <a:lnTo>
                      <a:pt x="2" y="873"/>
                    </a:lnTo>
                    <a:lnTo>
                      <a:pt x="0" y="854"/>
                    </a:lnTo>
                    <a:lnTo>
                      <a:pt x="0" y="73"/>
                    </a:lnTo>
                    <a:lnTo>
                      <a:pt x="2" y="54"/>
                    </a:lnTo>
                    <a:lnTo>
                      <a:pt x="9" y="36"/>
                    </a:lnTo>
                    <a:lnTo>
                      <a:pt x="21" y="21"/>
                    </a:lnTo>
                    <a:lnTo>
                      <a:pt x="36" y="10"/>
                    </a:lnTo>
                    <a:lnTo>
                      <a:pt x="52" y="2"/>
                    </a:lnTo>
                    <a:lnTo>
                      <a:pt x="7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92" name="Freeform 81"/>
              <p:cNvSpPr>
                <a:spLocks/>
              </p:cNvSpPr>
              <p:nvPr/>
            </p:nvSpPr>
            <p:spPr bwMode="auto">
              <a:xfrm>
                <a:off x="1217" y="2072"/>
                <a:ext cx="727" cy="210"/>
              </a:xfrm>
              <a:custGeom>
                <a:avLst/>
                <a:gdLst>
                  <a:gd name="T0" fmla="*/ 1530 w 2912"/>
                  <a:gd name="T1" fmla="*/ 0 h 842"/>
                  <a:gd name="T2" fmla="*/ 1567 w 2912"/>
                  <a:gd name="T3" fmla="*/ 9 h 842"/>
                  <a:gd name="T4" fmla="*/ 1592 w 2912"/>
                  <a:gd name="T5" fmla="*/ 36 h 842"/>
                  <a:gd name="T6" fmla="*/ 1603 w 2912"/>
                  <a:gd name="T7" fmla="*/ 72 h 842"/>
                  <a:gd name="T8" fmla="*/ 2840 w 2912"/>
                  <a:gd name="T9" fmla="*/ 172 h 842"/>
                  <a:gd name="T10" fmla="*/ 2876 w 2912"/>
                  <a:gd name="T11" fmla="*/ 182 h 842"/>
                  <a:gd name="T12" fmla="*/ 2902 w 2912"/>
                  <a:gd name="T13" fmla="*/ 208 h 842"/>
                  <a:gd name="T14" fmla="*/ 2912 w 2912"/>
                  <a:gd name="T15" fmla="*/ 244 h 842"/>
                  <a:gd name="T16" fmla="*/ 2910 w 2912"/>
                  <a:gd name="T17" fmla="*/ 788 h 842"/>
                  <a:gd name="T18" fmla="*/ 2891 w 2912"/>
                  <a:gd name="T19" fmla="*/ 820 h 842"/>
                  <a:gd name="T20" fmla="*/ 2859 w 2912"/>
                  <a:gd name="T21" fmla="*/ 839 h 842"/>
                  <a:gd name="T22" fmla="*/ 2692 w 2912"/>
                  <a:gd name="T23" fmla="*/ 841 h 842"/>
                  <a:gd name="T24" fmla="*/ 2656 w 2912"/>
                  <a:gd name="T25" fmla="*/ 831 h 842"/>
                  <a:gd name="T26" fmla="*/ 2630 w 2912"/>
                  <a:gd name="T27" fmla="*/ 805 h 842"/>
                  <a:gd name="T28" fmla="*/ 2620 w 2912"/>
                  <a:gd name="T29" fmla="*/ 769 h 842"/>
                  <a:gd name="T30" fmla="*/ 1603 w 2912"/>
                  <a:gd name="T31" fmla="*/ 464 h 842"/>
                  <a:gd name="T32" fmla="*/ 1599 w 2912"/>
                  <a:gd name="T33" fmla="*/ 789 h 842"/>
                  <a:gd name="T34" fmla="*/ 1582 w 2912"/>
                  <a:gd name="T35" fmla="*/ 821 h 842"/>
                  <a:gd name="T36" fmla="*/ 1549 w 2912"/>
                  <a:gd name="T37" fmla="*/ 840 h 842"/>
                  <a:gd name="T38" fmla="*/ 1383 w 2912"/>
                  <a:gd name="T39" fmla="*/ 842 h 842"/>
                  <a:gd name="T40" fmla="*/ 1346 w 2912"/>
                  <a:gd name="T41" fmla="*/ 832 h 842"/>
                  <a:gd name="T42" fmla="*/ 1320 w 2912"/>
                  <a:gd name="T43" fmla="*/ 806 h 842"/>
                  <a:gd name="T44" fmla="*/ 1310 w 2912"/>
                  <a:gd name="T45" fmla="*/ 769 h 842"/>
                  <a:gd name="T46" fmla="*/ 292 w 2912"/>
                  <a:gd name="T47" fmla="*/ 464 h 842"/>
                  <a:gd name="T48" fmla="*/ 290 w 2912"/>
                  <a:gd name="T49" fmla="*/ 788 h 842"/>
                  <a:gd name="T50" fmla="*/ 271 w 2912"/>
                  <a:gd name="T51" fmla="*/ 820 h 842"/>
                  <a:gd name="T52" fmla="*/ 240 w 2912"/>
                  <a:gd name="T53" fmla="*/ 839 h 842"/>
                  <a:gd name="T54" fmla="*/ 72 w 2912"/>
                  <a:gd name="T55" fmla="*/ 841 h 842"/>
                  <a:gd name="T56" fmla="*/ 37 w 2912"/>
                  <a:gd name="T57" fmla="*/ 831 h 842"/>
                  <a:gd name="T58" fmla="*/ 11 w 2912"/>
                  <a:gd name="T59" fmla="*/ 805 h 842"/>
                  <a:gd name="T60" fmla="*/ 0 w 2912"/>
                  <a:gd name="T61" fmla="*/ 768 h 842"/>
                  <a:gd name="T62" fmla="*/ 3 w 2912"/>
                  <a:gd name="T63" fmla="*/ 225 h 842"/>
                  <a:gd name="T64" fmla="*/ 22 w 2912"/>
                  <a:gd name="T65" fmla="*/ 193 h 842"/>
                  <a:gd name="T66" fmla="*/ 54 w 2912"/>
                  <a:gd name="T67" fmla="*/ 175 h 842"/>
                  <a:gd name="T68" fmla="*/ 1310 w 2912"/>
                  <a:gd name="T69" fmla="*/ 172 h 842"/>
                  <a:gd name="T70" fmla="*/ 1312 w 2912"/>
                  <a:gd name="T71" fmla="*/ 52 h 842"/>
                  <a:gd name="T72" fmla="*/ 1331 w 2912"/>
                  <a:gd name="T73" fmla="*/ 21 h 842"/>
                  <a:gd name="T74" fmla="*/ 1363 w 2912"/>
                  <a:gd name="T75" fmla="*/ 2 h 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912" h="842">
                    <a:moveTo>
                      <a:pt x="1383" y="0"/>
                    </a:moveTo>
                    <a:lnTo>
                      <a:pt x="1530" y="0"/>
                    </a:lnTo>
                    <a:lnTo>
                      <a:pt x="1549" y="2"/>
                    </a:lnTo>
                    <a:lnTo>
                      <a:pt x="1567" y="9"/>
                    </a:lnTo>
                    <a:lnTo>
                      <a:pt x="1582" y="21"/>
                    </a:lnTo>
                    <a:lnTo>
                      <a:pt x="1592" y="36"/>
                    </a:lnTo>
                    <a:lnTo>
                      <a:pt x="1599" y="52"/>
                    </a:lnTo>
                    <a:lnTo>
                      <a:pt x="1603" y="72"/>
                    </a:lnTo>
                    <a:lnTo>
                      <a:pt x="1603" y="172"/>
                    </a:lnTo>
                    <a:lnTo>
                      <a:pt x="2840" y="172"/>
                    </a:lnTo>
                    <a:lnTo>
                      <a:pt x="2859" y="175"/>
                    </a:lnTo>
                    <a:lnTo>
                      <a:pt x="2876" y="182"/>
                    </a:lnTo>
                    <a:lnTo>
                      <a:pt x="2891" y="193"/>
                    </a:lnTo>
                    <a:lnTo>
                      <a:pt x="2902" y="208"/>
                    </a:lnTo>
                    <a:lnTo>
                      <a:pt x="2910" y="225"/>
                    </a:lnTo>
                    <a:lnTo>
                      <a:pt x="2912" y="244"/>
                    </a:lnTo>
                    <a:lnTo>
                      <a:pt x="2912" y="769"/>
                    </a:lnTo>
                    <a:lnTo>
                      <a:pt x="2910" y="788"/>
                    </a:lnTo>
                    <a:lnTo>
                      <a:pt x="2902" y="805"/>
                    </a:lnTo>
                    <a:lnTo>
                      <a:pt x="2891" y="820"/>
                    </a:lnTo>
                    <a:lnTo>
                      <a:pt x="2876" y="831"/>
                    </a:lnTo>
                    <a:lnTo>
                      <a:pt x="2859" y="839"/>
                    </a:lnTo>
                    <a:lnTo>
                      <a:pt x="2840" y="841"/>
                    </a:lnTo>
                    <a:lnTo>
                      <a:pt x="2692" y="841"/>
                    </a:lnTo>
                    <a:lnTo>
                      <a:pt x="2673" y="839"/>
                    </a:lnTo>
                    <a:lnTo>
                      <a:pt x="2656" y="831"/>
                    </a:lnTo>
                    <a:lnTo>
                      <a:pt x="2641" y="820"/>
                    </a:lnTo>
                    <a:lnTo>
                      <a:pt x="2630" y="805"/>
                    </a:lnTo>
                    <a:lnTo>
                      <a:pt x="2623" y="788"/>
                    </a:lnTo>
                    <a:lnTo>
                      <a:pt x="2620" y="769"/>
                    </a:lnTo>
                    <a:lnTo>
                      <a:pt x="2620" y="464"/>
                    </a:lnTo>
                    <a:lnTo>
                      <a:pt x="1603" y="464"/>
                    </a:lnTo>
                    <a:lnTo>
                      <a:pt x="1603" y="769"/>
                    </a:lnTo>
                    <a:lnTo>
                      <a:pt x="1599" y="789"/>
                    </a:lnTo>
                    <a:lnTo>
                      <a:pt x="1592" y="806"/>
                    </a:lnTo>
                    <a:lnTo>
                      <a:pt x="1582" y="821"/>
                    </a:lnTo>
                    <a:lnTo>
                      <a:pt x="1567" y="832"/>
                    </a:lnTo>
                    <a:lnTo>
                      <a:pt x="1549" y="840"/>
                    </a:lnTo>
                    <a:lnTo>
                      <a:pt x="1530" y="842"/>
                    </a:lnTo>
                    <a:lnTo>
                      <a:pt x="1383" y="842"/>
                    </a:lnTo>
                    <a:lnTo>
                      <a:pt x="1364" y="840"/>
                    </a:lnTo>
                    <a:lnTo>
                      <a:pt x="1346" y="832"/>
                    </a:lnTo>
                    <a:lnTo>
                      <a:pt x="1331" y="821"/>
                    </a:lnTo>
                    <a:lnTo>
                      <a:pt x="1320" y="806"/>
                    </a:lnTo>
                    <a:lnTo>
                      <a:pt x="1312" y="789"/>
                    </a:lnTo>
                    <a:lnTo>
                      <a:pt x="1310" y="769"/>
                    </a:lnTo>
                    <a:lnTo>
                      <a:pt x="1310" y="464"/>
                    </a:lnTo>
                    <a:lnTo>
                      <a:pt x="292" y="464"/>
                    </a:lnTo>
                    <a:lnTo>
                      <a:pt x="292" y="768"/>
                    </a:lnTo>
                    <a:lnTo>
                      <a:pt x="290" y="788"/>
                    </a:lnTo>
                    <a:lnTo>
                      <a:pt x="283" y="805"/>
                    </a:lnTo>
                    <a:lnTo>
                      <a:pt x="271" y="820"/>
                    </a:lnTo>
                    <a:lnTo>
                      <a:pt x="257" y="831"/>
                    </a:lnTo>
                    <a:lnTo>
                      <a:pt x="240" y="839"/>
                    </a:lnTo>
                    <a:lnTo>
                      <a:pt x="220" y="841"/>
                    </a:lnTo>
                    <a:lnTo>
                      <a:pt x="72" y="841"/>
                    </a:lnTo>
                    <a:lnTo>
                      <a:pt x="54" y="839"/>
                    </a:lnTo>
                    <a:lnTo>
                      <a:pt x="37" y="831"/>
                    </a:lnTo>
                    <a:lnTo>
                      <a:pt x="22" y="820"/>
                    </a:lnTo>
                    <a:lnTo>
                      <a:pt x="11" y="805"/>
                    </a:lnTo>
                    <a:lnTo>
                      <a:pt x="3" y="788"/>
                    </a:lnTo>
                    <a:lnTo>
                      <a:pt x="0" y="768"/>
                    </a:lnTo>
                    <a:lnTo>
                      <a:pt x="0" y="244"/>
                    </a:lnTo>
                    <a:lnTo>
                      <a:pt x="3" y="225"/>
                    </a:lnTo>
                    <a:lnTo>
                      <a:pt x="11" y="208"/>
                    </a:lnTo>
                    <a:lnTo>
                      <a:pt x="22" y="193"/>
                    </a:lnTo>
                    <a:lnTo>
                      <a:pt x="37" y="182"/>
                    </a:lnTo>
                    <a:lnTo>
                      <a:pt x="54" y="175"/>
                    </a:lnTo>
                    <a:lnTo>
                      <a:pt x="72" y="172"/>
                    </a:lnTo>
                    <a:lnTo>
                      <a:pt x="1310" y="172"/>
                    </a:lnTo>
                    <a:lnTo>
                      <a:pt x="1310" y="72"/>
                    </a:lnTo>
                    <a:lnTo>
                      <a:pt x="1312" y="52"/>
                    </a:lnTo>
                    <a:lnTo>
                      <a:pt x="1320" y="36"/>
                    </a:lnTo>
                    <a:lnTo>
                      <a:pt x="1331" y="21"/>
                    </a:lnTo>
                    <a:lnTo>
                      <a:pt x="1346" y="9"/>
                    </a:lnTo>
                    <a:lnTo>
                      <a:pt x="1363" y="2"/>
                    </a:lnTo>
                    <a:lnTo>
                      <a:pt x="138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104" name="Group 11"/>
          <p:cNvGrpSpPr>
            <a:grpSpLocks noChangeAspect="1"/>
          </p:cNvGrpSpPr>
          <p:nvPr/>
        </p:nvGrpSpPr>
        <p:grpSpPr bwMode="auto">
          <a:xfrm>
            <a:off x="5699650" y="5726605"/>
            <a:ext cx="448650" cy="428919"/>
            <a:chOff x="2" y="-64"/>
            <a:chExt cx="5480" cy="5239"/>
          </a:xfrm>
          <a:solidFill>
            <a:schemeClr val="bg1"/>
          </a:solidFill>
        </p:grpSpPr>
        <p:sp>
          <p:nvSpPr>
            <p:cNvPr id="105" name="Freeform 12"/>
            <p:cNvSpPr>
              <a:spLocks/>
            </p:cNvSpPr>
            <p:nvPr/>
          </p:nvSpPr>
          <p:spPr bwMode="auto">
            <a:xfrm>
              <a:off x="3020" y="1672"/>
              <a:ext cx="2462" cy="3503"/>
            </a:xfrm>
            <a:custGeom>
              <a:avLst/>
              <a:gdLst>
                <a:gd name="T0" fmla="*/ 940 w 1041"/>
                <a:gd name="T1" fmla="*/ 49 h 1481"/>
                <a:gd name="T2" fmla="*/ 940 w 1041"/>
                <a:gd name="T3" fmla="*/ 766 h 1481"/>
                <a:gd name="T4" fmla="*/ 804 w 1041"/>
                <a:gd name="T5" fmla="*/ 766 h 1481"/>
                <a:gd name="T6" fmla="*/ 848 w 1041"/>
                <a:gd name="T7" fmla="*/ 662 h 1481"/>
                <a:gd name="T8" fmla="*/ 848 w 1041"/>
                <a:gd name="T9" fmla="*/ 148 h 1481"/>
                <a:gd name="T10" fmla="*/ 700 w 1041"/>
                <a:gd name="T11" fmla="*/ 0 h 1481"/>
                <a:gd name="T12" fmla="*/ 553 w 1041"/>
                <a:gd name="T13" fmla="*/ 148 h 1481"/>
                <a:gd name="T14" fmla="*/ 553 w 1041"/>
                <a:gd name="T15" fmla="*/ 585 h 1481"/>
                <a:gd name="T16" fmla="*/ 118 w 1041"/>
                <a:gd name="T17" fmla="*/ 554 h 1481"/>
                <a:gd name="T18" fmla="*/ 36 w 1041"/>
                <a:gd name="T19" fmla="*/ 583 h 1481"/>
                <a:gd name="T20" fmla="*/ 0 w 1041"/>
                <a:gd name="T21" fmla="*/ 665 h 1481"/>
                <a:gd name="T22" fmla="*/ 0 w 1041"/>
                <a:gd name="T23" fmla="*/ 1370 h 1481"/>
                <a:gd name="T24" fmla="*/ 111 w 1041"/>
                <a:gd name="T25" fmla="*/ 1481 h 1481"/>
                <a:gd name="T26" fmla="*/ 222 w 1041"/>
                <a:gd name="T27" fmla="*/ 1370 h 1481"/>
                <a:gd name="T28" fmla="*/ 222 w 1041"/>
                <a:gd name="T29" fmla="*/ 781 h 1481"/>
                <a:gd name="T30" fmla="*/ 302 w 1041"/>
                <a:gd name="T31" fmla="*/ 786 h 1481"/>
                <a:gd name="T32" fmla="*/ 302 w 1041"/>
                <a:gd name="T33" fmla="*/ 1464 h 1481"/>
                <a:gd name="T34" fmla="*/ 401 w 1041"/>
                <a:gd name="T35" fmla="*/ 1464 h 1481"/>
                <a:gd name="T36" fmla="*/ 401 w 1041"/>
                <a:gd name="T37" fmla="*/ 865 h 1481"/>
                <a:gd name="T38" fmla="*/ 942 w 1041"/>
                <a:gd name="T39" fmla="*/ 865 h 1481"/>
                <a:gd name="T40" fmla="*/ 942 w 1041"/>
                <a:gd name="T41" fmla="*/ 1467 h 1481"/>
                <a:gd name="T42" fmla="*/ 1041 w 1041"/>
                <a:gd name="T43" fmla="*/ 1467 h 1481"/>
                <a:gd name="T44" fmla="*/ 1041 w 1041"/>
                <a:gd name="T45" fmla="*/ 49 h 1481"/>
                <a:gd name="T46" fmla="*/ 940 w 1041"/>
                <a:gd name="T47" fmla="*/ 49 h 1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41" h="1481">
                  <a:moveTo>
                    <a:pt x="940" y="49"/>
                  </a:moveTo>
                  <a:cubicBezTo>
                    <a:pt x="940" y="766"/>
                    <a:pt x="940" y="766"/>
                    <a:pt x="940" y="766"/>
                  </a:cubicBezTo>
                  <a:cubicBezTo>
                    <a:pt x="804" y="766"/>
                    <a:pt x="804" y="766"/>
                    <a:pt x="804" y="766"/>
                  </a:cubicBezTo>
                  <a:cubicBezTo>
                    <a:pt x="831" y="740"/>
                    <a:pt x="848" y="703"/>
                    <a:pt x="848" y="662"/>
                  </a:cubicBezTo>
                  <a:cubicBezTo>
                    <a:pt x="848" y="148"/>
                    <a:pt x="848" y="148"/>
                    <a:pt x="848" y="148"/>
                  </a:cubicBezTo>
                  <a:cubicBezTo>
                    <a:pt x="848" y="66"/>
                    <a:pt x="783" y="0"/>
                    <a:pt x="700" y="0"/>
                  </a:cubicBezTo>
                  <a:cubicBezTo>
                    <a:pt x="618" y="0"/>
                    <a:pt x="553" y="66"/>
                    <a:pt x="553" y="148"/>
                  </a:cubicBezTo>
                  <a:cubicBezTo>
                    <a:pt x="553" y="585"/>
                    <a:pt x="553" y="585"/>
                    <a:pt x="553" y="585"/>
                  </a:cubicBezTo>
                  <a:cubicBezTo>
                    <a:pt x="118" y="554"/>
                    <a:pt x="118" y="554"/>
                    <a:pt x="118" y="554"/>
                  </a:cubicBezTo>
                  <a:cubicBezTo>
                    <a:pt x="87" y="551"/>
                    <a:pt x="58" y="561"/>
                    <a:pt x="36" y="583"/>
                  </a:cubicBezTo>
                  <a:cubicBezTo>
                    <a:pt x="14" y="604"/>
                    <a:pt x="0" y="633"/>
                    <a:pt x="0" y="665"/>
                  </a:cubicBezTo>
                  <a:cubicBezTo>
                    <a:pt x="0" y="1370"/>
                    <a:pt x="0" y="1370"/>
                    <a:pt x="0" y="1370"/>
                  </a:cubicBezTo>
                  <a:cubicBezTo>
                    <a:pt x="0" y="1431"/>
                    <a:pt x="48" y="1481"/>
                    <a:pt x="111" y="1481"/>
                  </a:cubicBezTo>
                  <a:cubicBezTo>
                    <a:pt x="171" y="1481"/>
                    <a:pt x="222" y="1433"/>
                    <a:pt x="222" y="1370"/>
                  </a:cubicBezTo>
                  <a:cubicBezTo>
                    <a:pt x="222" y="781"/>
                    <a:pt x="222" y="781"/>
                    <a:pt x="222" y="781"/>
                  </a:cubicBezTo>
                  <a:cubicBezTo>
                    <a:pt x="302" y="786"/>
                    <a:pt x="302" y="786"/>
                    <a:pt x="302" y="786"/>
                  </a:cubicBezTo>
                  <a:cubicBezTo>
                    <a:pt x="302" y="1464"/>
                    <a:pt x="302" y="1464"/>
                    <a:pt x="302" y="1464"/>
                  </a:cubicBezTo>
                  <a:cubicBezTo>
                    <a:pt x="401" y="1464"/>
                    <a:pt x="401" y="1464"/>
                    <a:pt x="401" y="1464"/>
                  </a:cubicBezTo>
                  <a:cubicBezTo>
                    <a:pt x="401" y="865"/>
                    <a:pt x="401" y="865"/>
                    <a:pt x="401" y="865"/>
                  </a:cubicBezTo>
                  <a:cubicBezTo>
                    <a:pt x="942" y="865"/>
                    <a:pt x="942" y="865"/>
                    <a:pt x="942" y="865"/>
                  </a:cubicBezTo>
                  <a:cubicBezTo>
                    <a:pt x="942" y="1467"/>
                    <a:pt x="942" y="1467"/>
                    <a:pt x="942" y="1467"/>
                  </a:cubicBezTo>
                  <a:cubicBezTo>
                    <a:pt x="1041" y="1467"/>
                    <a:pt x="1041" y="1467"/>
                    <a:pt x="1041" y="1467"/>
                  </a:cubicBezTo>
                  <a:cubicBezTo>
                    <a:pt x="1041" y="49"/>
                    <a:pt x="1041" y="49"/>
                    <a:pt x="1041" y="49"/>
                  </a:cubicBezTo>
                  <a:lnTo>
                    <a:pt x="94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7" name="Rectangle 13"/>
            <p:cNvSpPr>
              <a:spLocks noChangeArrowheads="1"/>
            </p:cNvSpPr>
            <p:nvPr/>
          </p:nvSpPr>
          <p:spPr bwMode="auto">
            <a:xfrm>
              <a:off x="1426" y="2427"/>
              <a:ext cx="2633" cy="29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8" name="Oval 14"/>
            <p:cNvSpPr>
              <a:spLocks noChangeArrowheads="1"/>
            </p:cNvSpPr>
            <p:nvPr/>
          </p:nvSpPr>
          <p:spPr bwMode="auto">
            <a:xfrm>
              <a:off x="3969" y="674"/>
              <a:ext cx="880" cy="8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1" name="Freeform 15"/>
            <p:cNvSpPr>
              <a:spLocks/>
            </p:cNvSpPr>
            <p:nvPr/>
          </p:nvSpPr>
          <p:spPr bwMode="auto">
            <a:xfrm>
              <a:off x="2" y="1672"/>
              <a:ext cx="2462" cy="3503"/>
            </a:xfrm>
            <a:custGeom>
              <a:avLst/>
              <a:gdLst>
                <a:gd name="T0" fmla="*/ 923 w 1041"/>
                <a:gd name="T1" fmla="*/ 554 h 1481"/>
                <a:gd name="T2" fmla="*/ 486 w 1041"/>
                <a:gd name="T3" fmla="*/ 573 h 1481"/>
                <a:gd name="T4" fmla="*/ 486 w 1041"/>
                <a:gd name="T5" fmla="*/ 148 h 1481"/>
                <a:gd name="T6" fmla="*/ 338 w 1041"/>
                <a:gd name="T7" fmla="*/ 0 h 1481"/>
                <a:gd name="T8" fmla="*/ 191 w 1041"/>
                <a:gd name="T9" fmla="*/ 148 h 1481"/>
                <a:gd name="T10" fmla="*/ 191 w 1041"/>
                <a:gd name="T11" fmla="*/ 662 h 1481"/>
                <a:gd name="T12" fmla="*/ 234 w 1041"/>
                <a:gd name="T13" fmla="*/ 766 h 1481"/>
                <a:gd name="T14" fmla="*/ 99 w 1041"/>
                <a:gd name="T15" fmla="*/ 766 h 1481"/>
                <a:gd name="T16" fmla="*/ 99 w 1041"/>
                <a:gd name="T17" fmla="*/ 49 h 1481"/>
                <a:gd name="T18" fmla="*/ 0 w 1041"/>
                <a:gd name="T19" fmla="*/ 49 h 1481"/>
                <a:gd name="T20" fmla="*/ 0 w 1041"/>
                <a:gd name="T21" fmla="*/ 1467 h 1481"/>
                <a:gd name="T22" fmla="*/ 99 w 1041"/>
                <a:gd name="T23" fmla="*/ 1467 h 1481"/>
                <a:gd name="T24" fmla="*/ 99 w 1041"/>
                <a:gd name="T25" fmla="*/ 865 h 1481"/>
                <a:gd name="T26" fmla="*/ 640 w 1041"/>
                <a:gd name="T27" fmla="*/ 865 h 1481"/>
                <a:gd name="T28" fmla="*/ 640 w 1041"/>
                <a:gd name="T29" fmla="*/ 1467 h 1481"/>
                <a:gd name="T30" fmla="*/ 739 w 1041"/>
                <a:gd name="T31" fmla="*/ 1467 h 1481"/>
                <a:gd name="T32" fmla="*/ 739 w 1041"/>
                <a:gd name="T33" fmla="*/ 781 h 1481"/>
                <a:gd name="T34" fmla="*/ 819 w 1041"/>
                <a:gd name="T35" fmla="*/ 778 h 1481"/>
                <a:gd name="T36" fmla="*/ 819 w 1041"/>
                <a:gd name="T37" fmla="*/ 1370 h 1481"/>
                <a:gd name="T38" fmla="*/ 930 w 1041"/>
                <a:gd name="T39" fmla="*/ 1481 h 1481"/>
                <a:gd name="T40" fmla="*/ 1041 w 1041"/>
                <a:gd name="T41" fmla="*/ 1370 h 1481"/>
                <a:gd name="T42" fmla="*/ 1041 w 1041"/>
                <a:gd name="T43" fmla="*/ 662 h 1481"/>
                <a:gd name="T44" fmla="*/ 1008 w 1041"/>
                <a:gd name="T45" fmla="*/ 583 h 1481"/>
                <a:gd name="T46" fmla="*/ 923 w 1041"/>
                <a:gd name="T47" fmla="*/ 554 h 1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41" h="1481">
                  <a:moveTo>
                    <a:pt x="923" y="554"/>
                  </a:moveTo>
                  <a:cubicBezTo>
                    <a:pt x="486" y="573"/>
                    <a:pt x="486" y="573"/>
                    <a:pt x="486" y="573"/>
                  </a:cubicBezTo>
                  <a:cubicBezTo>
                    <a:pt x="486" y="148"/>
                    <a:pt x="486" y="148"/>
                    <a:pt x="486" y="148"/>
                  </a:cubicBezTo>
                  <a:cubicBezTo>
                    <a:pt x="486" y="66"/>
                    <a:pt x="420" y="0"/>
                    <a:pt x="338" y="0"/>
                  </a:cubicBezTo>
                  <a:cubicBezTo>
                    <a:pt x="256" y="0"/>
                    <a:pt x="191" y="66"/>
                    <a:pt x="191" y="148"/>
                  </a:cubicBezTo>
                  <a:cubicBezTo>
                    <a:pt x="191" y="662"/>
                    <a:pt x="191" y="662"/>
                    <a:pt x="191" y="662"/>
                  </a:cubicBezTo>
                  <a:cubicBezTo>
                    <a:pt x="191" y="703"/>
                    <a:pt x="208" y="740"/>
                    <a:pt x="234" y="766"/>
                  </a:cubicBezTo>
                  <a:cubicBezTo>
                    <a:pt x="99" y="766"/>
                    <a:pt x="99" y="766"/>
                    <a:pt x="99" y="766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1467"/>
                    <a:pt x="0" y="1467"/>
                    <a:pt x="0" y="1467"/>
                  </a:cubicBezTo>
                  <a:cubicBezTo>
                    <a:pt x="99" y="1467"/>
                    <a:pt x="99" y="1467"/>
                    <a:pt x="99" y="1467"/>
                  </a:cubicBezTo>
                  <a:cubicBezTo>
                    <a:pt x="99" y="865"/>
                    <a:pt x="99" y="865"/>
                    <a:pt x="99" y="865"/>
                  </a:cubicBezTo>
                  <a:cubicBezTo>
                    <a:pt x="640" y="865"/>
                    <a:pt x="640" y="865"/>
                    <a:pt x="640" y="865"/>
                  </a:cubicBezTo>
                  <a:cubicBezTo>
                    <a:pt x="640" y="1467"/>
                    <a:pt x="640" y="1467"/>
                    <a:pt x="640" y="1467"/>
                  </a:cubicBezTo>
                  <a:cubicBezTo>
                    <a:pt x="739" y="1467"/>
                    <a:pt x="739" y="1467"/>
                    <a:pt x="739" y="1467"/>
                  </a:cubicBezTo>
                  <a:cubicBezTo>
                    <a:pt x="739" y="781"/>
                    <a:pt x="739" y="781"/>
                    <a:pt x="739" y="781"/>
                  </a:cubicBezTo>
                  <a:cubicBezTo>
                    <a:pt x="819" y="778"/>
                    <a:pt x="819" y="778"/>
                    <a:pt x="819" y="778"/>
                  </a:cubicBezTo>
                  <a:cubicBezTo>
                    <a:pt x="819" y="1370"/>
                    <a:pt x="819" y="1370"/>
                    <a:pt x="819" y="1370"/>
                  </a:cubicBezTo>
                  <a:cubicBezTo>
                    <a:pt x="819" y="1431"/>
                    <a:pt x="867" y="1481"/>
                    <a:pt x="930" y="1481"/>
                  </a:cubicBezTo>
                  <a:cubicBezTo>
                    <a:pt x="993" y="1481"/>
                    <a:pt x="1041" y="1433"/>
                    <a:pt x="1041" y="1370"/>
                  </a:cubicBezTo>
                  <a:cubicBezTo>
                    <a:pt x="1041" y="662"/>
                    <a:pt x="1041" y="662"/>
                    <a:pt x="1041" y="662"/>
                  </a:cubicBezTo>
                  <a:cubicBezTo>
                    <a:pt x="1041" y="633"/>
                    <a:pt x="1029" y="604"/>
                    <a:pt x="1008" y="583"/>
                  </a:cubicBezTo>
                  <a:cubicBezTo>
                    <a:pt x="981" y="563"/>
                    <a:pt x="952" y="551"/>
                    <a:pt x="923" y="5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3" name="Oval 16"/>
            <p:cNvSpPr>
              <a:spLocks noChangeArrowheads="1"/>
            </p:cNvSpPr>
            <p:nvPr/>
          </p:nvSpPr>
          <p:spPr bwMode="auto">
            <a:xfrm>
              <a:off x="631" y="674"/>
              <a:ext cx="880" cy="88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4" name="Freeform 17"/>
            <p:cNvSpPr>
              <a:spLocks noEditPoints="1"/>
            </p:cNvSpPr>
            <p:nvPr/>
          </p:nvSpPr>
          <p:spPr bwMode="auto">
            <a:xfrm>
              <a:off x="1592" y="-64"/>
              <a:ext cx="1348" cy="1433"/>
            </a:xfrm>
            <a:custGeom>
              <a:avLst/>
              <a:gdLst>
                <a:gd name="T0" fmla="*/ 145 w 570"/>
                <a:gd name="T1" fmla="*/ 502 h 606"/>
                <a:gd name="T2" fmla="*/ 77 w 570"/>
                <a:gd name="T3" fmla="*/ 606 h 606"/>
                <a:gd name="T4" fmla="*/ 350 w 570"/>
                <a:gd name="T5" fmla="*/ 534 h 606"/>
                <a:gd name="T6" fmla="*/ 534 w 570"/>
                <a:gd name="T7" fmla="*/ 220 h 606"/>
                <a:gd name="T8" fmla="*/ 220 w 570"/>
                <a:gd name="T9" fmla="*/ 36 h 606"/>
                <a:gd name="T10" fmla="*/ 36 w 570"/>
                <a:gd name="T11" fmla="*/ 350 h 606"/>
                <a:gd name="T12" fmla="*/ 145 w 570"/>
                <a:gd name="T13" fmla="*/ 502 h 606"/>
                <a:gd name="T14" fmla="*/ 406 w 570"/>
                <a:gd name="T15" fmla="*/ 241 h 606"/>
                <a:gd name="T16" fmla="*/ 444 w 570"/>
                <a:gd name="T17" fmla="*/ 280 h 606"/>
                <a:gd name="T18" fmla="*/ 406 w 570"/>
                <a:gd name="T19" fmla="*/ 319 h 606"/>
                <a:gd name="T20" fmla="*/ 367 w 570"/>
                <a:gd name="T21" fmla="*/ 280 h 606"/>
                <a:gd name="T22" fmla="*/ 406 w 570"/>
                <a:gd name="T23" fmla="*/ 241 h 606"/>
                <a:gd name="T24" fmla="*/ 285 w 570"/>
                <a:gd name="T25" fmla="*/ 241 h 606"/>
                <a:gd name="T26" fmla="*/ 323 w 570"/>
                <a:gd name="T27" fmla="*/ 280 h 606"/>
                <a:gd name="T28" fmla="*/ 285 w 570"/>
                <a:gd name="T29" fmla="*/ 319 h 606"/>
                <a:gd name="T30" fmla="*/ 246 w 570"/>
                <a:gd name="T31" fmla="*/ 280 h 606"/>
                <a:gd name="T32" fmla="*/ 285 w 570"/>
                <a:gd name="T33" fmla="*/ 241 h 606"/>
                <a:gd name="T34" fmla="*/ 164 w 570"/>
                <a:gd name="T35" fmla="*/ 241 h 606"/>
                <a:gd name="T36" fmla="*/ 203 w 570"/>
                <a:gd name="T37" fmla="*/ 280 h 606"/>
                <a:gd name="T38" fmla="*/ 164 w 570"/>
                <a:gd name="T39" fmla="*/ 319 h 606"/>
                <a:gd name="T40" fmla="*/ 125 w 570"/>
                <a:gd name="T41" fmla="*/ 280 h 606"/>
                <a:gd name="T42" fmla="*/ 164 w 570"/>
                <a:gd name="T43" fmla="*/ 241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0" h="606">
                  <a:moveTo>
                    <a:pt x="145" y="502"/>
                  </a:moveTo>
                  <a:cubicBezTo>
                    <a:pt x="77" y="606"/>
                    <a:pt x="77" y="606"/>
                    <a:pt x="77" y="606"/>
                  </a:cubicBezTo>
                  <a:cubicBezTo>
                    <a:pt x="350" y="534"/>
                    <a:pt x="350" y="534"/>
                    <a:pt x="350" y="534"/>
                  </a:cubicBezTo>
                  <a:cubicBezTo>
                    <a:pt x="488" y="498"/>
                    <a:pt x="570" y="357"/>
                    <a:pt x="534" y="220"/>
                  </a:cubicBezTo>
                  <a:cubicBezTo>
                    <a:pt x="497" y="82"/>
                    <a:pt x="357" y="0"/>
                    <a:pt x="220" y="36"/>
                  </a:cubicBezTo>
                  <a:cubicBezTo>
                    <a:pt x="82" y="72"/>
                    <a:pt x="0" y="212"/>
                    <a:pt x="36" y="350"/>
                  </a:cubicBezTo>
                  <a:cubicBezTo>
                    <a:pt x="50" y="415"/>
                    <a:pt x="92" y="469"/>
                    <a:pt x="145" y="502"/>
                  </a:cubicBezTo>
                  <a:close/>
                  <a:moveTo>
                    <a:pt x="406" y="241"/>
                  </a:moveTo>
                  <a:cubicBezTo>
                    <a:pt x="427" y="241"/>
                    <a:pt x="444" y="258"/>
                    <a:pt x="444" y="280"/>
                  </a:cubicBezTo>
                  <a:cubicBezTo>
                    <a:pt x="444" y="302"/>
                    <a:pt x="427" y="319"/>
                    <a:pt x="406" y="319"/>
                  </a:cubicBezTo>
                  <a:cubicBezTo>
                    <a:pt x="384" y="319"/>
                    <a:pt x="367" y="302"/>
                    <a:pt x="367" y="280"/>
                  </a:cubicBezTo>
                  <a:cubicBezTo>
                    <a:pt x="367" y="258"/>
                    <a:pt x="384" y="241"/>
                    <a:pt x="406" y="241"/>
                  </a:cubicBezTo>
                  <a:close/>
                  <a:moveTo>
                    <a:pt x="285" y="241"/>
                  </a:moveTo>
                  <a:cubicBezTo>
                    <a:pt x="307" y="241"/>
                    <a:pt x="323" y="258"/>
                    <a:pt x="323" y="280"/>
                  </a:cubicBezTo>
                  <a:cubicBezTo>
                    <a:pt x="323" y="302"/>
                    <a:pt x="307" y="319"/>
                    <a:pt x="285" y="319"/>
                  </a:cubicBezTo>
                  <a:cubicBezTo>
                    <a:pt x="263" y="319"/>
                    <a:pt x="246" y="302"/>
                    <a:pt x="246" y="280"/>
                  </a:cubicBezTo>
                  <a:cubicBezTo>
                    <a:pt x="249" y="258"/>
                    <a:pt x="265" y="241"/>
                    <a:pt x="285" y="241"/>
                  </a:cubicBezTo>
                  <a:close/>
                  <a:moveTo>
                    <a:pt x="164" y="241"/>
                  </a:moveTo>
                  <a:cubicBezTo>
                    <a:pt x="186" y="241"/>
                    <a:pt x="203" y="258"/>
                    <a:pt x="203" y="280"/>
                  </a:cubicBezTo>
                  <a:cubicBezTo>
                    <a:pt x="203" y="302"/>
                    <a:pt x="186" y="319"/>
                    <a:pt x="164" y="319"/>
                  </a:cubicBezTo>
                  <a:cubicBezTo>
                    <a:pt x="142" y="319"/>
                    <a:pt x="125" y="302"/>
                    <a:pt x="125" y="280"/>
                  </a:cubicBezTo>
                  <a:cubicBezTo>
                    <a:pt x="125" y="258"/>
                    <a:pt x="142" y="241"/>
                    <a:pt x="164" y="2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5297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1765280" cy="1393824"/>
          </a:xfrm>
        </p:spPr>
        <p:txBody>
          <a:bodyPr>
            <a:normAutofit/>
          </a:bodyPr>
          <a:lstStyle/>
          <a:p>
            <a:r>
              <a:rPr lang="en-US" dirty="0"/>
              <a:t>BENEFIT 11: KEEP THE SALES PRICE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20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Because no documents are recorded and thus no notice of sale to the assessor, the selling price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is confidential in nature.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729366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1353800" cy="1439217"/>
          </a:xfrm>
        </p:spPr>
        <p:txBody>
          <a:bodyPr>
            <a:normAutofit/>
          </a:bodyPr>
          <a:lstStyle/>
          <a:p>
            <a:r>
              <a:rPr lang="en-US" dirty="0"/>
              <a:t>BENEFIT 12:   ELIMINATE TITLE INSURANCE TRANSFER CO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21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The existing title insurance policy remains in effect as long as the Land Trust is active.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495363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ENEFIT 13:   AVOIDS PROBAT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22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790574" y="1447801"/>
            <a:ext cx="10791825" cy="4067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>
                <a:solidFill>
                  <a:schemeClr val="tx1"/>
                </a:solidFill>
              </a:rPr>
              <a:t> Probate </a:t>
            </a:r>
            <a:r>
              <a:rPr lang="en-US" sz="2400" b="1" dirty="0">
                <a:solidFill>
                  <a:schemeClr val="tx1"/>
                </a:solidFill>
              </a:rPr>
              <a:t>avoids delay.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90574" y="1927538"/>
            <a:ext cx="10791825" cy="4067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sz="2400" b="1" dirty="0">
                <a:solidFill>
                  <a:schemeClr val="tx1"/>
                </a:solidFill>
              </a:rPr>
              <a:t>No lengthy tie-up of assets.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90574" y="2407276"/>
            <a:ext cx="10791825" cy="4067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sz="2400" b="1" dirty="0">
                <a:solidFill>
                  <a:schemeClr val="tx1"/>
                </a:solidFill>
              </a:rPr>
              <a:t>Estate taxes might not be assessed.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90574" y="2887013"/>
            <a:ext cx="10791825" cy="4067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sz="2400" b="1" dirty="0">
                <a:solidFill>
                  <a:schemeClr val="tx1"/>
                </a:solidFill>
              </a:rPr>
              <a:t>You can name the contingent beneficiaries in the land trust.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90574" y="3366750"/>
            <a:ext cx="10791825" cy="4067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sz="2400" b="1" dirty="0">
                <a:solidFill>
                  <a:schemeClr val="tx1"/>
                </a:solidFill>
              </a:rPr>
              <a:t>This avoids bequeathing your contingent assets under your will.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90574" y="3846488"/>
            <a:ext cx="10791825" cy="4067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sz="2400" b="1" dirty="0">
                <a:solidFill>
                  <a:schemeClr val="tx1"/>
                </a:solidFill>
              </a:rPr>
              <a:t>You can name these contingent beneficiaries in a 2</a:t>
            </a:r>
            <a:r>
              <a:rPr lang="en-US" sz="2400" b="1" baseline="30000" dirty="0">
                <a:solidFill>
                  <a:schemeClr val="tx1"/>
                </a:solidFill>
              </a:rPr>
              <a:t>nd</a:t>
            </a:r>
            <a:r>
              <a:rPr lang="en-US" sz="2400" b="1" dirty="0">
                <a:solidFill>
                  <a:schemeClr val="tx1"/>
                </a:solidFill>
              </a:rPr>
              <a:t> revocable trust.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90574" y="4326225"/>
            <a:ext cx="10791825" cy="4067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  </a:t>
            </a:r>
            <a:r>
              <a:rPr lang="en-US" sz="2400" b="1" dirty="0">
                <a:solidFill>
                  <a:schemeClr val="tx1"/>
                </a:solidFill>
              </a:rPr>
              <a:t>Executor fees are high.</a:t>
            </a:r>
            <a:r>
              <a:rPr lang="en-US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2" name="Rectangle 11"/>
          <p:cNvSpPr/>
          <p:nvPr/>
        </p:nvSpPr>
        <p:spPr>
          <a:xfrm>
            <a:off x="790574" y="4805962"/>
            <a:ext cx="10791825" cy="4067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  </a:t>
            </a:r>
            <a:r>
              <a:rPr lang="en-US" sz="2400" b="1">
                <a:solidFill>
                  <a:schemeClr val="tx1"/>
                </a:solidFill>
              </a:rPr>
              <a:t>Non </a:t>
            </a:r>
            <a:r>
              <a:rPr lang="en-US" sz="2400" b="1" dirty="0">
                <a:solidFill>
                  <a:schemeClr val="tx1"/>
                </a:solidFill>
              </a:rPr>
              <a:t>residents of Hawaii can reduce state </a:t>
            </a:r>
            <a:r>
              <a:rPr lang="en-US" sz="2400" b="1">
                <a:solidFill>
                  <a:schemeClr val="tx1"/>
                </a:solidFill>
              </a:rPr>
              <a:t>inheritance taxes.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90574" y="5285700"/>
            <a:ext cx="10791825" cy="4067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  </a:t>
            </a:r>
            <a:r>
              <a:rPr lang="en-US" sz="2400" b="1" dirty="0">
                <a:solidFill>
                  <a:schemeClr val="tx1"/>
                </a:solidFill>
              </a:rPr>
              <a:t>Non residents probate reduction or elimination rules for non-resident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90574" y="5765435"/>
            <a:ext cx="10791825" cy="4067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  </a:t>
            </a:r>
            <a:r>
              <a:rPr lang="en-US" sz="2400" b="1" dirty="0">
                <a:solidFill>
                  <a:schemeClr val="tx1"/>
                </a:solidFill>
              </a:rPr>
              <a:t>Terms of drafting 2</a:t>
            </a:r>
            <a:r>
              <a:rPr lang="en-US" sz="2400" b="1" baseline="30000" dirty="0">
                <a:solidFill>
                  <a:schemeClr val="tx1"/>
                </a:solidFill>
              </a:rPr>
              <a:t>nd</a:t>
            </a:r>
            <a:r>
              <a:rPr lang="en-US" sz="2400" b="1" dirty="0">
                <a:solidFill>
                  <a:schemeClr val="tx1"/>
                </a:solidFill>
              </a:rPr>
              <a:t> revocable trust might eliminate federal income tax.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609600" y="1447801"/>
            <a:ext cx="91440" cy="4724400"/>
            <a:chOff x="762000" y="1600201"/>
            <a:chExt cx="10972800" cy="4724400"/>
          </a:xfrm>
          <a:solidFill>
            <a:srgbClr val="00569B"/>
          </a:solidFill>
        </p:grpSpPr>
        <p:sp>
          <p:nvSpPr>
            <p:cNvPr id="17" name="Rectangle 16"/>
            <p:cNvSpPr/>
            <p:nvPr/>
          </p:nvSpPr>
          <p:spPr>
            <a:xfrm>
              <a:off x="762000" y="1600201"/>
              <a:ext cx="10972800" cy="40676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762000" y="2079938"/>
              <a:ext cx="10972800" cy="40676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762000" y="2559676"/>
              <a:ext cx="10972800" cy="40676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762000" y="3039413"/>
              <a:ext cx="10972800" cy="40676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762000" y="3519150"/>
              <a:ext cx="10972800" cy="40676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762000" y="3998888"/>
              <a:ext cx="10972800" cy="40676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762000" y="4478625"/>
              <a:ext cx="10972800" cy="40676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762000" y="4958362"/>
              <a:ext cx="10972800" cy="40676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762000" y="5438100"/>
              <a:ext cx="10972800" cy="40676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>
            <a:xfrm>
              <a:off x="762000" y="5917835"/>
              <a:ext cx="10972800" cy="40676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782816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013324" cy="1511654"/>
          </a:xfrm>
        </p:spPr>
        <p:txBody>
          <a:bodyPr>
            <a:normAutofit/>
          </a:bodyPr>
          <a:lstStyle/>
          <a:p>
            <a:r>
              <a:rPr lang="en-US"/>
              <a:t>BENEFIT </a:t>
            </a:r>
            <a:r>
              <a:rPr lang="en-US" dirty="0"/>
              <a:t>14:  LIMIT LENDER’S SECURITY AGAINST THE PROPER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23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Limit lenders’ security against the property against property and trust (unless guarantees have been signed. 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 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(Trustee must sign under the name of the 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trust, but add “not individually”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633345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013324" cy="1259830"/>
          </a:xfrm>
        </p:spPr>
        <p:txBody>
          <a:bodyPr>
            <a:normAutofit fontScale="90000"/>
          </a:bodyPr>
          <a:lstStyle/>
          <a:p>
            <a:r>
              <a:rPr lang="en-US"/>
              <a:t>BENEFIT </a:t>
            </a:r>
            <a:r>
              <a:rPr lang="en-US" dirty="0"/>
              <a:t>15: TRUE LENDER CONFIDENTIALITY RE: TENA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24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Trust beneficiary name is not on the lease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Therefore, tenant doesn’t know the name of the  true owner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Now, when “landlord negotiates with 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tenant, “goodwill” is maintained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4062099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013324" cy="1336675"/>
          </a:xfrm>
        </p:spPr>
        <p:txBody>
          <a:bodyPr>
            <a:normAutofit/>
          </a:bodyPr>
          <a:lstStyle/>
          <a:p>
            <a:r>
              <a:rPr lang="en-US"/>
              <a:t>BENEFIT </a:t>
            </a:r>
            <a:r>
              <a:rPr lang="en-US" dirty="0"/>
              <a:t>16: MAY BE DRAWN AS PARTNERSHIP OR JOINT VEN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25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Greater flexibility in creating capital structures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Eliminate double taxation at spouse’s death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Property owned jointly can be handled by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one of the owners. (death, incompetency,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etc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756266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013324" cy="1406524"/>
          </a:xfrm>
        </p:spPr>
        <p:txBody>
          <a:bodyPr>
            <a:normAutofit/>
          </a:bodyPr>
          <a:lstStyle/>
          <a:p>
            <a:r>
              <a:rPr lang="en-US" dirty="0"/>
              <a:t>BENEFIT 17: AN IRA CAN PURCHASE PROPERTY IN A LAND TRU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26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r>
              <a:rPr lang="en-US" sz="3600" b="1">
                <a:solidFill>
                  <a:schemeClr val="tx1"/>
                </a:solidFill>
              </a:rPr>
              <a:t>Client may </a:t>
            </a:r>
            <a:r>
              <a:rPr lang="en-US" sz="3600" b="1" dirty="0">
                <a:solidFill>
                  <a:schemeClr val="tx1"/>
                </a:solidFill>
              </a:rPr>
              <a:t>continue to preserve asset protection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When the IRA owns part or all of the beneficial interest in the land trust, all of the advantages which are stated in this course can be preserved.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4510658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013324" cy="814797"/>
          </a:xfrm>
        </p:spPr>
        <p:txBody>
          <a:bodyPr>
            <a:normAutofit fontScale="90000"/>
          </a:bodyPr>
          <a:lstStyle/>
          <a:p>
            <a:r>
              <a:rPr lang="en-US" dirty="0"/>
              <a:t> BENEFIT 17: A </a:t>
            </a:r>
            <a:r>
              <a:rPr lang="en-US"/>
              <a:t>NEW BENEFICIARY </a:t>
            </a:r>
            <a:r>
              <a:rPr lang="en-US" dirty="0"/>
              <a:t>MAY MAKE CHAN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27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Interest rather than property is transferred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New beneficial owner may wish to make changes for future generations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This avoids creating separate entities.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748860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013324" cy="1439217"/>
          </a:xfrm>
        </p:spPr>
        <p:txBody>
          <a:bodyPr>
            <a:normAutofit/>
          </a:bodyPr>
          <a:lstStyle/>
          <a:p>
            <a:r>
              <a:rPr lang="en-US" dirty="0"/>
              <a:t>BENEFIT 19: CHANGES ONLY NEED TO BE SIGNED BY BENEFICIA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28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Beneficiary may amend his own documents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Only beneficiary need to sign document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Trustee signs transfers and minor tasks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1437948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514773"/>
            <a:ext cx="12013324" cy="996882"/>
          </a:xfrm>
        </p:spPr>
        <p:txBody>
          <a:bodyPr>
            <a:normAutofit fontScale="90000"/>
          </a:bodyPr>
          <a:lstStyle/>
          <a:p>
            <a:r>
              <a:rPr lang="en-US"/>
              <a:t>BENEFIT </a:t>
            </a:r>
            <a:r>
              <a:rPr lang="en-US" dirty="0"/>
              <a:t>20:   NO DOCUMENTARY STAMPS </a:t>
            </a:r>
            <a:r>
              <a:rPr lang="en-US"/>
              <a:t>UPON ASSIGNMEN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29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Further, one saves on administrative and escrow fees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Confidentiality is preserved because there is</a:t>
            </a:r>
          </a:p>
          <a:p>
            <a:pPr>
              <a:spcBef>
                <a:spcPts val="600"/>
              </a:spcBef>
            </a:pPr>
            <a:r>
              <a:rPr lang="en-US" sz="3600" b="1">
                <a:solidFill>
                  <a:schemeClr val="tx1"/>
                </a:solidFill>
              </a:rPr>
              <a:t>No recording.</a:t>
            </a: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052406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179987"/>
          </a:xfrm>
        </p:spPr>
        <p:txBody>
          <a:bodyPr/>
          <a:lstStyle/>
          <a:p>
            <a:r>
              <a:rPr lang="en-US"/>
              <a:t>Our methodolog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684DE1-8CE9-4318-A22E-6A360B692DD5}" type="slidenum">
              <a:rPr lang="en-US" smtClean="0"/>
              <a:t>3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511664" y="5491902"/>
            <a:ext cx="9680336" cy="1027547"/>
          </a:xfrm>
          <a:prstGeom prst="rect">
            <a:avLst/>
          </a:prstGeom>
          <a:solidFill>
            <a:srgbClr val="33B3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055308" y="5548188"/>
            <a:ext cx="4225837" cy="58477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3200" b="1" dirty="0"/>
              <a:t>'Settlement is an Art"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4" t="20725" r="8075" b="2190"/>
          <a:stretch/>
        </p:blipFill>
        <p:spPr>
          <a:xfrm>
            <a:off x="217177" y="5250729"/>
            <a:ext cx="2604933" cy="1509892"/>
          </a:xfrm>
          <a:prstGeom prst="rect">
            <a:avLst/>
          </a:prstGeom>
          <a:effectLst>
            <a:innerShdw blurRad="114300">
              <a:prstClr val="black"/>
            </a:inn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2077" r="12809" b="8019"/>
          <a:stretch/>
        </p:blipFill>
        <p:spPr>
          <a:xfrm>
            <a:off x="6974156" y="922665"/>
            <a:ext cx="5217844" cy="4237853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6974155" y="922665"/>
            <a:ext cx="5217843" cy="4232747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Group 9"/>
          <p:cNvGrpSpPr/>
          <p:nvPr/>
        </p:nvGrpSpPr>
        <p:grpSpPr>
          <a:xfrm>
            <a:off x="8102320" y="920634"/>
            <a:ext cx="2476762" cy="4234780"/>
            <a:chOff x="5054320" y="749184"/>
            <a:chExt cx="2476762" cy="4234780"/>
          </a:xfrm>
        </p:grpSpPr>
        <p:sp>
          <p:nvSpPr>
            <p:cNvPr id="11" name="Rectangle 10"/>
            <p:cNvSpPr/>
            <p:nvPr/>
          </p:nvSpPr>
          <p:spPr>
            <a:xfrm>
              <a:off x="5054320" y="749184"/>
              <a:ext cx="43069" cy="42347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6144167" y="749184"/>
              <a:ext cx="43069" cy="42347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7488013" y="749184"/>
              <a:ext cx="43069" cy="42347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6713058" y="2343803"/>
            <a:ext cx="5478942" cy="1655351"/>
            <a:chOff x="2311218" y="2828669"/>
            <a:chExt cx="6832782" cy="1757188"/>
          </a:xfrm>
        </p:grpSpPr>
        <p:sp>
          <p:nvSpPr>
            <p:cNvPr id="15" name="Rectangle 14"/>
            <p:cNvSpPr/>
            <p:nvPr/>
          </p:nvSpPr>
          <p:spPr>
            <a:xfrm rot="5400000">
              <a:off x="5705422" y="-565535"/>
              <a:ext cx="44374" cy="683278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 rot="5400000">
              <a:off x="5704750" y="1146607"/>
              <a:ext cx="45719" cy="683278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7" name="Rectangle 16"/>
          <p:cNvSpPr/>
          <p:nvPr/>
        </p:nvSpPr>
        <p:spPr>
          <a:xfrm>
            <a:off x="0" y="2386812"/>
            <a:ext cx="8104094" cy="2775738"/>
          </a:xfrm>
          <a:prstGeom prst="rect">
            <a:avLst/>
          </a:prstGeom>
          <a:solidFill>
            <a:schemeClr val="tx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970218" y="2732644"/>
            <a:ext cx="6546562" cy="163121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We first survey the plot,</a:t>
            </a:r>
          </a:p>
          <a:p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           Then draw the model</a:t>
            </a:r>
          </a:p>
          <a:p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       Then we must rate the cost of erection</a:t>
            </a:r>
          </a:p>
          <a:p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              Which if we find outweighs ability,</a:t>
            </a:r>
          </a:p>
          <a:p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          What we do then but draw a new model</a:t>
            </a:r>
          </a:p>
        </p:txBody>
      </p:sp>
      <p:grpSp>
        <p:nvGrpSpPr>
          <p:cNvPr id="20" name="Group 19"/>
          <p:cNvGrpSpPr>
            <a:grpSpLocks noChangeAspect="1"/>
          </p:cNvGrpSpPr>
          <p:nvPr/>
        </p:nvGrpSpPr>
        <p:grpSpPr bwMode="auto">
          <a:xfrm>
            <a:off x="478308" y="2645357"/>
            <a:ext cx="375503" cy="327231"/>
            <a:chOff x="3281" y="662"/>
            <a:chExt cx="529" cy="461"/>
          </a:xfrm>
          <a:solidFill>
            <a:schemeClr val="bg1"/>
          </a:solidFill>
          <a:effectLst>
            <a:outerShdw dist="254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3281" y="662"/>
              <a:ext cx="252" cy="461"/>
            </a:xfrm>
            <a:custGeom>
              <a:avLst/>
              <a:gdLst>
                <a:gd name="T0" fmla="*/ 1203 w 1765"/>
                <a:gd name="T1" fmla="*/ 6 h 3228"/>
                <a:gd name="T2" fmla="*/ 1197 w 1765"/>
                <a:gd name="T3" fmla="*/ 38 h 3228"/>
                <a:gd name="T4" fmla="*/ 1169 w 1765"/>
                <a:gd name="T5" fmla="*/ 98 h 3228"/>
                <a:gd name="T6" fmla="*/ 1121 w 1765"/>
                <a:gd name="T7" fmla="*/ 183 h 3228"/>
                <a:gd name="T8" fmla="*/ 1059 w 1765"/>
                <a:gd name="T9" fmla="*/ 292 h 3228"/>
                <a:gd name="T10" fmla="*/ 988 w 1765"/>
                <a:gd name="T11" fmla="*/ 422 h 3228"/>
                <a:gd name="T12" fmla="*/ 911 w 1765"/>
                <a:gd name="T13" fmla="*/ 574 h 3228"/>
                <a:gd name="T14" fmla="*/ 831 w 1765"/>
                <a:gd name="T15" fmla="*/ 743 h 3228"/>
                <a:gd name="T16" fmla="*/ 754 w 1765"/>
                <a:gd name="T17" fmla="*/ 930 h 3228"/>
                <a:gd name="T18" fmla="*/ 685 w 1765"/>
                <a:gd name="T19" fmla="*/ 1131 h 3228"/>
                <a:gd name="T20" fmla="*/ 628 w 1765"/>
                <a:gd name="T21" fmla="*/ 1347 h 3228"/>
                <a:gd name="T22" fmla="*/ 666 w 1765"/>
                <a:gd name="T23" fmla="*/ 1477 h 3228"/>
                <a:gd name="T24" fmla="*/ 882 w 1765"/>
                <a:gd name="T25" fmla="*/ 1449 h 3228"/>
                <a:gd name="T26" fmla="*/ 1117 w 1765"/>
                <a:gd name="T27" fmla="*/ 1481 h 3228"/>
                <a:gd name="T28" fmla="*/ 1328 w 1765"/>
                <a:gd name="T29" fmla="*/ 1571 h 3228"/>
                <a:gd name="T30" fmla="*/ 1507 w 1765"/>
                <a:gd name="T31" fmla="*/ 1709 h 3228"/>
                <a:gd name="T32" fmla="*/ 1645 w 1765"/>
                <a:gd name="T33" fmla="*/ 1889 h 3228"/>
                <a:gd name="T34" fmla="*/ 1733 w 1765"/>
                <a:gd name="T35" fmla="*/ 2102 h 3228"/>
                <a:gd name="T36" fmla="*/ 1765 w 1765"/>
                <a:gd name="T37" fmla="*/ 2338 h 3228"/>
                <a:gd name="T38" fmla="*/ 1733 w 1765"/>
                <a:gd name="T39" fmla="*/ 2575 h 3228"/>
                <a:gd name="T40" fmla="*/ 1645 w 1765"/>
                <a:gd name="T41" fmla="*/ 2787 h 3228"/>
                <a:gd name="T42" fmla="*/ 1507 w 1765"/>
                <a:gd name="T43" fmla="*/ 2968 h 3228"/>
                <a:gd name="T44" fmla="*/ 1328 w 1765"/>
                <a:gd name="T45" fmla="*/ 3106 h 3228"/>
                <a:gd name="T46" fmla="*/ 1117 w 1765"/>
                <a:gd name="T47" fmla="*/ 3196 h 3228"/>
                <a:gd name="T48" fmla="*/ 882 w 1765"/>
                <a:gd name="T49" fmla="*/ 3228 h 3228"/>
                <a:gd name="T50" fmla="*/ 648 w 1765"/>
                <a:gd name="T51" fmla="*/ 3196 h 3228"/>
                <a:gd name="T52" fmla="*/ 437 w 1765"/>
                <a:gd name="T53" fmla="*/ 3106 h 3228"/>
                <a:gd name="T54" fmla="*/ 259 w 1765"/>
                <a:gd name="T55" fmla="*/ 2968 h 3228"/>
                <a:gd name="T56" fmla="*/ 121 w 1765"/>
                <a:gd name="T57" fmla="*/ 2787 h 3228"/>
                <a:gd name="T58" fmla="*/ 33 w 1765"/>
                <a:gd name="T59" fmla="*/ 2575 h 3228"/>
                <a:gd name="T60" fmla="*/ 1 w 1765"/>
                <a:gd name="T61" fmla="*/ 2338 h 3228"/>
                <a:gd name="T62" fmla="*/ 0 w 1765"/>
                <a:gd name="T63" fmla="*/ 2319 h 3228"/>
                <a:gd name="T64" fmla="*/ 0 w 1765"/>
                <a:gd name="T65" fmla="*/ 2242 h 3228"/>
                <a:gd name="T66" fmla="*/ 5 w 1765"/>
                <a:gd name="T67" fmla="*/ 2116 h 3228"/>
                <a:gd name="T68" fmla="*/ 18 w 1765"/>
                <a:gd name="T69" fmla="*/ 1948 h 3228"/>
                <a:gd name="T70" fmla="*/ 44 w 1765"/>
                <a:gd name="T71" fmla="*/ 1747 h 3228"/>
                <a:gd name="T72" fmla="*/ 88 w 1765"/>
                <a:gd name="T73" fmla="*/ 1522 h 3228"/>
                <a:gd name="T74" fmla="*/ 153 w 1765"/>
                <a:gd name="T75" fmla="*/ 1282 h 3228"/>
                <a:gd name="T76" fmla="*/ 244 w 1765"/>
                <a:gd name="T77" fmla="*/ 1035 h 3228"/>
                <a:gd name="T78" fmla="*/ 364 w 1765"/>
                <a:gd name="T79" fmla="*/ 791 h 3228"/>
                <a:gd name="T80" fmla="*/ 518 w 1765"/>
                <a:gd name="T81" fmla="*/ 558 h 3228"/>
                <a:gd name="T82" fmla="*/ 709 w 1765"/>
                <a:gd name="T83" fmla="*/ 345 h 3228"/>
                <a:gd name="T84" fmla="*/ 913 w 1765"/>
                <a:gd name="T85" fmla="*/ 181 h 3228"/>
                <a:gd name="T86" fmla="*/ 1041 w 1765"/>
                <a:gd name="T87" fmla="*/ 88 h 3228"/>
                <a:gd name="T88" fmla="*/ 1129 w 1765"/>
                <a:gd name="T89" fmla="*/ 29 h 3228"/>
                <a:gd name="T90" fmla="*/ 1181 w 1765"/>
                <a:gd name="T91" fmla="*/ 3 h 3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65" h="3228">
                  <a:moveTo>
                    <a:pt x="1193" y="0"/>
                  </a:moveTo>
                  <a:lnTo>
                    <a:pt x="1200" y="1"/>
                  </a:lnTo>
                  <a:lnTo>
                    <a:pt x="1203" y="6"/>
                  </a:lnTo>
                  <a:lnTo>
                    <a:pt x="1204" y="14"/>
                  </a:lnTo>
                  <a:lnTo>
                    <a:pt x="1202" y="24"/>
                  </a:lnTo>
                  <a:lnTo>
                    <a:pt x="1197" y="38"/>
                  </a:lnTo>
                  <a:lnTo>
                    <a:pt x="1190" y="55"/>
                  </a:lnTo>
                  <a:lnTo>
                    <a:pt x="1180" y="76"/>
                  </a:lnTo>
                  <a:lnTo>
                    <a:pt x="1169" y="98"/>
                  </a:lnTo>
                  <a:lnTo>
                    <a:pt x="1154" y="124"/>
                  </a:lnTo>
                  <a:lnTo>
                    <a:pt x="1138" y="152"/>
                  </a:lnTo>
                  <a:lnTo>
                    <a:pt x="1121" y="183"/>
                  </a:lnTo>
                  <a:lnTo>
                    <a:pt x="1102" y="216"/>
                  </a:lnTo>
                  <a:lnTo>
                    <a:pt x="1082" y="253"/>
                  </a:lnTo>
                  <a:lnTo>
                    <a:pt x="1059" y="292"/>
                  </a:lnTo>
                  <a:lnTo>
                    <a:pt x="1036" y="333"/>
                  </a:lnTo>
                  <a:lnTo>
                    <a:pt x="1013" y="376"/>
                  </a:lnTo>
                  <a:lnTo>
                    <a:pt x="988" y="422"/>
                  </a:lnTo>
                  <a:lnTo>
                    <a:pt x="963" y="470"/>
                  </a:lnTo>
                  <a:lnTo>
                    <a:pt x="937" y="521"/>
                  </a:lnTo>
                  <a:lnTo>
                    <a:pt x="911" y="574"/>
                  </a:lnTo>
                  <a:lnTo>
                    <a:pt x="884" y="627"/>
                  </a:lnTo>
                  <a:lnTo>
                    <a:pt x="857" y="684"/>
                  </a:lnTo>
                  <a:lnTo>
                    <a:pt x="831" y="743"/>
                  </a:lnTo>
                  <a:lnTo>
                    <a:pt x="805" y="803"/>
                  </a:lnTo>
                  <a:lnTo>
                    <a:pt x="779" y="865"/>
                  </a:lnTo>
                  <a:lnTo>
                    <a:pt x="754" y="930"/>
                  </a:lnTo>
                  <a:lnTo>
                    <a:pt x="731" y="995"/>
                  </a:lnTo>
                  <a:lnTo>
                    <a:pt x="708" y="1062"/>
                  </a:lnTo>
                  <a:lnTo>
                    <a:pt x="685" y="1131"/>
                  </a:lnTo>
                  <a:lnTo>
                    <a:pt x="665" y="1202"/>
                  </a:lnTo>
                  <a:lnTo>
                    <a:pt x="646" y="1274"/>
                  </a:lnTo>
                  <a:lnTo>
                    <a:pt x="628" y="1347"/>
                  </a:lnTo>
                  <a:lnTo>
                    <a:pt x="612" y="1422"/>
                  </a:lnTo>
                  <a:lnTo>
                    <a:pt x="597" y="1498"/>
                  </a:lnTo>
                  <a:lnTo>
                    <a:pt x="666" y="1477"/>
                  </a:lnTo>
                  <a:lnTo>
                    <a:pt x="736" y="1461"/>
                  </a:lnTo>
                  <a:lnTo>
                    <a:pt x="809" y="1452"/>
                  </a:lnTo>
                  <a:lnTo>
                    <a:pt x="882" y="1449"/>
                  </a:lnTo>
                  <a:lnTo>
                    <a:pt x="963" y="1453"/>
                  </a:lnTo>
                  <a:lnTo>
                    <a:pt x="1041" y="1463"/>
                  </a:lnTo>
                  <a:lnTo>
                    <a:pt x="1117" y="1481"/>
                  </a:lnTo>
                  <a:lnTo>
                    <a:pt x="1190" y="1505"/>
                  </a:lnTo>
                  <a:lnTo>
                    <a:pt x="1261" y="1534"/>
                  </a:lnTo>
                  <a:lnTo>
                    <a:pt x="1328" y="1571"/>
                  </a:lnTo>
                  <a:lnTo>
                    <a:pt x="1391" y="1612"/>
                  </a:lnTo>
                  <a:lnTo>
                    <a:pt x="1451" y="1659"/>
                  </a:lnTo>
                  <a:lnTo>
                    <a:pt x="1507" y="1709"/>
                  </a:lnTo>
                  <a:lnTo>
                    <a:pt x="1558" y="1765"/>
                  </a:lnTo>
                  <a:lnTo>
                    <a:pt x="1604" y="1825"/>
                  </a:lnTo>
                  <a:lnTo>
                    <a:pt x="1645" y="1889"/>
                  </a:lnTo>
                  <a:lnTo>
                    <a:pt x="1680" y="1957"/>
                  </a:lnTo>
                  <a:lnTo>
                    <a:pt x="1709" y="2028"/>
                  </a:lnTo>
                  <a:lnTo>
                    <a:pt x="1733" y="2102"/>
                  </a:lnTo>
                  <a:lnTo>
                    <a:pt x="1750" y="2178"/>
                  </a:lnTo>
                  <a:lnTo>
                    <a:pt x="1761" y="2257"/>
                  </a:lnTo>
                  <a:lnTo>
                    <a:pt x="1765" y="2338"/>
                  </a:lnTo>
                  <a:lnTo>
                    <a:pt x="1761" y="2419"/>
                  </a:lnTo>
                  <a:lnTo>
                    <a:pt x="1750" y="2498"/>
                  </a:lnTo>
                  <a:lnTo>
                    <a:pt x="1733" y="2575"/>
                  </a:lnTo>
                  <a:lnTo>
                    <a:pt x="1709" y="2649"/>
                  </a:lnTo>
                  <a:lnTo>
                    <a:pt x="1680" y="2720"/>
                  </a:lnTo>
                  <a:lnTo>
                    <a:pt x="1645" y="2787"/>
                  </a:lnTo>
                  <a:lnTo>
                    <a:pt x="1604" y="2851"/>
                  </a:lnTo>
                  <a:lnTo>
                    <a:pt x="1558" y="2912"/>
                  </a:lnTo>
                  <a:lnTo>
                    <a:pt x="1507" y="2968"/>
                  </a:lnTo>
                  <a:lnTo>
                    <a:pt x="1451" y="3019"/>
                  </a:lnTo>
                  <a:lnTo>
                    <a:pt x="1391" y="3065"/>
                  </a:lnTo>
                  <a:lnTo>
                    <a:pt x="1328" y="3106"/>
                  </a:lnTo>
                  <a:lnTo>
                    <a:pt x="1261" y="3142"/>
                  </a:lnTo>
                  <a:lnTo>
                    <a:pt x="1190" y="3172"/>
                  </a:lnTo>
                  <a:lnTo>
                    <a:pt x="1117" y="3196"/>
                  </a:lnTo>
                  <a:lnTo>
                    <a:pt x="1041" y="3213"/>
                  </a:lnTo>
                  <a:lnTo>
                    <a:pt x="963" y="3223"/>
                  </a:lnTo>
                  <a:lnTo>
                    <a:pt x="882" y="3228"/>
                  </a:lnTo>
                  <a:lnTo>
                    <a:pt x="802" y="3223"/>
                  </a:lnTo>
                  <a:lnTo>
                    <a:pt x="724" y="3213"/>
                  </a:lnTo>
                  <a:lnTo>
                    <a:pt x="648" y="3196"/>
                  </a:lnTo>
                  <a:lnTo>
                    <a:pt x="575" y="3172"/>
                  </a:lnTo>
                  <a:lnTo>
                    <a:pt x="505" y="3142"/>
                  </a:lnTo>
                  <a:lnTo>
                    <a:pt x="437" y="3106"/>
                  </a:lnTo>
                  <a:lnTo>
                    <a:pt x="374" y="3065"/>
                  </a:lnTo>
                  <a:lnTo>
                    <a:pt x="315" y="3019"/>
                  </a:lnTo>
                  <a:lnTo>
                    <a:pt x="259" y="2968"/>
                  </a:lnTo>
                  <a:lnTo>
                    <a:pt x="208" y="2912"/>
                  </a:lnTo>
                  <a:lnTo>
                    <a:pt x="162" y="2851"/>
                  </a:lnTo>
                  <a:lnTo>
                    <a:pt x="121" y="2787"/>
                  </a:lnTo>
                  <a:lnTo>
                    <a:pt x="86" y="2720"/>
                  </a:lnTo>
                  <a:lnTo>
                    <a:pt x="56" y="2649"/>
                  </a:lnTo>
                  <a:lnTo>
                    <a:pt x="33" y="2575"/>
                  </a:lnTo>
                  <a:lnTo>
                    <a:pt x="15" y="2498"/>
                  </a:lnTo>
                  <a:lnTo>
                    <a:pt x="5" y="2419"/>
                  </a:lnTo>
                  <a:lnTo>
                    <a:pt x="1" y="2338"/>
                  </a:lnTo>
                  <a:lnTo>
                    <a:pt x="1" y="2337"/>
                  </a:lnTo>
                  <a:lnTo>
                    <a:pt x="1" y="2331"/>
                  </a:lnTo>
                  <a:lnTo>
                    <a:pt x="0" y="2319"/>
                  </a:lnTo>
                  <a:lnTo>
                    <a:pt x="0" y="2299"/>
                  </a:lnTo>
                  <a:lnTo>
                    <a:pt x="0" y="2274"/>
                  </a:lnTo>
                  <a:lnTo>
                    <a:pt x="0" y="2242"/>
                  </a:lnTo>
                  <a:lnTo>
                    <a:pt x="1" y="2206"/>
                  </a:lnTo>
                  <a:lnTo>
                    <a:pt x="2" y="2162"/>
                  </a:lnTo>
                  <a:lnTo>
                    <a:pt x="5" y="2116"/>
                  </a:lnTo>
                  <a:lnTo>
                    <a:pt x="8" y="2064"/>
                  </a:lnTo>
                  <a:lnTo>
                    <a:pt x="12" y="2007"/>
                  </a:lnTo>
                  <a:lnTo>
                    <a:pt x="18" y="1948"/>
                  </a:lnTo>
                  <a:lnTo>
                    <a:pt x="25" y="1884"/>
                  </a:lnTo>
                  <a:lnTo>
                    <a:pt x="34" y="1816"/>
                  </a:lnTo>
                  <a:lnTo>
                    <a:pt x="44" y="1747"/>
                  </a:lnTo>
                  <a:lnTo>
                    <a:pt x="57" y="1674"/>
                  </a:lnTo>
                  <a:lnTo>
                    <a:pt x="71" y="1598"/>
                  </a:lnTo>
                  <a:lnTo>
                    <a:pt x="88" y="1522"/>
                  </a:lnTo>
                  <a:lnTo>
                    <a:pt x="108" y="1443"/>
                  </a:lnTo>
                  <a:lnTo>
                    <a:pt x="129" y="1363"/>
                  </a:lnTo>
                  <a:lnTo>
                    <a:pt x="153" y="1282"/>
                  </a:lnTo>
                  <a:lnTo>
                    <a:pt x="180" y="1200"/>
                  </a:lnTo>
                  <a:lnTo>
                    <a:pt x="210" y="1117"/>
                  </a:lnTo>
                  <a:lnTo>
                    <a:pt x="244" y="1035"/>
                  </a:lnTo>
                  <a:lnTo>
                    <a:pt x="280" y="953"/>
                  </a:lnTo>
                  <a:lnTo>
                    <a:pt x="319" y="872"/>
                  </a:lnTo>
                  <a:lnTo>
                    <a:pt x="364" y="791"/>
                  </a:lnTo>
                  <a:lnTo>
                    <a:pt x="410" y="712"/>
                  </a:lnTo>
                  <a:lnTo>
                    <a:pt x="462" y="634"/>
                  </a:lnTo>
                  <a:lnTo>
                    <a:pt x="518" y="558"/>
                  </a:lnTo>
                  <a:lnTo>
                    <a:pt x="577" y="485"/>
                  </a:lnTo>
                  <a:lnTo>
                    <a:pt x="641" y="414"/>
                  </a:lnTo>
                  <a:lnTo>
                    <a:pt x="709" y="345"/>
                  </a:lnTo>
                  <a:lnTo>
                    <a:pt x="783" y="280"/>
                  </a:lnTo>
                  <a:lnTo>
                    <a:pt x="861" y="218"/>
                  </a:lnTo>
                  <a:lnTo>
                    <a:pt x="913" y="181"/>
                  </a:lnTo>
                  <a:lnTo>
                    <a:pt x="961" y="145"/>
                  </a:lnTo>
                  <a:lnTo>
                    <a:pt x="1002" y="114"/>
                  </a:lnTo>
                  <a:lnTo>
                    <a:pt x="1041" y="88"/>
                  </a:lnTo>
                  <a:lnTo>
                    <a:pt x="1075" y="64"/>
                  </a:lnTo>
                  <a:lnTo>
                    <a:pt x="1104" y="45"/>
                  </a:lnTo>
                  <a:lnTo>
                    <a:pt x="1129" y="29"/>
                  </a:lnTo>
                  <a:lnTo>
                    <a:pt x="1151" y="16"/>
                  </a:lnTo>
                  <a:lnTo>
                    <a:pt x="1168" y="8"/>
                  </a:lnTo>
                  <a:lnTo>
                    <a:pt x="1181" y="3"/>
                  </a:lnTo>
                  <a:lnTo>
                    <a:pt x="11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4000"/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3558" y="662"/>
              <a:ext cx="252" cy="461"/>
            </a:xfrm>
            <a:custGeom>
              <a:avLst/>
              <a:gdLst>
                <a:gd name="T0" fmla="*/ 1203 w 1765"/>
                <a:gd name="T1" fmla="*/ 6 h 3228"/>
                <a:gd name="T2" fmla="*/ 1198 w 1765"/>
                <a:gd name="T3" fmla="*/ 38 h 3228"/>
                <a:gd name="T4" fmla="*/ 1169 w 1765"/>
                <a:gd name="T5" fmla="*/ 98 h 3228"/>
                <a:gd name="T6" fmla="*/ 1122 w 1765"/>
                <a:gd name="T7" fmla="*/ 183 h 3228"/>
                <a:gd name="T8" fmla="*/ 1059 w 1765"/>
                <a:gd name="T9" fmla="*/ 292 h 3228"/>
                <a:gd name="T10" fmla="*/ 988 w 1765"/>
                <a:gd name="T11" fmla="*/ 422 h 3228"/>
                <a:gd name="T12" fmla="*/ 911 w 1765"/>
                <a:gd name="T13" fmla="*/ 574 h 3228"/>
                <a:gd name="T14" fmla="*/ 832 w 1765"/>
                <a:gd name="T15" fmla="*/ 743 h 3228"/>
                <a:gd name="T16" fmla="*/ 755 w 1765"/>
                <a:gd name="T17" fmla="*/ 930 h 3228"/>
                <a:gd name="T18" fmla="*/ 686 w 1765"/>
                <a:gd name="T19" fmla="*/ 1131 h 3228"/>
                <a:gd name="T20" fmla="*/ 628 w 1765"/>
                <a:gd name="T21" fmla="*/ 1347 h 3228"/>
                <a:gd name="T22" fmla="*/ 666 w 1765"/>
                <a:gd name="T23" fmla="*/ 1477 h 3228"/>
                <a:gd name="T24" fmla="*/ 883 w 1765"/>
                <a:gd name="T25" fmla="*/ 1449 h 3228"/>
                <a:gd name="T26" fmla="*/ 1117 w 1765"/>
                <a:gd name="T27" fmla="*/ 1481 h 3228"/>
                <a:gd name="T28" fmla="*/ 1328 w 1765"/>
                <a:gd name="T29" fmla="*/ 1571 h 3228"/>
                <a:gd name="T30" fmla="*/ 1507 w 1765"/>
                <a:gd name="T31" fmla="*/ 1709 h 3228"/>
                <a:gd name="T32" fmla="*/ 1645 w 1765"/>
                <a:gd name="T33" fmla="*/ 1889 h 3228"/>
                <a:gd name="T34" fmla="*/ 1733 w 1765"/>
                <a:gd name="T35" fmla="*/ 2102 h 3228"/>
                <a:gd name="T36" fmla="*/ 1765 w 1765"/>
                <a:gd name="T37" fmla="*/ 2338 h 3228"/>
                <a:gd name="T38" fmla="*/ 1733 w 1765"/>
                <a:gd name="T39" fmla="*/ 2575 h 3228"/>
                <a:gd name="T40" fmla="*/ 1645 w 1765"/>
                <a:gd name="T41" fmla="*/ 2787 h 3228"/>
                <a:gd name="T42" fmla="*/ 1507 w 1765"/>
                <a:gd name="T43" fmla="*/ 2968 h 3228"/>
                <a:gd name="T44" fmla="*/ 1328 w 1765"/>
                <a:gd name="T45" fmla="*/ 3106 h 3228"/>
                <a:gd name="T46" fmla="*/ 1117 w 1765"/>
                <a:gd name="T47" fmla="*/ 3196 h 3228"/>
                <a:gd name="T48" fmla="*/ 883 w 1765"/>
                <a:gd name="T49" fmla="*/ 3228 h 3228"/>
                <a:gd name="T50" fmla="*/ 648 w 1765"/>
                <a:gd name="T51" fmla="*/ 3196 h 3228"/>
                <a:gd name="T52" fmla="*/ 438 w 1765"/>
                <a:gd name="T53" fmla="*/ 3106 h 3228"/>
                <a:gd name="T54" fmla="*/ 260 w 1765"/>
                <a:gd name="T55" fmla="*/ 2968 h 3228"/>
                <a:gd name="T56" fmla="*/ 122 w 1765"/>
                <a:gd name="T57" fmla="*/ 2787 h 3228"/>
                <a:gd name="T58" fmla="*/ 32 w 1765"/>
                <a:gd name="T59" fmla="*/ 2575 h 3228"/>
                <a:gd name="T60" fmla="*/ 1 w 1765"/>
                <a:gd name="T61" fmla="*/ 2338 h 3228"/>
                <a:gd name="T62" fmla="*/ 0 w 1765"/>
                <a:gd name="T63" fmla="*/ 2319 h 3228"/>
                <a:gd name="T64" fmla="*/ 0 w 1765"/>
                <a:gd name="T65" fmla="*/ 2242 h 3228"/>
                <a:gd name="T66" fmla="*/ 5 w 1765"/>
                <a:gd name="T67" fmla="*/ 2116 h 3228"/>
                <a:gd name="T68" fmla="*/ 18 w 1765"/>
                <a:gd name="T69" fmla="*/ 1948 h 3228"/>
                <a:gd name="T70" fmla="*/ 45 w 1765"/>
                <a:gd name="T71" fmla="*/ 1747 h 3228"/>
                <a:gd name="T72" fmla="*/ 89 w 1765"/>
                <a:gd name="T73" fmla="*/ 1522 h 3228"/>
                <a:gd name="T74" fmla="*/ 153 w 1765"/>
                <a:gd name="T75" fmla="*/ 1282 h 3228"/>
                <a:gd name="T76" fmla="*/ 244 w 1765"/>
                <a:gd name="T77" fmla="*/ 1035 h 3228"/>
                <a:gd name="T78" fmla="*/ 364 w 1765"/>
                <a:gd name="T79" fmla="*/ 791 h 3228"/>
                <a:gd name="T80" fmla="*/ 518 w 1765"/>
                <a:gd name="T81" fmla="*/ 558 h 3228"/>
                <a:gd name="T82" fmla="*/ 709 w 1765"/>
                <a:gd name="T83" fmla="*/ 345 h 3228"/>
                <a:gd name="T84" fmla="*/ 913 w 1765"/>
                <a:gd name="T85" fmla="*/ 181 h 3228"/>
                <a:gd name="T86" fmla="*/ 1041 w 1765"/>
                <a:gd name="T87" fmla="*/ 88 h 3228"/>
                <a:gd name="T88" fmla="*/ 1130 w 1765"/>
                <a:gd name="T89" fmla="*/ 29 h 3228"/>
                <a:gd name="T90" fmla="*/ 1182 w 1765"/>
                <a:gd name="T91" fmla="*/ 3 h 3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65" h="3228">
                  <a:moveTo>
                    <a:pt x="1193" y="0"/>
                  </a:moveTo>
                  <a:lnTo>
                    <a:pt x="1200" y="1"/>
                  </a:lnTo>
                  <a:lnTo>
                    <a:pt x="1203" y="6"/>
                  </a:lnTo>
                  <a:lnTo>
                    <a:pt x="1204" y="14"/>
                  </a:lnTo>
                  <a:lnTo>
                    <a:pt x="1202" y="24"/>
                  </a:lnTo>
                  <a:lnTo>
                    <a:pt x="1198" y="38"/>
                  </a:lnTo>
                  <a:lnTo>
                    <a:pt x="1191" y="55"/>
                  </a:lnTo>
                  <a:lnTo>
                    <a:pt x="1181" y="76"/>
                  </a:lnTo>
                  <a:lnTo>
                    <a:pt x="1169" y="98"/>
                  </a:lnTo>
                  <a:lnTo>
                    <a:pt x="1155" y="124"/>
                  </a:lnTo>
                  <a:lnTo>
                    <a:pt x="1139" y="152"/>
                  </a:lnTo>
                  <a:lnTo>
                    <a:pt x="1122" y="183"/>
                  </a:lnTo>
                  <a:lnTo>
                    <a:pt x="1103" y="216"/>
                  </a:lnTo>
                  <a:lnTo>
                    <a:pt x="1082" y="253"/>
                  </a:lnTo>
                  <a:lnTo>
                    <a:pt x="1059" y="292"/>
                  </a:lnTo>
                  <a:lnTo>
                    <a:pt x="1037" y="333"/>
                  </a:lnTo>
                  <a:lnTo>
                    <a:pt x="1013" y="376"/>
                  </a:lnTo>
                  <a:lnTo>
                    <a:pt x="988" y="422"/>
                  </a:lnTo>
                  <a:lnTo>
                    <a:pt x="963" y="470"/>
                  </a:lnTo>
                  <a:lnTo>
                    <a:pt x="937" y="521"/>
                  </a:lnTo>
                  <a:lnTo>
                    <a:pt x="911" y="574"/>
                  </a:lnTo>
                  <a:lnTo>
                    <a:pt x="884" y="627"/>
                  </a:lnTo>
                  <a:lnTo>
                    <a:pt x="858" y="684"/>
                  </a:lnTo>
                  <a:lnTo>
                    <a:pt x="832" y="743"/>
                  </a:lnTo>
                  <a:lnTo>
                    <a:pt x="806" y="803"/>
                  </a:lnTo>
                  <a:lnTo>
                    <a:pt x="780" y="865"/>
                  </a:lnTo>
                  <a:lnTo>
                    <a:pt x="755" y="930"/>
                  </a:lnTo>
                  <a:lnTo>
                    <a:pt x="731" y="995"/>
                  </a:lnTo>
                  <a:lnTo>
                    <a:pt x="708" y="1062"/>
                  </a:lnTo>
                  <a:lnTo>
                    <a:pt x="686" y="1131"/>
                  </a:lnTo>
                  <a:lnTo>
                    <a:pt x="665" y="1202"/>
                  </a:lnTo>
                  <a:lnTo>
                    <a:pt x="646" y="1274"/>
                  </a:lnTo>
                  <a:lnTo>
                    <a:pt x="628" y="1347"/>
                  </a:lnTo>
                  <a:lnTo>
                    <a:pt x="612" y="1422"/>
                  </a:lnTo>
                  <a:lnTo>
                    <a:pt x="597" y="1498"/>
                  </a:lnTo>
                  <a:lnTo>
                    <a:pt x="666" y="1477"/>
                  </a:lnTo>
                  <a:lnTo>
                    <a:pt x="737" y="1461"/>
                  </a:lnTo>
                  <a:lnTo>
                    <a:pt x="809" y="1452"/>
                  </a:lnTo>
                  <a:lnTo>
                    <a:pt x="883" y="1449"/>
                  </a:lnTo>
                  <a:lnTo>
                    <a:pt x="963" y="1453"/>
                  </a:lnTo>
                  <a:lnTo>
                    <a:pt x="1041" y="1463"/>
                  </a:lnTo>
                  <a:lnTo>
                    <a:pt x="1117" y="1481"/>
                  </a:lnTo>
                  <a:lnTo>
                    <a:pt x="1191" y="1505"/>
                  </a:lnTo>
                  <a:lnTo>
                    <a:pt x="1261" y="1534"/>
                  </a:lnTo>
                  <a:lnTo>
                    <a:pt x="1328" y="1571"/>
                  </a:lnTo>
                  <a:lnTo>
                    <a:pt x="1391" y="1612"/>
                  </a:lnTo>
                  <a:lnTo>
                    <a:pt x="1451" y="1659"/>
                  </a:lnTo>
                  <a:lnTo>
                    <a:pt x="1507" y="1709"/>
                  </a:lnTo>
                  <a:lnTo>
                    <a:pt x="1558" y="1765"/>
                  </a:lnTo>
                  <a:lnTo>
                    <a:pt x="1603" y="1825"/>
                  </a:lnTo>
                  <a:lnTo>
                    <a:pt x="1645" y="1889"/>
                  </a:lnTo>
                  <a:lnTo>
                    <a:pt x="1680" y="1957"/>
                  </a:lnTo>
                  <a:lnTo>
                    <a:pt x="1710" y="2028"/>
                  </a:lnTo>
                  <a:lnTo>
                    <a:pt x="1733" y="2102"/>
                  </a:lnTo>
                  <a:lnTo>
                    <a:pt x="1750" y="2178"/>
                  </a:lnTo>
                  <a:lnTo>
                    <a:pt x="1762" y="2257"/>
                  </a:lnTo>
                  <a:lnTo>
                    <a:pt x="1765" y="2338"/>
                  </a:lnTo>
                  <a:lnTo>
                    <a:pt x="1762" y="2419"/>
                  </a:lnTo>
                  <a:lnTo>
                    <a:pt x="1750" y="2498"/>
                  </a:lnTo>
                  <a:lnTo>
                    <a:pt x="1733" y="2575"/>
                  </a:lnTo>
                  <a:lnTo>
                    <a:pt x="1710" y="2649"/>
                  </a:lnTo>
                  <a:lnTo>
                    <a:pt x="1680" y="2720"/>
                  </a:lnTo>
                  <a:lnTo>
                    <a:pt x="1645" y="2787"/>
                  </a:lnTo>
                  <a:lnTo>
                    <a:pt x="1603" y="2851"/>
                  </a:lnTo>
                  <a:lnTo>
                    <a:pt x="1558" y="2912"/>
                  </a:lnTo>
                  <a:lnTo>
                    <a:pt x="1507" y="2968"/>
                  </a:lnTo>
                  <a:lnTo>
                    <a:pt x="1451" y="3019"/>
                  </a:lnTo>
                  <a:lnTo>
                    <a:pt x="1391" y="3065"/>
                  </a:lnTo>
                  <a:lnTo>
                    <a:pt x="1328" y="3106"/>
                  </a:lnTo>
                  <a:lnTo>
                    <a:pt x="1261" y="3142"/>
                  </a:lnTo>
                  <a:lnTo>
                    <a:pt x="1191" y="3172"/>
                  </a:lnTo>
                  <a:lnTo>
                    <a:pt x="1117" y="3196"/>
                  </a:lnTo>
                  <a:lnTo>
                    <a:pt x="1041" y="3213"/>
                  </a:lnTo>
                  <a:lnTo>
                    <a:pt x="963" y="3223"/>
                  </a:lnTo>
                  <a:lnTo>
                    <a:pt x="883" y="3228"/>
                  </a:lnTo>
                  <a:lnTo>
                    <a:pt x="802" y="3223"/>
                  </a:lnTo>
                  <a:lnTo>
                    <a:pt x="724" y="3213"/>
                  </a:lnTo>
                  <a:lnTo>
                    <a:pt x="648" y="3196"/>
                  </a:lnTo>
                  <a:lnTo>
                    <a:pt x="576" y="3172"/>
                  </a:lnTo>
                  <a:lnTo>
                    <a:pt x="506" y="3142"/>
                  </a:lnTo>
                  <a:lnTo>
                    <a:pt x="438" y="3106"/>
                  </a:lnTo>
                  <a:lnTo>
                    <a:pt x="374" y="3065"/>
                  </a:lnTo>
                  <a:lnTo>
                    <a:pt x="315" y="3019"/>
                  </a:lnTo>
                  <a:lnTo>
                    <a:pt x="260" y="2968"/>
                  </a:lnTo>
                  <a:lnTo>
                    <a:pt x="209" y="2912"/>
                  </a:lnTo>
                  <a:lnTo>
                    <a:pt x="162" y="2851"/>
                  </a:lnTo>
                  <a:lnTo>
                    <a:pt x="122" y="2787"/>
                  </a:lnTo>
                  <a:lnTo>
                    <a:pt x="86" y="2720"/>
                  </a:lnTo>
                  <a:lnTo>
                    <a:pt x="56" y="2649"/>
                  </a:lnTo>
                  <a:lnTo>
                    <a:pt x="32" y="2575"/>
                  </a:lnTo>
                  <a:lnTo>
                    <a:pt x="15" y="2498"/>
                  </a:lnTo>
                  <a:lnTo>
                    <a:pt x="5" y="2419"/>
                  </a:lnTo>
                  <a:lnTo>
                    <a:pt x="1" y="2338"/>
                  </a:lnTo>
                  <a:lnTo>
                    <a:pt x="1" y="2337"/>
                  </a:lnTo>
                  <a:lnTo>
                    <a:pt x="1" y="2331"/>
                  </a:lnTo>
                  <a:lnTo>
                    <a:pt x="0" y="2319"/>
                  </a:lnTo>
                  <a:lnTo>
                    <a:pt x="0" y="2299"/>
                  </a:lnTo>
                  <a:lnTo>
                    <a:pt x="0" y="2274"/>
                  </a:lnTo>
                  <a:lnTo>
                    <a:pt x="0" y="2242"/>
                  </a:lnTo>
                  <a:lnTo>
                    <a:pt x="1" y="2206"/>
                  </a:lnTo>
                  <a:lnTo>
                    <a:pt x="3" y="2162"/>
                  </a:lnTo>
                  <a:lnTo>
                    <a:pt x="5" y="2116"/>
                  </a:lnTo>
                  <a:lnTo>
                    <a:pt x="8" y="2064"/>
                  </a:lnTo>
                  <a:lnTo>
                    <a:pt x="13" y="2007"/>
                  </a:lnTo>
                  <a:lnTo>
                    <a:pt x="18" y="1948"/>
                  </a:lnTo>
                  <a:lnTo>
                    <a:pt x="25" y="1884"/>
                  </a:lnTo>
                  <a:lnTo>
                    <a:pt x="34" y="1816"/>
                  </a:lnTo>
                  <a:lnTo>
                    <a:pt x="45" y="1747"/>
                  </a:lnTo>
                  <a:lnTo>
                    <a:pt x="57" y="1674"/>
                  </a:lnTo>
                  <a:lnTo>
                    <a:pt x="72" y="1598"/>
                  </a:lnTo>
                  <a:lnTo>
                    <a:pt x="89" y="1522"/>
                  </a:lnTo>
                  <a:lnTo>
                    <a:pt x="108" y="1443"/>
                  </a:lnTo>
                  <a:lnTo>
                    <a:pt x="129" y="1363"/>
                  </a:lnTo>
                  <a:lnTo>
                    <a:pt x="153" y="1282"/>
                  </a:lnTo>
                  <a:lnTo>
                    <a:pt x="180" y="1200"/>
                  </a:lnTo>
                  <a:lnTo>
                    <a:pt x="210" y="1117"/>
                  </a:lnTo>
                  <a:lnTo>
                    <a:pt x="244" y="1035"/>
                  </a:lnTo>
                  <a:lnTo>
                    <a:pt x="280" y="953"/>
                  </a:lnTo>
                  <a:lnTo>
                    <a:pt x="320" y="872"/>
                  </a:lnTo>
                  <a:lnTo>
                    <a:pt x="364" y="791"/>
                  </a:lnTo>
                  <a:lnTo>
                    <a:pt x="412" y="712"/>
                  </a:lnTo>
                  <a:lnTo>
                    <a:pt x="463" y="634"/>
                  </a:lnTo>
                  <a:lnTo>
                    <a:pt x="518" y="558"/>
                  </a:lnTo>
                  <a:lnTo>
                    <a:pt x="577" y="485"/>
                  </a:lnTo>
                  <a:lnTo>
                    <a:pt x="641" y="414"/>
                  </a:lnTo>
                  <a:lnTo>
                    <a:pt x="709" y="345"/>
                  </a:lnTo>
                  <a:lnTo>
                    <a:pt x="783" y="280"/>
                  </a:lnTo>
                  <a:lnTo>
                    <a:pt x="861" y="218"/>
                  </a:lnTo>
                  <a:lnTo>
                    <a:pt x="913" y="181"/>
                  </a:lnTo>
                  <a:lnTo>
                    <a:pt x="961" y="145"/>
                  </a:lnTo>
                  <a:lnTo>
                    <a:pt x="1003" y="114"/>
                  </a:lnTo>
                  <a:lnTo>
                    <a:pt x="1041" y="88"/>
                  </a:lnTo>
                  <a:lnTo>
                    <a:pt x="1075" y="64"/>
                  </a:lnTo>
                  <a:lnTo>
                    <a:pt x="1105" y="45"/>
                  </a:lnTo>
                  <a:lnTo>
                    <a:pt x="1130" y="29"/>
                  </a:lnTo>
                  <a:lnTo>
                    <a:pt x="1151" y="16"/>
                  </a:lnTo>
                  <a:lnTo>
                    <a:pt x="1168" y="8"/>
                  </a:lnTo>
                  <a:lnTo>
                    <a:pt x="1182" y="3"/>
                  </a:lnTo>
                  <a:lnTo>
                    <a:pt x="11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4000"/>
            </a:p>
          </p:txBody>
        </p:sp>
      </p:grpSp>
      <p:sp>
        <p:nvSpPr>
          <p:cNvPr id="26" name="Rectangle 25"/>
          <p:cNvSpPr/>
          <p:nvPr/>
        </p:nvSpPr>
        <p:spPr>
          <a:xfrm>
            <a:off x="2583136" y="4558154"/>
            <a:ext cx="5014298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William Shakespeare, King Henry 1V, Part 2</a:t>
            </a:r>
          </a:p>
        </p:txBody>
      </p:sp>
      <p:sp>
        <p:nvSpPr>
          <p:cNvPr id="27" name="Rectangle 26"/>
          <p:cNvSpPr/>
          <p:nvPr/>
        </p:nvSpPr>
        <p:spPr>
          <a:xfrm>
            <a:off x="5708326" y="6108532"/>
            <a:ext cx="3236450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600" i="1" dirty="0">
                <a:latin typeface="Century Gothic" panose="020B0502020202020204" pitchFamily="34" charset="0"/>
              </a:rPr>
              <a:t>Saul </a:t>
            </a:r>
            <a:r>
              <a:rPr lang="en-US" sz="1600" i="1" dirty="0" err="1">
                <a:latin typeface="Century Gothic" panose="020B0502020202020204" pitchFamily="34" charset="0"/>
              </a:rPr>
              <a:t>Larner</a:t>
            </a:r>
            <a:r>
              <a:rPr lang="en-US" sz="1600" i="1" dirty="0">
                <a:latin typeface="Century Gothic" panose="020B0502020202020204" pitchFamily="34" charset="0"/>
              </a:rPr>
              <a:t>, Ph.D., LL.M., MBA</a:t>
            </a:r>
          </a:p>
        </p:txBody>
      </p:sp>
      <p:grpSp>
        <p:nvGrpSpPr>
          <p:cNvPr id="29" name="Group 28"/>
          <p:cNvGrpSpPr>
            <a:grpSpLocks noChangeAspect="1"/>
          </p:cNvGrpSpPr>
          <p:nvPr/>
        </p:nvGrpSpPr>
        <p:grpSpPr bwMode="auto">
          <a:xfrm rot="10800000">
            <a:off x="6974828" y="4103331"/>
            <a:ext cx="375503" cy="327231"/>
            <a:chOff x="3281" y="662"/>
            <a:chExt cx="529" cy="461"/>
          </a:xfrm>
          <a:solidFill>
            <a:schemeClr val="bg1"/>
          </a:solidFill>
          <a:effectLst>
            <a:outerShdw dist="25400" dir="8100000" algn="tr" rotWithShape="0">
              <a:prstClr val="black">
                <a:alpha val="40000"/>
              </a:prstClr>
            </a:outerShdw>
          </a:effectLst>
        </p:grpSpPr>
        <p:sp>
          <p:nvSpPr>
            <p:cNvPr id="30" name="Freeform 6"/>
            <p:cNvSpPr>
              <a:spLocks/>
            </p:cNvSpPr>
            <p:nvPr/>
          </p:nvSpPr>
          <p:spPr bwMode="auto">
            <a:xfrm>
              <a:off x="3281" y="662"/>
              <a:ext cx="252" cy="461"/>
            </a:xfrm>
            <a:custGeom>
              <a:avLst/>
              <a:gdLst>
                <a:gd name="T0" fmla="*/ 1203 w 1765"/>
                <a:gd name="T1" fmla="*/ 6 h 3228"/>
                <a:gd name="T2" fmla="*/ 1197 w 1765"/>
                <a:gd name="T3" fmla="*/ 38 h 3228"/>
                <a:gd name="T4" fmla="*/ 1169 w 1765"/>
                <a:gd name="T5" fmla="*/ 98 h 3228"/>
                <a:gd name="T6" fmla="*/ 1121 w 1765"/>
                <a:gd name="T7" fmla="*/ 183 h 3228"/>
                <a:gd name="T8" fmla="*/ 1059 w 1765"/>
                <a:gd name="T9" fmla="*/ 292 h 3228"/>
                <a:gd name="T10" fmla="*/ 988 w 1765"/>
                <a:gd name="T11" fmla="*/ 422 h 3228"/>
                <a:gd name="T12" fmla="*/ 911 w 1765"/>
                <a:gd name="T13" fmla="*/ 574 h 3228"/>
                <a:gd name="T14" fmla="*/ 831 w 1765"/>
                <a:gd name="T15" fmla="*/ 743 h 3228"/>
                <a:gd name="T16" fmla="*/ 754 w 1765"/>
                <a:gd name="T17" fmla="*/ 930 h 3228"/>
                <a:gd name="T18" fmla="*/ 685 w 1765"/>
                <a:gd name="T19" fmla="*/ 1131 h 3228"/>
                <a:gd name="T20" fmla="*/ 628 w 1765"/>
                <a:gd name="T21" fmla="*/ 1347 h 3228"/>
                <a:gd name="T22" fmla="*/ 666 w 1765"/>
                <a:gd name="T23" fmla="*/ 1477 h 3228"/>
                <a:gd name="T24" fmla="*/ 882 w 1765"/>
                <a:gd name="T25" fmla="*/ 1449 h 3228"/>
                <a:gd name="T26" fmla="*/ 1117 w 1765"/>
                <a:gd name="T27" fmla="*/ 1481 h 3228"/>
                <a:gd name="T28" fmla="*/ 1328 w 1765"/>
                <a:gd name="T29" fmla="*/ 1571 h 3228"/>
                <a:gd name="T30" fmla="*/ 1507 w 1765"/>
                <a:gd name="T31" fmla="*/ 1709 h 3228"/>
                <a:gd name="T32" fmla="*/ 1645 w 1765"/>
                <a:gd name="T33" fmla="*/ 1889 h 3228"/>
                <a:gd name="T34" fmla="*/ 1733 w 1765"/>
                <a:gd name="T35" fmla="*/ 2102 h 3228"/>
                <a:gd name="T36" fmla="*/ 1765 w 1765"/>
                <a:gd name="T37" fmla="*/ 2338 h 3228"/>
                <a:gd name="T38" fmla="*/ 1733 w 1765"/>
                <a:gd name="T39" fmla="*/ 2575 h 3228"/>
                <a:gd name="T40" fmla="*/ 1645 w 1765"/>
                <a:gd name="T41" fmla="*/ 2787 h 3228"/>
                <a:gd name="T42" fmla="*/ 1507 w 1765"/>
                <a:gd name="T43" fmla="*/ 2968 h 3228"/>
                <a:gd name="T44" fmla="*/ 1328 w 1765"/>
                <a:gd name="T45" fmla="*/ 3106 h 3228"/>
                <a:gd name="T46" fmla="*/ 1117 w 1765"/>
                <a:gd name="T47" fmla="*/ 3196 h 3228"/>
                <a:gd name="T48" fmla="*/ 882 w 1765"/>
                <a:gd name="T49" fmla="*/ 3228 h 3228"/>
                <a:gd name="T50" fmla="*/ 648 w 1765"/>
                <a:gd name="T51" fmla="*/ 3196 h 3228"/>
                <a:gd name="T52" fmla="*/ 437 w 1765"/>
                <a:gd name="T53" fmla="*/ 3106 h 3228"/>
                <a:gd name="T54" fmla="*/ 259 w 1765"/>
                <a:gd name="T55" fmla="*/ 2968 h 3228"/>
                <a:gd name="T56" fmla="*/ 121 w 1765"/>
                <a:gd name="T57" fmla="*/ 2787 h 3228"/>
                <a:gd name="T58" fmla="*/ 33 w 1765"/>
                <a:gd name="T59" fmla="*/ 2575 h 3228"/>
                <a:gd name="T60" fmla="*/ 1 w 1765"/>
                <a:gd name="T61" fmla="*/ 2338 h 3228"/>
                <a:gd name="T62" fmla="*/ 0 w 1765"/>
                <a:gd name="T63" fmla="*/ 2319 h 3228"/>
                <a:gd name="T64" fmla="*/ 0 w 1765"/>
                <a:gd name="T65" fmla="*/ 2242 h 3228"/>
                <a:gd name="T66" fmla="*/ 5 w 1765"/>
                <a:gd name="T67" fmla="*/ 2116 h 3228"/>
                <a:gd name="T68" fmla="*/ 18 w 1765"/>
                <a:gd name="T69" fmla="*/ 1948 h 3228"/>
                <a:gd name="T70" fmla="*/ 44 w 1765"/>
                <a:gd name="T71" fmla="*/ 1747 h 3228"/>
                <a:gd name="T72" fmla="*/ 88 w 1765"/>
                <a:gd name="T73" fmla="*/ 1522 h 3228"/>
                <a:gd name="T74" fmla="*/ 153 w 1765"/>
                <a:gd name="T75" fmla="*/ 1282 h 3228"/>
                <a:gd name="T76" fmla="*/ 244 w 1765"/>
                <a:gd name="T77" fmla="*/ 1035 h 3228"/>
                <a:gd name="T78" fmla="*/ 364 w 1765"/>
                <a:gd name="T79" fmla="*/ 791 h 3228"/>
                <a:gd name="T80" fmla="*/ 518 w 1765"/>
                <a:gd name="T81" fmla="*/ 558 h 3228"/>
                <a:gd name="T82" fmla="*/ 709 w 1765"/>
                <a:gd name="T83" fmla="*/ 345 h 3228"/>
                <a:gd name="T84" fmla="*/ 913 w 1765"/>
                <a:gd name="T85" fmla="*/ 181 h 3228"/>
                <a:gd name="T86" fmla="*/ 1041 w 1765"/>
                <a:gd name="T87" fmla="*/ 88 h 3228"/>
                <a:gd name="T88" fmla="*/ 1129 w 1765"/>
                <a:gd name="T89" fmla="*/ 29 h 3228"/>
                <a:gd name="T90" fmla="*/ 1181 w 1765"/>
                <a:gd name="T91" fmla="*/ 3 h 3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65" h="3228">
                  <a:moveTo>
                    <a:pt x="1193" y="0"/>
                  </a:moveTo>
                  <a:lnTo>
                    <a:pt x="1200" y="1"/>
                  </a:lnTo>
                  <a:lnTo>
                    <a:pt x="1203" y="6"/>
                  </a:lnTo>
                  <a:lnTo>
                    <a:pt x="1204" y="14"/>
                  </a:lnTo>
                  <a:lnTo>
                    <a:pt x="1202" y="24"/>
                  </a:lnTo>
                  <a:lnTo>
                    <a:pt x="1197" y="38"/>
                  </a:lnTo>
                  <a:lnTo>
                    <a:pt x="1190" y="55"/>
                  </a:lnTo>
                  <a:lnTo>
                    <a:pt x="1180" y="76"/>
                  </a:lnTo>
                  <a:lnTo>
                    <a:pt x="1169" y="98"/>
                  </a:lnTo>
                  <a:lnTo>
                    <a:pt x="1154" y="124"/>
                  </a:lnTo>
                  <a:lnTo>
                    <a:pt x="1138" y="152"/>
                  </a:lnTo>
                  <a:lnTo>
                    <a:pt x="1121" y="183"/>
                  </a:lnTo>
                  <a:lnTo>
                    <a:pt x="1102" y="216"/>
                  </a:lnTo>
                  <a:lnTo>
                    <a:pt x="1082" y="253"/>
                  </a:lnTo>
                  <a:lnTo>
                    <a:pt x="1059" y="292"/>
                  </a:lnTo>
                  <a:lnTo>
                    <a:pt x="1036" y="333"/>
                  </a:lnTo>
                  <a:lnTo>
                    <a:pt x="1013" y="376"/>
                  </a:lnTo>
                  <a:lnTo>
                    <a:pt x="988" y="422"/>
                  </a:lnTo>
                  <a:lnTo>
                    <a:pt x="963" y="470"/>
                  </a:lnTo>
                  <a:lnTo>
                    <a:pt x="937" y="521"/>
                  </a:lnTo>
                  <a:lnTo>
                    <a:pt x="911" y="574"/>
                  </a:lnTo>
                  <a:lnTo>
                    <a:pt x="884" y="627"/>
                  </a:lnTo>
                  <a:lnTo>
                    <a:pt x="857" y="684"/>
                  </a:lnTo>
                  <a:lnTo>
                    <a:pt x="831" y="743"/>
                  </a:lnTo>
                  <a:lnTo>
                    <a:pt x="805" y="803"/>
                  </a:lnTo>
                  <a:lnTo>
                    <a:pt x="779" y="865"/>
                  </a:lnTo>
                  <a:lnTo>
                    <a:pt x="754" y="930"/>
                  </a:lnTo>
                  <a:lnTo>
                    <a:pt x="731" y="995"/>
                  </a:lnTo>
                  <a:lnTo>
                    <a:pt x="708" y="1062"/>
                  </a:lnTo>
                  <a:lnTo>
                    <a:pt x="685" y="1131"/>
                  </a:lnTo>
                  <a:lnTo>
                    <a:pt x="665" y="1202"/>
                  </a:lnTo>
                  <a:lnTo>
                    <a:pt x="646" y="1274"/>
                  </a:lnTo>
                  <a:lnTo>
                    <a:pt x="628" y="1347"/>
                  </a:lnTo>
                  <a:lnTo>
                    <a:pt x="612" y="1422"/>
                  </a:lnTo>
                  <a:lnTo>
                    <a:pt x="597" y="1498"/>
                  </a:lnTo>
                  <a:lnTo>
                    <a:pt x="666" y="1477"/>
                  </a:lnTo>
                  <a:lnTo>
                    <a:pt x="736" y="1461"/>
                  </a:lnTo>
                  <a:lnTo>
                    <a:pt x="809" y="1452"/>
                  </a:lnTo>
                  <a:lnTo>
                    <a:pt x="882" y="1449"/>
                  </a:lnTo>
                  <a:lnTo>
                    <a:pt x="963" y="1453"/>
                  </a:lnTo>
                  <a:lnTo>
                    <a:pt x="1041" y="1463"/>
                  </a:lnTo>
                  <a:lnTo>
                    <a:pt x="1117" y="1481"/>
                  </a:lnTo>
                  <a:lnTo>
                    <a:pt x="1190" y="1505"/>
                  </a:lnTo>
                  <a:lnTo>
                    <a:pt x="1261" y="1534"/>
                  </a:lnTo>
                  <a:lnTo>
                    <a:pt x="1328" y="1571"/>
                  </a:lnTo>
                  <a:lnTo>
                    <a:pt x="1391" y="1612"/>
                  </a:lnTo>
                  <a:lnTo>
                    <a:pt x="1451" y="1659"/>
                  </a:lnTo>
                  <a:lnTo>
                    <a:pt x="1507" y="1709"/>
                  </a:lnTo>
                  <a:lnTo>
                    <a:pt x="1558" y="1765"/>
                  </a:lnTo>
                  <a:lnTo>
                    <a:pt x="1604" y="1825"/>
                  </a:lnTo>
                  <a:lnTo>
                    <a:pt x="1645" y="1889"/>
                  </a:lnTo>
                  <a:lnTo>
                    <a:pt x="1680" y="1957"/>
                  </a:lnTo>
                  <a:lnTo>
                    <a:pt x="1709" y="2028"/>
                  </a:lnTo>
                  <a:lnTo>
                    <a:pt x="1733" y="2102"/>
                  </a:lnTo>
                  <a:lnTo>
                    <a:pt x="1750" y="2178"/>
                  </a:lnTo>
                  <a:lnTo>
                    <a:pt x="1761" y="2257"/>
                  </a:lnTo>
                  <a:lnTo>
                    <a:pt x="1765" y="2338"/>
                  </a:lnTo>
                  <a:lnTo>
                    <a:pt x="1761" y="2419"/>
                  </a:lnTo>
                  <a:lnTo>
                    <a:pt x="1750" y="2498"/>
                  </a:lnTo>
                  <a:lnTo>
                    <a:pt x="1733" y="2575"/>
                  </a:lnTo>
                  <a:lnTo>
                    <a:pt x="1709" y="2649"/>
                  </a:lnTo>
                  <a:lnTo>
                    <a:pt x="1680" y="2720"/>
                  </a:lnTo>
                  <a:lnTo>
                    <a:pt x="1645" y="2787"/>
                  </a:lnTo>
                  <a:lnTo>
                    <a:pt x="1604" y="2851"/>
                  </a:lnTo>
                  <a:lnTo>
                    <a:pt x="1558" y="2912"/>
                  </a:lnTo>
                  <a:lnTo>
                    <a:pt x="1507" y="2968"/>
                  </a:lnTo>
                  <a:lnTo>
                    <a:pt x="1451" y="3019"/>
                  </a:lnTo>
                  <a:lnTo>
                    <a:pt x="1391" y="3065"/>
                  </a:lnTo>
                  <a:lnTo>
                    <a:pt x="1328" y="3106"/>
                  </a:lnTo>
                  <a:lnTo>
                    <a:pt x="1261" y="3142"/>
                  </a:lnTo>
                  <a:lnTo>
                    <a:pt x="1190" y="3172"/>
                  </a:lnTo>
                  <a:lnTo>
                    <a:pt x="1117" y="3196"/>
                  </a:lnTo>
                  <a:lnTo>
                    <a:pt x="1041" y="3213"/>
                  </a:lnTo>
                  <a:lnTo>
                    <a:pt x="963" y="3223"/>
                  </a:lnTo>
                  <a:lnTo>
                    <a:pt x="882" y="3228"/>
                  </a:lnTo>
                  <a:lnTo>
                    <a:pt x="802" y="3223"/>
                  </a:lnTo>
                  <a:lnTo>
                    <a:pt x="724" y="3213"/>
                  </a:lnTo>
                  <a:lnTo>
                    <a:pt x="648" y="3196"/>
                  </a:lnTo>
                  <a:lnTo>
                    <a:pt x="575" y="3172"/>
                  </a:lnTo>
                  <a:lnTo>
                    <a:pt x="505" y="3142"/>
                  </a:lnTo>
                  <a:lnTo>
                    <a:pt x="437" y="3106"/>
                  </a:lnTo>
                  <a:lnTo>
                    <a:pt x="374" y="3065"/>
                  </a:lnTo>
                  <a:lnTo>
                    <a:pt x="315" y="3019"/>
                  </a:lnTo>
                  <a:lnTo>
                    <a:pt x="259" y="2968"/>
                  </a:lnTo>
                  <a:lnTo>
                    <a:pt x="208" y="2912"/>
                  </a:lnTo>
                  <a:lnTo>
                    <a:pt x="162" y="2851"/>
                  </a:lnTo>
                  <a:lnTo>
                    <a:pt x="121" y="2787"/>
                  </a:lnTo>
                  <a:lnTo>
                    <a:pt x="86" y="2720"/>
                  </a:lnTo>
                  <a:lnTo>
                    <a:pt x="56" y="2649"/>
                  </a:lnTo>
                  <a:lnTo>
                    <a:pt x="33" y="2575"/>
                  </a:lnTo>
                  <a:lnTo>
                    <a:pt x="15" y="2498"/>
                  </a:lnTo>
                  <a:lnTo>
                    <a:pt x="5" y="2419"/>
                  </a:lnTo>
                  <a:lnTo>
                    <a:pt x="1" y="2338"/>
                  </a:lnTo>
                  <a:lnTo>
                    <a:pt x="1" y="2337"/>
                  </a:lnTo>
                  <a:lnTo>
                    <a:pt x="1" y="2331"/>
                  </a:lnTo>
                  <a:lnTo>
                    <a:pt x="0" y="2319"/>
                  </a:lnTo>
                  <a:lnTo>
                    <a:pt x="0" y="2299"/>
                  </a:lnTo>
                  <a:lnTo>
                    <a:pt x="0" y="2274"/>
                  </a:lnTo>
                  <a:lnTo>
                    <a:pt x="0" y="2242"/>
                  </a:lnTo>
                  <a:lnTo>
                    <a:pt x="1" y="2206"/>
                  </a:lnTo>
                  <a:lnTo>
                    <a:pt x="2" y="2162"/>
                  </a:lnTo>
                  <a:lnTo>
                    <a:pt x="5" y="2116"/>
                  </a:lnTo>
                  <a:lnTo>
                    <a:pt x="8" y="2064"/>
                  </a:lnTo>
                  <a:lnTo>
                    <a:pt x="12" y="2007"/>
                  </a:lnTo>
                  <a:lnTo>
                    <a:pt x="18" y="1948"/>
                  </a:lnTo>
                  <a:lnTo>
                    <a:pt x="25" y="1884"/>
                  </a:lnTo>
                  <a:lnTo>
                    <a:pt x="34" y="1816"/>
                  </a:lnTo>
                  <a:lnTo>
                    <a:pt x="44" y="1747"/>
                  </a:lnTo>
                  <a:lnTo>
                    <a:pt x="57" y="1674"/>
                  </a:lnTo>
                  <a:lnTo>
                    <a:pt x="71" y="1598"/>
                  </a:lnTo>
                  <a:lnTo>
                    <a:pt x="88" y="1522"/>
                  </a:lnTo>
                  <a:lnTo>
                    <a:pt x="108" y="1443"/>
                  </a:lnTo>
                  <a:lnTo>
                    <a:pt x="129" y="1363"/>
                  </a:lnTo>
                  <a:lnTo>
                    <a:pt x="153" y="1282"/>
                  </a:lnTo>
                  <a:lnTo>
                    <a:pt x="180" y="1200"/>
                  </a:lnTo>
                  <a:lnTo>
                    <a:pt x="210" y="1117"/>
                  </a:lnTo>
                  <a:lnTo>
                    <a:pt x="244" y="1035"/>
                  </a:lnTo>
                  <a:lnTo>
                    <a:pt x="280" y="953"/>
                  </a:lnTo>
                  <a:lnTo>
                    <a:pt x="319" y="872"/>
                  </a:lnTo>
                  <a:lnTo>
                    <a:pt x="364" y="791"/>
                  </a:lnTo>
                  <a:lnTo>
                    <a:pt x="410" y="712"/>
                  </a:lnTo>
                  <a:lnTo>
                    <a:pt x="462" y="634"/>
                  </a:lnTo>
                  <a:lnTo>
                    <a:pt x="518" y="558"/>
                  </a:lnTo>
                  <a:lnTo>
                    <a:pt x="577" y="485"/>
                  </a:lnTo>
                  <a:lnTo>
                    <a:pt x="641" y="414"/>
                  </a:lnTo>
                  <a:lnTo>
                    <a:pt x="709" y="345"/>
                  </a:lnTo>
                  <a:lnTo>
                    <a:pt x="783" y="280"/>
                  </a:lnTo>
                  <a:lnTo>
                    <a:pt x="861" y="218"/>
                  </a:lnTo>
                  <a:lnTo>
                    <a:pt x="913" y="181"/>
                  </a:lnTo>
                  <a:lnTo>
                    <a:pt x="961" y="145"/>
                  </a:lnTo>
                  <a:lnTo>
                    <a:pt x="1002" y="114"/>
                  </a:lnTo>
                  <a:lnTo>
                    <a:pt x="1041" y="88"/>
                  </a:lnTo>
                  <a:lnTo>
                    <a:pt x="1075" y="64"/>
                  </a:lnTo>
                  <a:lnTo>
                    <a:pt x="1104" y="45"/>
                  </a:lnTo>
                  <a:lnTo>
                    <a:pt x="1129" y="29"/>
                  </a:lnTo>
                  <a:lnTo>
                    <a:pt x="1151" y="16"/>
                  </a:lnTo>
                  <a:lnTo>
                    <a:pt x="1168" y="8"/>
                  </a:lnTo>
                  <a:lnTo>
                    <a:pt x="1181" y="3"/>
                  </a:lnTo>
                  <a:lnTo>
                    <a:pt x="11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4000"/>
            </a:p>
          </p:txBody>
        </p:sp>
        <p:sp>
          <p:nvSpPr>
            <p:cNvPr id="31" name="Freeform 7"/>
            <p:cNvSpPr>
              <a:spLocks/>
            </p:cNvSpPr>
            <p:nvPr/>
          </p:nvSpPr>
          <p:spPr bwMode="auto">
            <a:xfrm>
              <a:off x="3558" y="662"/>
              <a:ext cx="252" cy="461"/>
            </a:xfrm>
            <a:custGeom>
              <a:avLst/>
              <a:gdLst>
                <a:gd name="T0" fmla="*/ 1203 w 1765"/>
                <a:gd name="T1" fmla="*/ 6 h 3228"/>
                <a:gd name="T2" fmla="*/ 1198 w 1765"/>
                <a:gd name="T3" fmla="*/ 38 h 3228"/>
                <a:gd name="T4" fmla="*/ 1169 w 1765"/>
                <a:gd name="T5" fmla="*/ 98 h 3228"/>
                <a:gd name="T6" fmla="*/ 1122 w 1765"/>
                <a:gd name="T7" fmla="*/ 183 h 3228"/>
                <a:gd name="T8" fmla="*/ 1059 w 1765"/>
                <a:gd name="T9" fmla="*/ 292 h 3228"/>
                <a:gd name="T10" fmla="*/ 988 w 1765"/>
                <a:gd name="T11" fmla="*/ 422 h 3228"/>
                <a:gd name="T12" fmla="*/ 911 w 1765"/>
                <a:gd name="T13" fmla="*/ 574 h 3228"/>
                <a:gd name="T14" fmla="*/ 832 w 1765"/>
                <a:gd name="T15" fmla="*/ 743 h 3228"/>
                <a:gd name="T16" fmla="*/ 755 w 1765"/>
                <a:gd name="T17" fmla="*/ 930 h 3228"/>
                <a:gd name="T18" fmla="*/ 686 w 1765"/>
                <a:gd name="T19" fmla="*/ 1131 h 3228"/>
                <a:gd name="T20" fmla="*/ 628 w 1765"/>
                <a:gd name="T21" fmla="*/ 1347 h 3228"/>
                <a:gd name="T22" fmla="*/ 666 w 1765"/>
                <a:gd name="T23" fmla="*/ 1477 h 3228"/>
                <a:gd name="T24" fmla="*/ 883 w 1765"/>
                <a:gd name="T25" fmla="*/ 1449 h 3228"/>
                <a:gd name="T26" fmla="*/ 1117 w 1765"/>
                <a:gd name="T27" fmla="*/ 1481 h 3228"/>
                <a:gd name="T28" fmla="*/ 1328 w 1765"/>
                <a:gd name="T29" fmla="*/ 1571 h 3228"/>
                <a:gd name="T30" fmla="*/ 1507 w 1765"/>
                <a:gd name="T31" fmla="*/ 1709 h 3228"/>
                <a:gd name="T32" fmla="*/ 1645 w 1765"/>
                <a:gd name="T33" fmla="*/ 1889 h 3228"/>
                <a:gd name="T34" fmla="*/ 1733 w 1765"/>
                <a:gd name="T35" fmla="*/ 2102 h 3228"/>
                <a:gd name="T36" fmla="*/ 1765 w 1765"/>
                <a:gd name="T37" fmla="*/ 2338 h 3228"/>
                <a:gd name="T38" fmla="*/ 1733 w 1765"/>
                <a:gd name="T39" fmla="*/ 2575 h 3228"/>
                <a:gd name="T40" fmla="*/ 1645 w 1765"/>
                <a:gd name="T41" fmla="*/ 2787 h 3228"/>
                <a:gd name="T42" fmla="*/ 1507 w 1765"/>
                <a:gd name="T43" fmla="*/ 2968 h 3228"/>
                <a:gd name="T44" fmla="*/ 1328 w 1765"/>
                <a:gd name="T45" fmla="*/ 3106 h 3228"/>
                <a:gd name="T46" fmla="*/ 1117 w 1765"/>
                <a:gd name="T47" fmla="*/ 3196 h 3228"/>
                <a:gd name="T48" fmla="*/ 883 w 1765"/>
                <a:gd name="T49" fmla="*/ 3228 h 3228"/>
                <a:gd name="T50" fmla="*/ 648 w 1765"/>
                <a:gd name="T51" fmla="*/ 3196 h 3228"/>
                <a:gd name="T52" fmla="*/ 438 w 1765"/>
                <a:gd name="T53" fmla="*/ 3106 h 3228"/>
                <a:gd name="T54" fmla="*/ 260 w 1765"/>
                <a:gd name="T55" fmla="*/ 2968 h 3228"/>
                <a:gd name="T56" fmla="*/ 122 w 1765"/>
                <a:gd name="T57" fmla="*/ 2787 h 3228"/>
                <a:gd name="T58" fmla="*/ 32 w 1765"/>
                <a:gd name="T59" fmla="*/ 2575 h 3228"/>
                <a:gd name="T60" fmla="*/ 1 w 1765"/>
                <a:gd name="T61" fmla="*/ 2338 h 3228"/>
                <a:gd name="T62" fmla="*/ 0 w 1765"/>
                <a:gd name="T63" fmla="*/ 2319 h 3228"/>
                <a:gd name="T64" fmla="*/ 0 w 1765"/>
                <a:gd name="T65" fmla="*/ 2242 h 3228"/>
                <a:gd name="T66" fmla="*/ 5 w 1765"/>
                <a:gd name="T67" fmla="*/ 2116 h 3228"/>
                <a:gd name="T68" fmla="*/ 18 w 1765"/>
                <a:gd name="T69" fmla="*/ 1948 h 3228"/>
                <a:gd name="T70" fmla="*/ 45 w 1765"/>
                <a:gd name="T71" fmla="*/ 1747 h 3228"/>
                <a:gd name="T72" fmla="*/ 89 w 1765"/>
                <a:gd name="T73" fmla="*/ 1522 h 3228"/>
                <a:gd name="T74" fmla="*/ 153 w 1765"/>
                <a:gd name="T75" fmla="*/ 1282 h 3228"/>
                <a:gd name="T76" fmla="*/ 244 w 1765"/>
                <a:gd name="T77" fmla="*/ 1035 h 3228"/>
                <a:gd name="T78" fmla="*/ 364 w 1765"/>
                <a:gd name="T79" fmla="*/ 791 h 3228"/>
                <a:gd name="T80" fmla="*/ 518 w 1765"/>
                <a:gd name="T81" fmla="*/ 558 h 3228"/>
                <a:gd name="T82" fmla="*/ 709 w 1765"/>
                <a:gd name="T83" fmla="*/ 345 h 3228"/>
                <a:gd name="T84" fmla="*/ 913 w 1765"/>
                <a:gd name="T85" fmla="*/ 181 h 3228"/>
                <a:gd name="T86" fmla="*/ 1041 w 1765"/>
                <a:gd name="T87" fmla="*/ 88 h 3228"/>
                <a:gd name="T88" fmla="*/ 1130 w 1765"/>
                <a:gd name="T89" fmla="*/ 29 h 3228"/>
                <a:gd name="T90" fmla="*/ 1182 w 1765"/>
                <a:gd name="T91" fmla="*/ 3 h 3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65" h="3228">
                  <a:moveTo>
                    <a:pt x="1193" y="0"/>
                  </a:moveTo>
                  <a:lnTo>
                    <a:pt x="1200" y="1"/>
                  </a:lnTo>
                  <a:lnTo>
                    <a:pt x="1203" y="6"/>
                  </a:lnTo>
                  <a:lnTo>
                    <a:pt x="1204" y="14"/>
                  </a:lnTo>
                  <a:lnTo>
                    <a:pt x="1202" y="24"/>
                  </a:lnTo>
                  <a:lnTo>
                    <a:pt x="1198" y="38"/>
                  </a:lnTo>
                  <a:lnTo>
                    <a:pt x="1191" y="55"/>
                  </a:lnTo>
                  <a:lnTo>
                    <a:pt x="1181" y="76"/>
                  </a:lnTo>
                  <a:lnTo>
                    <a:pt x="1169" y="98"/>
                  </a:lnTo>
                  <a:lnTo>
                    <a:pt x="1155" y="124"/>
                  </a:lnTo>
                  <a:lnTo>
                    <a:pt x="1139" y="152"/>
                  </a:lnTo>
                  <a:lnTo>
                    <a:pt x="1122" y="183"/>
                  </a:lnTo>
                  <a:lnTo>
                    <a:pt x="1103" y="216"/>
                  </a:lnTo>
                  <a:lnTo>
                    <a:pt x="1082" y="253"/>
                  </a:lnTo>
                  <a:lnTo>
                    <a:pt x="1059" y="292"/>
                  </a:lnTo>
                  <a:lnTo>
                    <a:pt x="1037" y="333"/>
                  </a:lnTo>
                  <a:lnTo>
                    <a:pt x="1013" y="376"/>
                  </a:lnTo>
                  <a:lnTo>
                    <a:pt x="988" y="422"/>
                  </a:lnTo>
                  <a:lnTo>
                    <a:pt x="963" y="470"/>
                  </a:lnTo>
                  <a:lnTo>
                    <a:pt x="937" y="521"/>
                  </a:lnTo>
                  <a:lnTo>
                    <a:pt x="911" y="574"/>
                  </a:lnTo>
                  <a:lnTo>
                    <a:pt x="884" y="627"/>
                  </a:lnTo>
                  <a:lnTo>
                    <a:pt x="858" y="684"/>
                  </a:lnTo>
                  <a:lnTo>
                    <a:pt x="832" y="743"/>
                  </a:lnTo>
                  <a:lnTo>
                    <a:pt x="806" y="803"/>
                  </a:lnTo>
                  <a:lnTo>
                    <a:pt x="780" y="865"/>
                  </a:lnTo>
                  <a:lnTo>
                    <a:pt x="755" y="930"/>
                  </a:lnTo>
                  <a:lnTo>
                    <a:pt x="731" y="995"/>
                  </a:lnTo>
                  <a:lnTo>
                    <a:pt x="708" y="1062"/>
                  </a:lnTo>
                  <a:lnTo>
                    <a:pt x="686" y="1131"/>
                  </a:lnTo>
                  <a:lnTo>
                    <a:pt x="665" y="1202"/>
                  </a:lnTo>
                  <a:lnTo>
                    <a:pt x="646" y="1274"/>
                  </a:lnTo>
                  <a:lnTo>
                    <a:pt x="628" y="1347"/>
                  </a:lnTo>
                  <a:lnTo>
                    <a:pt x="612" y="1422"/>
                  </a:lnTo>
                  <a:lnTo>
                    <a:pt x="597" y="1498"/>
                  </a:lnTo>
                  <a:lnTo>
                    <a:pt x="666" y="1477"/>
                  </a:lnTo>
                  <a:lnTo>
                    <a:pt x="737" y="1461"/>
                  </a:lnTo>
                  <a:lnTo>
                    <a:pt x="809" y="1452"/>
                  </a:lnTo>
                  <a:lnTo>
                    <a:pt x="883" y="1449"/>
                  </a:lnTo>
                  <a:lnTo>
                    <a:pt x="963" y="1453"/>
                  </a:lnTo>
                  <a:lnTo>
                    <a:pt x="1041" y="1463"/>
                  </a:lnTo>
                  <a:lnTo>
                    <a:pt x="1117" y="1481"/>
                  </a:lnTo>
                  <a:lnTo>
                    <a:pt x="1191" y="1505"/>
                  </a:lnTo>
                  <a:lnTo>
                    <a:pt x="1261" y="1534"/>
                  </a:lnTo>
                  <a:lnTo>
                    <a:pt x="1328" y="1571"/>
                  </a:lnTo>
                  <a:lnTo>
                    <a:pt x="1391" y="1612"/>
                  </a:lnTo>
                  <a:lnTo>
                    <a:pt x="1451" y="1659"/>
                  </a:lnTo>
                  <a:lnTo>
                    <a:pt x="1507" y="1709"/>
                  </a:lnTo>
                  <a:lnTo>
                    <a:pt x="1558" y="1765"/>
                  </a:lnTo>
                  <a:lnTo>
                    <a:pt x="1603" y="1825"/>
                  </a:lnTo>
                  <a:lnTo>
                    <a:pt x="1645" y="1889"/>
                  </a:lnTo>
                  <a:lnTo>
                    <a:pt x="1680" y="1957"/>
                  </a:lnTo>
                  <a:lnTo>
                    <a:pt x="1710" y="2028"/>
                  </a:lnTo>
                  <a:lnTo>
                    <a:pt x="1733" y="2102"/>
                  </a:lnTo>
                  <a:lnTo>
                    <a:pt x="1750" y="2178"/>
                  </a:lnTo>
                  <a:lnTo>
                    <a:pt x="1762" y="2257"/>
                  </a:lnTo>
                  <a:lnTo>
                    <a:pt x="1765" y="2338"/>
                  </a:lnTo>
                  <a:lnTo>
                    <a:pt x="1762" y="2419"/>
                  </a:lnTo>
                  <a:lnTo>
                    <a:pt x="1750" y="2498"/>
                  </a:lnTo>
                  <a:lnTo>
                    <a:pt x="1733" y="2575"/>
                  </a:lnTo>
                  <a:lnTo>
                    <a:pt x="1710" y="2649"/>
                  </a:lnTo>
                  <a:lnTo>
                    <a:pt x="1680" y="2720"/>
                  </a:lnTo>
                  <a:lnTo>
                    <a:pt x="1645" y="2787"/>
                  </a:lnTo>
                  <a:lnTo>
                    <a:pt x="1603" y="2851"/>
                  </a:lnTo>
                  <a:lnTo>
                    <a:pt x="1558" y="2912"/>
                  </a:lnTo>
                  <a:lnTo>
                    <a:pt x="1507" y="2968"/>
                  </a:lnTo>
                  <a:lnTo>
                    <a:pt x="1451" y="3019"/>
                  </a:lnTo>
                  <a:lnTo>
                    <a:pt x="1391" y="3065"/>
                  </a:lnTo>
                  <a:lnTo>
                    <a:pt x="1328" y="3106"/>
                  </a:lnTo>
                  <a:lnTo>
                    <a:pt x="1261" y="3142"/>
                  </a:lnTo>
                  <a:lnTo>
                    <a:pt x="1191" y="3172"/>
                  </a:lnTo>
                  <a:lnTo>
                    <a:pt x="1117" y="3196"/>
                  </a:lnTo>
                  <a:lnTo>
                    <a:pt x="1041" y="3213"/>
                  </a:lnTo>
                  <a:lnTo>
                    <a:pt x="963" y="3223"/>
                  </a:lnTo>
                  <a:lnTo>
                    <a:pt x="883" y="3228"/>
                  </a:lnTo>
                  <a:lnTo>
                    <a:pt x="802" y="3223"/>
                  </a:lnTo>
                  <a:lnTo>
                    <a:pt x="724" y="3213"/>
                  </a:lnTo>
                  <a:lnTo>
                    <a:pt x="648" y="3196"/>
                  </a:lnTo>
                  <a:lnTo>
                    <a:pt x="576" y="3172"/>
                  </a:lnTo>
                  <a:lnTo>
                    <a:pt x="506" y="3142"/>
                  </a:lnTo>
                  <a:lnTo>
                    <a:pt x="438" y="3106"/>
                  </a:lnTo>
                  <a:lnTo>
                    <a:pt x="374" y="3065"/>
                  </a:lnTo>
                  <a:lnTo>
                    <a:pt x="315" y="3019"/>
                  </a:lnTo>
                  <a:lnTo>
                    <a:pt x="260" y="2968"/>
                  </a:lnTo>
                  <a:lnTo>
                    <a:pt x="209" y="2912"/>
                  </a:lnTo>
                  <a:lnTo>
                    <a:pt x="162" y="2851"/>
                  </a:lnTo>
                  <a:lnTo>
                    <a:pt x="122" y="2787"/>
                  </a:lnTo>
                  <a:lnTo>
                    <a:pt x="86" y="2720"/>
                  </a:lnTo>
                  <a:lnTo>
                    <a:pt x="56" y="2649"/>
                  </a:lnTo>
                  <a:lnTo>
                    <a:pt x="32" y="2575"/>
                  </a:lnTo>
                  <a:lnTo>
                    <a:pt x="15" y="2498"/>
                  </a:lnTo>
                  <a:lnTo>
                    <a:pt x="5" y="2419"/>
                  </a:lnTo>
                  <a:lnTo>
                    <a:pt x="1" y="2338"/>
                  </a:lnTo>
                  <a:lnTo>
                    <a:pt x="1" y="2337"/>
                  </a:lnTo>
                  <a:lnTo>
                    <a:pt x="1" y="2331"/>
                  </a:lnTo>
                  <a:lnTo>
                    <a:pt x="0" y="2319"/>
                  </a:lnTo>
                  <a:lnTo>
                    <a:pt x="0" y="2299"/>
                  </a:lnTo>
                  <a:lnTo>
                    <a:pt x="0" y="2274"/>
                  </a:lnTo>
                  <a:lnTo>
                    <a:pt x="0" y="2242"/>
                  </a:lnTo>
                  <a:lnTo>
                    <a:pt x="1" y="2206"/>
                  </a:lnTo>
                  <a:lnTo>
                    <a:pt x="3" y="2162"/>
                  </a:lnTo>
                  <a:lnTo>
                    <a:pt x="5" y="2116"/>
                  </a:lnTo>
                  <a:lnTo>
                    <a:pt x="8" y="2064"/>
                  </a:lnTo>
                  <a:lnTo>
                    <a:pt x="13" y="2007"/>
                  </a:lnTo>
                  <a:lnTo>
                    <a:pt x="18" y="1948"/>
                  </a:lnTo>
                  <a:lnTo>
                    <a:pt x="25" y="1884"/>
                  </a:lnTo>
                  <a:lnTo>
                    <a:pt x="34" y="1816"/>
                  </a:lnTo>
                  <a:lnTo>
                    <a:pt x="45" y="1747"/>
                  </a:lnTo>
                  <a:lnTo>
                    <a:pt x="57" y="1674"/>
                  </a:lnTo>
                  <a:lnTo>
                    <a:pt x="72" y="1598"/>
                  </a:lnTo>
                  <a:lnTo>
                    <a:pt x="89" y="1522"/>
                  </a:lnTo>
                  <a:lnTo>
                    <a:pt x="108" y="1443"/>
                  </a:lnTo>
                  <a:lnTo>
                    <a:pt x="129" y="1363"/>
                  </a:lnTo>
                  <a:lnTo>
                    <a:pt x="153" y="1282"/>
                  </a:lnTo>
                  <a:lnTo>
                    <a:pt x="180" y="1200"/>
                  </a:lnTo>
                  <a:lnTo>
                    <a:pt x="210" y="1117"/>
                  </a:lnTo>
                  <a:lnTo>
                    <a:pt x="244" y="1035"/>
                  </a:lnTo>
                  <a:lnTo>
                    <a:pt x="280" y="953"/>
                  </a:lnTo>
                  <a:lnTo>
                    <a:pt x="320" y="872"/>
                  </a:lnTo>
                  <a:lnTo>
                    <a:pt x="364" y="791"/>
                  </a:lnTo>
                  <a:lnTo>
                    <a:pt x="412" y="712"/>
                  </a:lnTo>
                  <a:lnTo>
                    <a:pt x="463" y="634"/>
                  </a:lnTo>
                  <a:lnTo>
                    <a:pt x="518" y="558"/>
                  </a:lnTo>
                  <a:lnTo>
                    <a:pt x="577" y="485"/>
                  </a:lnTo>
                  <a:lnTo>
                    <a:pt x="641" y="414"/>
                  </a:lnTo>
                  <a:lnTo>
                    <a:pt x="709" y="345"/>
                  </a:lnTo>
                  <a:lnTo>
                    <a:pt x="783" y="280"/>
                  </a:lnTo>
                  <a:lnTo>
                    <a:pt x="861" y="218"/>
                  </a:lnTo>
                  <a:lnTo>
                    <a:pt x="913" y="181"/>
                  </a:lnTo>
                  <a:lnTo>
                    <a:pt x="961" y="145"/>
                  </a:lnTo>
                  <a:lnTo>
                    <a:pt x="1003" y="114"/>
                  </a:lnTo>
                  <a:lnTo>
                    <a:pt x="1041" y="88"/>
                  </a:lnTo>
                  <a:lnTo>
                    <a:pt x="1075" y="64"/>
                  </a:lnTo>
                  <a:lnTo>
                    <a:pt x="1105" y="45"/>
                  </a:lnTo>
                  <a:lnTo>
                    <a:pt x="1130" y="29"/>
                  </a:lnTo>
                  <a:lnTo>
                    <a:pt x="1151" y="16"/>
                  </a:lnTo>
                  <a:lnTo>
                    <a:pt x="1168" y="8"/>
                  </a:lnTo>
                  <a:lnTo>
                    <a:pt x="1182" y="3"/>
                  </a:lnTo>
                  <a:lnTo>
                    <a:pt x="11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sz="4000"/>
            </a:p>
          </p:txBody>
        </p:sp>
      </p:grpSp>
    </p:spTree>
    <p:extLst>
      <p:ext uri="{BB962C8B-B14F-4D97-AF65-F5344CB8AC3E}">
        <p14:creationId xmlns:p14="http://schemas.microsoft.com/office/powerpoint/2010/main" val="63478034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013324" cy="1511654"/>
          </a:xfrm>
        </p:spPr>
        <p:txBody>
          <a:bodyPr>
            <a:normAutofit/>
          </a:bodyPr>
          <a:lstStyle/>
          <a:p>
            <a:r>
              <a:rPr lang="en-US"/>
              <a:t>BENEFIT </a:t>
            </a:r>
            <a:r>
              <a:rPr lang="en-US" dirty="0"/>
              <a:t>21: CROSS BORDER CLIENTS MAY AVOID DOUBLE TA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30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Double taxation is avoided because tax liability flows through to the individual level and tax credits are given by the CTA (Canadian Tax Authority)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The Land Trust avoids being taxed as a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corporation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7677670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013324" cy="1511654"/>
          </a:xfrm>
        </p:spPr>
        <p:txBody>
          <a:bodyPr>
            <a:normAutofit/>
          </a:bodyPr>
          <a:lstStyle/>
          <a:p>
            <a:r>
              <a:rPr lang="en-US"/>
              <a:t>BENEFIT </a:t>
            </a:r>
            <a:r>
              <a:rPr lang="en-US" dirty="0"/>
              <a:t>22: SPLIT OWNERSHIP NOW TO MINIMIZE TAXES LA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31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You must use living trust or land trust to split ownership (an irrevocable trust will not work)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However, the living trust will not provide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asset protection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7860836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013324" cy="1439217"/>
          </a:xfrm>
        </p:spPr>
        <p:txBody>
          <a:bodyPr>
            <a:normAutofit/>
          </a:bodyPr>
          <a:lstStyle/>
          <a:p>
            <a:r>
              <a:rPr lang="en-US"/>
              <a:t>BENEFIT </a:t>
            </a:r>
            <a:r>
              <a:rPr lang="en-US" dirty="0"/>
              <a:t>23: PLANNING TO DISTRIBUTE ALL PROPERTY AT DEAT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32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You must use living trust or land trust to split ownership (an irrevocable trust will not work)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However, the Land Trust has asset protection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potential and estate tax curtailment 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strategies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7999431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013324" cy="1547167"/>
          </a:xfrm>
        </p:spPr>
        <p:txBody>
          <a:bodyPr>
            <a:normAutofit/>
          </a:bodyPr>
          <a:lstStyle/>
          <a:p>
            <a:r>
              <a:rPr lang="en-US"/>
              <a:t>BENEFIT </a:t>
            </a:r>
            <a:r>
              <a:rPr lang="en-US" dirty="0"/>
              <a:t>24: THE LAND TRUST IS INEXPENSIVE TO IMPLE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33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 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The Land Trust has many advantages found only in trusts which are formed, such as an irrevocable trust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9236600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013324" cy="814797"/>
          </a:xfrm>
        </p:spPr>
        <p:txBody>
          <a:bodyPr>
            <a:normAutofit fontScale="90000"/>
          </a:bodyPr>
          <a:lstStyle/>
          <a:p>
            <a:r>
              <a:rPr lang="en-US" dirty="0"/>
              <a:t> BENEFIT 25: A REGISTERED AGENT IS NOT REQUIRED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34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A registered agent is not required as in a corporation.  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Therefore, the client doesn’t have to pay 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an attorney to act as one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You may use anyone as your trustee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7052997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013324" cy="814797"/>
          </a:xfrm>
        </p:spPr>
        <p:txBody>
          <a:bodyPr>
            <a:normAutofit fontScale="90000"/>
          </a:bodyPr>
          <a:lstStyle/>
          <a:p>
            <a:r>
              <a:rPr lang="en-US" dirty="0"/>
              <a:t> BENEFIT 26: PROPERTY IS EASIER TO FORECLOSE UP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35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 marL="742950" indent="-742950">
              <a:spcBef>
                <a:spcPts val="600"/>
              </a:spcBef>
              <a:buAutoNum type="arabicPeriod"/>
            </a:pPr>
            <a:r>
              <a:rPr lang="en-US" sz="3600" b="1" dirty="0">
                <a:solidFill>
                  <a:schemeClr val="tx1"/>
                </a:solidFill>
              </a:rPr>
              <a:t>Beneficiary sells his beneficial interest in the land trust rather than taking back a contract for deed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 marL="742950" indent="-742950">
              <a:spcBef>
                <a:spcPts val="600"/>
              </a:spcBef>
              <a:buAutoNum type="arabicPeriod" startAt="2"/>
            </a:pPr>
            <a:r>
              <a:rPr lang="en-US" sz="3600" b="1" dirty="0">
                <a:solidFill>
                  <a:schemeClr val="tx1"/>
                </a:solidFill>
              </a:rPr>
              <a:t>Buyer defaults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3.   Personal property-- U.C.C rules apply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2242577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082674"/>
          </a:xfrm>
        </p:spPr>
        <p:txBody>
          <a:bodyPr>
            <a:normAutofit fontScale="90000"/>
          </a:bodyPr>
          <a:lstStyle/>
          <a:p>
            <a:r>
              <a:rPr lang="en-US" dirty="0"/>
              <a:t>BENEFIT 27:  EASE IN OPERATING ACROSS STATE LIN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36</a:t>
            </a:fld>
            <a:endParaRPr lang="en-US"/>
          </a:p>
        </p:txBody>
      </p:sp>
      <p:sp>
        <p:nvSpPr>
          <p:cNvPr id="62" name="Rectangle 61"/>
          <p:cNvSpPr/>
          <p:nvPr/>
        </p:nvSpPr>
        <p:spPr bwMode="gray">
          <a:xfrm>
            <a:off x="737958" y="2249366"/>
            <a:ext cx="10479675" cy="716569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3657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   </a:t>
            </a:r>
            <a:r>
              <a:rPr lang="en-US" sz="2400" b="1" dirty="0"/>
              <a:t>Full faith and credit law reciprocity</a:t>
            </a:r>
            <a:endParaRPr lang="en-US" dirty="0"/>
          </a:p>
        </p:txBody>
      </p:sp>
      <p:sp>
        <p:nvSpPr>
          <p:cNvPr id="63" name="Rectangle 62"/>
          <p:cNvSpPr/>
          <p:nvPr/>
        </p:nvSpPr>
        <p:spPr bwMode="gray">
          <a:xfrm>
            <a:off x="609600" y="2249366"/>
            <a:ext cx="91503" cy="716569"/>
          </a:xfrm>
          <a:prstGeom prst="rect">
            <a:avLst/>
          </a:prstGeom>
          <a:solidFill>
            <a:srgbClr val="00569B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7315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64" name="Rectangle 63"/>
          <p:cNvSpPr/>
          <p:nvPr/>
        </p:nvSpPr>
        <p:spPr bwMode="gray">
          <a:xfrm>
            <a:off x="737958" y="3050932"/>
            <a:ext cx="10479675" cy="716569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3657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    </a:t>
            </a:r>
            <a:r>
              <a:rPr lang="en-US" sz="2400" b="1" dirty="0"/>
              <a:t>Use state other than your situs</a:t>
            </a:r>
            <a:r>
              <a:rPr lang="en-US" dirty="0"/>
              <a:t>.</a:t>
            </a:r>
          </a:p>
        </p:txBody>
      </p:sp>
      <p:sp>
        <p:nvSpPr>
          <p:cNvPr id="65" name="Rectangle 64"/>
          <p:cNvSpPr/>
          <p:nvPr/>
        </p:nvSpPr>
        <p:spPr bwMode="gray">
          <a:xfrm>
            <a:off x="609600" y="3050932"/>
            <a:ext cx="91503" cy="716569"/>
          </a:xfrm>
          <a:prstGeom prst="rect">
            <a:avLst/>
          </a:prstGeom>
          <a:solidFill>
            <a:srgbClr val="00569B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7315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66" name="Rectangle 65"/>
          <p:cNvSpPr/>
          <p:nvPr/>
        </p:nvSpPr>
        <p:spPr bwMode="gray">
          <a:xfrm>
            <a:off x="739867" y="3852498"/>
            <a:ext cx="10479675" cy="716569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3657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    </a:t>
            </a:r>
            <a:r>
              <a:rPr lang="en-US" sz="2400" b="1" dirty="0"/>
              <a:t>Apply for federal jurisdiction in litigation matters</a:t>
            </a:r>
            <a:r>
              <a:rPr lang="en-US" dirty="0"/>
              <a:t>.</a:t>
            </a:r>
          </a:p>
        </p:txBody>
      </p:sp>
      <p:sp>
        <p:nvSpPr>
          <p:cNvPr id="67" name="Rectangle 66"/>
          <p:cNvSpPr/>
          <p:nvPr/>
        </p:nvSpPr>
        <p:spPr bwMode="gray">
          <a:xfrm>
            <a:off x="611508" y="3852498"/>
            <a:ext cx="91503" cy="716569"/>
          </a:xfrm>
          <a:prstGeom prst="rect">
            <a:avLst/>
          </a:prstGeom>
          <a:solidFill>
            <a:srgbClr val="00569B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7315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68" name="Rectangle 67"/>
          <p:cNvSpPr/>
          <p:nvPr/>
        </p:nvSpPr>
        <p:spPr bwMode="gray">
          <a:xfrm>
            <a:off x="739867" y="4654064"/>
            <a:ext cx="10479675" cy="716569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3657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     </a:t>
            </a:r>
            <a:r>
              <a:rPr lang="en-US" sz="2400" b="1" dirty="0"/>
              <a:t>Out of state structures create confusion</a:t>
            </a:r>
            <a:endParaRPr lang="en-US" dirty="0"/>
          </a:p>
        </p:txBody>
      </p:sp>
      <p:sp>
        <p:nvSpPr>
          <p:cNvPr id="69" name="Rectangle 68"/>
          <p:cNvSpPr/>
          <p:nvPr/>
        </p:nvSpPr>
        <p:spPr bwMode="gray">
          <a:xfrm>
            <a:off x="611508" y="4654064"/>
            <a:ext cx="91503" cy="716569"/>
          </a:xfrm>
          <a:prstGeom prst="rect">
            <a:avLst/>
          </a:prstGeom>
          <a:solidFill>
            <a:srgbClr val="00569B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7315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70" name="Rectangle 69"/>
          <p:cNvSpPr/>
          <p:nvPr/>
        </p:nvSpPr>
        <p:spPr bwMode="gray">
          <a:xfrm>
            <a:off x="737958" y="5455631"/>
            <a:ext cx="10479675" cy="716569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3657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/>
              <a:t>      </a:t>
            </a:r>
            <a:r>
              <a:rPr lang="en-US" b="1"/>
              <a:t>“</a:t>
            </a:r>
            <a:r>
              <a:rPr lang="en-US" sz="2400" b="1"/>
              <a:t>Settlement </a:t>
            </a:r>
            <a:r>
              <a:rPr lang="en-US" sz="2400" b="1" dirty="0"/>
              <a:t>is </a:t>
            </a:r>
            <a:r>
              <a:rPr lang="en-US" sz="2400" b="1"/>
              <a:t>an Art”</a:t>
            </a:r>
            <a:endParaRPr lang="en-US" dirty="0"/>
          </a:p>
        </p:txBody>
      </p:sp>
      <p:sp>
        <p:nvSpPr>
          <p:cNvPr id="71" name="Rectangle 70"/>
          <p:cNvSpPr/>
          <p:nvPr/>
        </p:nvSpPr>
        <p:spPr bwMode="gray">
          <a:xfrm>
            <a:off x="609600" y="5455631"/>
            <a:ext cx="91503" cy="716569"/>
          </a:xfrm>
          <a:prstGeom prst="rect">
            <a:avLst/>
          </a:prstGeom>
          <a:solidFill>
            <a:srgbClr val="00569B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7315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72" name="Rectangle 71"/>
          <p:cNvSpPr/>
          <p:nvPr/>
        </p:nvSpPr>
        <p:spPr bwMode="gray">
          <a:xfrm>
            <a:off x="739866" y="1447800"/>
            <a:ext cx="10479675" cy="716569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3657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   </a:t>
            </a:r>
            <a:r>
              <a:rPr lang="en-US" sz="2400" b="1" dirty="0"/>
              <a:t>No federal trust law.</a:t>
            </a:r>
            <a:endParaRPr lang="en-US" dirty="0"/>
          </a:p>
        </p:txBody>
      </p:sp>
      <p:sp>
        <p:nvSpPr>
          <p:cNvPr id="73" name="Rectangle 72"/>
          <p:cNvSpPr/>
          <p:nvPr/>
        </p:nvSpPr>
        <p:spPr bwMode="gray">
          <a:xfrm>
            <a:off x="611507" y="1447800"/>
            <a:ext cx="91503" cy="716569"/>
          </a:xfrm>
          <a:prstGeom prst="rect">
            <a:avLst/>
          </a:prstGeom>
          <a:solidFill>
            <a:srgbClr val="00569B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7315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75" name="Freeform: Shape 38">
            <a:extLst>
              <a:ext uri="{FF2B5EF4-FFF2-40B4-BE49-F238E27FC236}">
                <a16:creationId xmlns:a16="http://schemas.microsoft.com/office/drawing/2014/main" xmlns="" id="{3C483014-98BD-49B3-B734-786B8982ACFD}"/>
              </a:ext>
            </a:extLst>
          </p:cNvPr>
          <p:cNvSpPr/>
          <p:nvPr/>
        </p:nvSpPr>
        <p:spPr bwMode="gray">
          <a:xfrm rot="10800000" flipV="1">
            <a:off x="10939859" y="1566274"/>
            <a:ext cx="483650" cy="479620"/>
          </a:xfrm>
          <a:prstGeom prst="ellipse">
            <a:avLst/>
          </a:prstGeom>
          <a:solidFill>
            <a:srgbClr val="506D8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63500" dist="12700" sx="102000" sy="102000" algn="ct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rPr>
              <a:t>1</a:t>
            </a:r>
          </a:p>
        </p:txBody>
      </p:sp>
      <p:sp>
        <p:nvSpPr>
          <p:cNvPr id="81" name="Freeform: Shape 38">
            <a:extLst>
              <a:ext uri="{FF2B5EF4-FFF2-40B4-BE49-F238E27FC236}">
                <a16:creationId xmlns:a16="http://schemas.microsoft.com/office/drawing/2014/main" xmlns="" id="{FB86D8D7-400C-49E6-94FD-4F20F0DEC97C}"/>
              </a:ext>
            </a:extLst>
          </p:cNvPr>
          <p:cNvSpPr/>
          <p:nvPr/>
        </p:nvSpPr>
        <p:spPr bwMode="gray">
          <a:xfrm rot="10800000" flipV="1">
            <a:off x="10939859" y="5574106"/>
            <a:ext cx="483650" cy="479620"/>
          </a:xfrm>
          <a:prstGeom prst="ellipse">
            <a:avLst/>
          </a:prstGeom>
          <a:solidFill>
            <a:srgbClr val="506D8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63500" dist="12700" sx="102000" sy="102000" algn="ct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rPr>
              <a:t>6</a:t>
            </a:r>
          </a:p>
        </p:txBody>
      </p:sp>
      <p:sp>
        <p:nvSpPr>
          <p:cNvPr id="83" name="Freeform: Shape 38">
            <a:extLst>
              <a:ext uri="{FF2B5EF4-FFF2-40B4-BE49-F238E27FC236}">
                <a16:creationId xmlns:a16="http://schemas.microsoft.com/office/drawing/2014/main" xmlns="" id="{74B44EA9-488B-497E-B078-663BB02826BF}"/>
              </a:ext>
            </a:extLst>
          </p:cNvPr>
          <p:cNvSpPr/>
          <p:nvPr/>
        </p:nvSpPr>
        <p:spPr bwMode="gray">
          <a:xfrm rot="10800000" flipV="1">
            <a:off x="10939859" y="2367840"/>
            <a:ext cx="483650" cy="479620"/>
          </a:xfrm>
          <a:prstGeom prst="ellipse">
            <a:avLst/>
          </a:prstGeom>
          <a:solidFill>
            <a:srgbClr val="506D8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63500" dist="12700" sx="102000" sy="102000" algn="ct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rPr>
              <a:t>2</a:t>
            </a:r>
          </a:p>
        </p:txBody>
      </p:sp>
      <p:sp>
        <p:nvSpPr>
          <p:cNvPr id="86" name="Freeform: Shape 38">
            <a:extLst>
              <a:ext uri="{FF2B5EF4-FFF2-40B4-BE49-F238E27FC236}">
                <a16:creationId xmlns:a16="http://schemas.microsoft.com/office/drawing/2014/main" xmlns="" id="{2D2655E0-8029-4168-B131-0277094CAF14}"/>
              </a:ext>
            </a:extLst>
          </p:cNvPr>
          <p:cNvSpPr/>
          <p:nvPr/>
        </p:nvSpPr>
        <p:spPr bwMode="gray">
          <a:xfrm rot="10800000" flipV="1">
            <a:off x="10939859" y="3169406"/>
            <a:ext cx="483650" cy="479620"/>
          </a:xfrm>
          <a:prstGeom prst="ellipse">
            <a:avLst/>
          </a:prstGeom>
          <a:solidFill>
            <a:srgbClr val="506D8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63500" dist="12700" sx="102000" sy="102000" algn="ct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rPr>
              <a:t>3</a:t>
            </a:r>
          </a:p>
        </p:txBody>
      </p:sp>
      <p:sp>
        <p:nvSpPr>
          <p:cNvPr id="92" name="Freeform: Shape 38">
            <a:extLst>
              <a:ext uri="{FF2B5EF4-FFF2-40B4-BE49-F238E27FC236}">
                <a16:creationId xmlns:a16="http://schemas.microsoft.com/office/drawing/2014/main" xmlns="" id="{EC111AF1-03AA-4075-9D46-6C4BB1C4149A}"/>
              </a:ext>
            </a:extLst>
          </p:cNvPr>
          <p:cNvSpPr/>
          <p:nvPr/>
        </p:nvSpPr>
        <p:spPr bwMode="gray">
          <a:xfrm rot="10800000" flipV="1">
            <a:off x="10939859" y="3970972"/>
            <a:ext cx="483650" cy="479620"/>
          </a:xfrm>
          <a:prstGeom prst="ellipse">
            <a:avLst/>
          </a:prstGeom>
          <a:solidFill>
            <a:srgbClr val="506D8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63500" dist="12700" sx="102000" sy="102000" algn="ct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rPr>
              <a:t>4</a:t>
            </a:r>
          </a:p>
        </p:txBody>
      </p:sp>
      <p:sp>
        <p:nvSpPr>
          <p:cNvPr id="103" name="Freeform: Shape 38">
            <a:extLst>
              <a:ext uri="{FF2B5EF4-FFF2-40B4-BE49-F238E27FC236}">
                <a16:creationId xmlns:a16="http://schemas.microsoft.com/office/drawing/2014/main" xmlns="" id="{88CE5EDC-9ADE-4CF9-ACFB-51201F8A192F}"/>
              </a:ext>
            </a:extLst>
          </p:cNvPr>
          <p:cNvSpPr/>
          <p:nvPr/>
        </p:nvSpPr>
        <p:spPr bwMode="gray">
          <a:xfrm rot="10800000" flipV="1">
            <a:off x="10939859" y="4772538"/>
            <a:ext cx="483650" cy="479620"/>
          </a:xfrm>
          <a:prstGeom prst="ellipse">
            <a:avLst/>
          </a:prstGeom>
          <a:solidFill>
            <a:srgbClr val="506D8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63500" dist="12700" sx="102000" sy="102000" algn="ct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50915935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013324" cy="1362075"/>
          </a:xfrm>
        </p:spPr>
        <p:txBody>
          <a:bodyPr>
            <a:normAutofit/>
          </a:bodyPr>
          <a:lstStyle/>
          <a:p>
            <a:r>
              <a:rPr lang="en-US" dirty="0"/>
              <a:t>BENEFIT 28: STOP ADVERSARIES FROM CONTRACT INTERFERE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37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1. The power of direction to a Land Trust is assigning irrevocably to an out of state entity.</a:t>
            </a:r>
          </a:p>
          <a:p>
            <a:pPr marL="742950" indent="-742950">
              <a:spcBef>
                <a:spcPts val="600"/>
              </a:spcBef>
              <a:buAutoNum type="arabicPeriod"/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2.   The court cannot direct the trustee to sell the property and assign the beneficial interest to </a:t>
            </a:r>
          </a:p>
          <a:p>
            <a:pPr>
              <a:spcBef>
                <a:spcPts val="600"/>
              </a:spcBef>
            </a:pPr>
            <a:r>
              <a:rPr lang="en-US" sz="3600" b="1">
                <a:solidFill>
                  <a:schemeClr val="tx1"/>
                </a:solidFill>
              </a:rPr>
              <a:t>satisfy </a:t>
            </a:r>
            <a:r>
              <a:rPr lang="en-US" sz="3600" b="1" dirty="0">
                <a:solidFill>
                  <a:schemeClr val="tx1"/>
                </a:solidFill>
              </a:rPr>
              <a:t>a creditor claim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0009061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013324" cy="1447799"/>
          </a:xfrm>
        </p:spPr>
        <p:txBody>
          <a:bodyPr>
            <a:normAutofit/>
          </a:bodyPr>
          <a:lstStyle/>
          <a:p>
            <a:r>
              <a:rPr lang="en-US" dirty="0"/>
              <a:t>BENEFIT 29: AVOID IDENTITY THEFT OF NAME AND SIGNA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38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                No signatures are made public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9169315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013324" cy="814797"/>
          </a:xfrm>
        </p:spPr>
        <p:txBody>
          <a:bodyPr>
            <a:normAutofit/>
          </a:bodyPr>
          <a:lstStyle/>
          <a:p>
            <a:r>
              <a:rPr lang="en-US" dirty="0"/>
              <a:t> BENEFIT 30:  NO PERSONAL CREDIT REPORT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39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   This keeps debts off the beneficiary’s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   credit report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.c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098459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" name="think-cell Slide" r:id="rId4" imgW="381" imgH="318" progId="TCLayout.ActiveDocument.1">
                  <p:embed/>
                </p:oleObj>
              </mc:Choice>
              <mc:Fallback>
                <p:oleObj name="think-cell Slide" r:id="rId4" imgW="381" imgH="318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" t="31816" r="351" b="16939"/>
          <a:stretch>
            <a:fillRect/>
          </a:stretch>
        </p:blipFill>
        <p:spPr>
          <a:xfrm>
            <a:off x="0" y="1447800"/>
            <a:ext cx="12192000" cy="4724401"/>
          </a:xfrm>
          <a:custGeom>
            <a:avLst/>
            <a:gdLst>
              <a:gd name="connsiteX0" fmla="*/ 0 w 12192000"/>
              <a:gd name="connsiteY0" fmla="*/ 0 h 4724401"/>
              <a:gd name="connsiteX1" fmla="*/ 12192000 w 12192000"/>
              <a:gd name="connsiteY1" fmla="*/ 0 h 4724401"/>
              <a:gd name="connsiteX2" fmla="*/ 12192000 w 12192000"/>
              <a:gd name="connsiteY2" fmla="*/ 4724401 h 4724401"/>
              <a:gd name="connsiteX3" fmla="*/ 0 w 12192000"/>
              <a:gd name="connsiteY3" fmla="*/ 4724401 h 472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4724401">
                <a:moveTo>
                  <a:pt x="0" y="0"/>
                </a:moveTo>
                <a:lnTo>
                  <a:pt x="12192000" y="0"/>
                </a:lnTo>
                <a:lnTo>
                  <a:pt x="12192000" y="4724401"/>
                </a:lnTo>
                <a:lnTo>
                  <a:pt x="0" y="4724401"/>
                </a:lnTo>
                <a:close/>
              </a:path>
            </a:pathLst>
          </a:custGeom>
        </p:spPr>
      </p:pic>
      <p:sp>
        <p:nvSpPr>
          <p:cNvPr id="15" name="Rectangle 14"/>
          <p:cNvSpPr/>
          <p:nvPr/>
        </p:nvSpPr>
        <p:spPr>
          <a:xfrm>
            <a:off x="0" y="1447799"/>
            <a:ext cx="12192000" cy="4724401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 6"/>
          <p:cNvSpPr/>
          <p:nvPr/>
        </p:nvSpPr>
        <p:spPr>
          <a:xfrm>
            <a:off x="1" y="1440829"/>
            <a:ext cx="1641419" cy="4731371"/>
          </a:xfrm>
          <a:custGeom>
            <a:avLst/>
            <a:gdLst>
              <a:gd name="connsiteX0" fmla="*/ 0 w 1641419"/>
              <a:gd name="connsiteY0" fmla="*/ 0 h 5552580"/>
              <a:gd name="connsiteX1" fmla="*/ 244137 w 1641419"/>
              <a:gd name="connsiteY1" fmla="*/ 148317 h 5552580"/>
              <a:gd name="connsiteX2" fmla="*/ 1641419 w 1641419"/>
              <a:gd name="connsiteY2" fmla="*/ 2776290 h 5552580"/>
              <a:gd name="connsiteX3" fmla="*/ 244137 w 1641419"/>
              <a:gd name="connsiteY3" fmla="*/ 5404264 h 5552580"/>
              <a:gd name="connsiteX4" fmla="*/ 0 w 1641419"/>
              <a:gd name="connsiteY4" fmla="*/ 5552580 h 555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1419" h="5552580">
                <a:moveTo>
                  <a:pt x="0" y="0"/>
                </a:moveTo>
                <a:lnTo>
                  <a:pt x="244137" y="148317"/>
                </a:lnTo>
                <a:cubicBezTo>
                  <a:pt x="1087157" y="717850"/>
                  <a:pt x="1641419" y="1682343"/>
                  <a:pt x="1641419" y="2776290"/>
                </a:cubicBezTo>
                <a:cubicBezTo>
                  <a:pt x="1641419" y="3870238"/>
                  <a:pt x="1087157" y="4834731"/>
                  <a:pt x="244137" y="5404264"/>
                </a:cubicBezTo>
                <a:lnTo>
                  <a:pt x="0" y="555258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550545" y="1859040"/>
            <a:ext cx="3813810" cy="3813810"/>
          </a:xfrm>
          <a:prstGeom prst="ellipse">
            <a:avLst/>
          </a:prstGeom>
          <a:solidFill>
            <a:srgbClr val="00569B">
              <a:alpha val="50000"/>
            </a:srgbClr>
          </a:solidFill>
          <a:ln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569B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572001" y="2642561"/>
            <a:ext cx="701040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It is a simple arrangement whereby a TRUSTEE holds title to real estate for the benefit of another party (TRUSTOR and/or BENEFICIARY ) .</a:t>
            </a:r>
          </a:p>
          <a:p>
            <a:endParaRPr lang="en-US" sz="2800" dirty="0">
              <a:solidFill>
                <a:schemeClr val="bg1"/>
              </a:solidFill>
            </a:endParaRPr>
          </a:p>
          <a:p>
            <a:r>
              <a:rPr lang="en-US" sz="2800" dirty="0">
                <a:solidFill>
                  <a:schemeClr val="bg1"/>
                </a:solidFill>
              </a:rPr>
              <a:t>TRUSTEE EXECUTES ALL DOCUMENTS FOR “BENEFICIAL OWNERS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 LAND TRUST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4</a:t>
            </a:fld>
            <a:endParaRPr lang="en-US"/>
          </a:p>
        </p:txBody>
      </p:sp>
      <p:grpSp>
        <p:nvGrpSpPr>
          <p:cNvPr id="5" name="Group 25"/>
          <p:cNvGrpSpPr>
            <a:grpSpLocks noChangeAspect="1"/>
          </p:cNvGrpSpPr>
          <p:nvPr/>
        </p:nvGrpSpPr>
        <p:grpSpPr bwMode="auto">
          <a:xfrm>
            <a:off x="1090136" y="2502933"/>
            <a:ext cx="2734628" cy="2526823"/>
            <a:chOff x="765" y="1649"/>
            <a:chExt cx="1566" cy="1447"/>
          </a:xfrm>
          <a:solidFill>
            <a:schemeClr val="bg1">
              <a:alpha val="10000"/>
            </a:schemeClr>
          </a:solidFill>
        </p:grpSpPr>
        <p:sp>
          <p:nvSpPr>
            <p:cNvPr id="13" name="Rectangle 27"/>
            <p:cNvSpPr>
              <a:spLocks noChangeArrowheads="1"/>
            </p:cNvSpPr>
            <p:nvPr/>
          </p:nvSpPr>
          <p:spPr bwMode="auto">
            <a:xfrm>
              <a:off x="857" y="2148"/>
              <a:ext cx="69" cy="16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Rectangle 28"/>
            <p:cNvSpPr>
              <a:spLocks noChangeArrowheads="1"/>
            </p:cNvSpPr>
            <p:nvPr/>
          </p:nvSpPr>
          <p:spPr bwMode="auto">
            <a:xfrm>
              <a:off x="857" y="2438"/>
              <a:ext cx="69" cy="16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9"/>
            <p:cNvSpPr>
              <a:spLocks/>
            </p:cNvSpPr>
            <p:nvPr/>
          </p:nvSpPr>
          <p:spPr bwMode="auto">
            <a:xfrm>
              <a:off x="857" y="1649"/>
              <a:ext cx="1216" cy="613"/>
            </a:xfrm>
            <a:custGeom>
              <a:avLst/>
              <a:gdLst>
                <a:gd name="T0" fmla="*/ 3648 w 3648"/>
                <a:gd name="T1" fmla="*/ 1256 h 1839"/>
                <a:gd name="T2" fmla="*/ 3648 w 3648"/>
                <a:gd name="T3" fmla="*/ 1633 h 1839"/>
                <a:gd name="T4" fmla="*/ 3439 w 3648"/>
                <a:gd name="T5" fmla="*/ 1839 h 1839"/>
                <a:gd name="T6" fmla="*/ 3439 w 3648"/>
                <a:gd name="T7" fmla="*/ 382 h 1839"/>
                <a:gd name="T8" fmla="*/ 3435 w 3648"/>
                <a:gd name="T9" fmla="*/ 347 h 1839"/>
                <a:gd name="T10" fmla="*/ 3425 w 3648"/>
                <a:gd name="T11" fmla="*/ 314 h 1839"/>
                <a:gd name="T12" fmla="*/ 3409 w 3648"/>
                <a:gd name="T13" fmla="*/ 285 h 1839"/>
                <a:gd name="T14" fmla="*/ 3388 w 3648"/>
                <a:gd name="T15" fmla="*/ 260 h 1839"/>
                <a:gd name="T16" fmla="*/ 3362 w 3648"/>
                <a:gd name="T17" fmla="*/ 238 h 1839"/>
                <a:gd name="T18" fmla="*/ 3332 w 3648"/>
                <a:gd name="T19" fmla="*/ 221 h 1839"/>
                <a:gd name="T20" fmla="*/ 3299 w 3648"/>
                <a:gd name="T21" fmla="*/ 211 h 1839"/>
                <a:gd name="T22" fmla="*/ 3265 w 3648"/>
                <a:gd name="T23" fmla="*/ 208 h 1839"/>
                <a:gd name="T24" fmla="*/ 381 w 3648"/>
                <a:gd name="T25" fmla="*/ 208 h 1839"/>
                <a:gd name="T26" fmla="*/ 346 w 3648"/>
                <a:gd name="T27" fmla="*/ 211 h 1839"/>
                <a:gd name="T28" fmla="*/ 314 w 3648"/>
                <a:gd name="T29" fmla="*/ 221 h 1839"/>
                <a:gd name="T30" fmla="*/ 284 w 3648"/>
                <a:gd name="T31" fmla="*/ 238 h 1839"/>
                <a:gd name="T32" fmla="*/ 258 w 3648"/>
                <a:gd name="T33" fmla="*/ 260 h 1839"/>
                <a:gd name="T34" fmla="*/ 237 w 3648"/>
                <a:gd name="T35" fmla="*/ 285 h 1839"/>
                <a:gd name="T36" fmla="*/ 221 w 3648"/>
                <a:gd name="T37" fmla="*/ 314 h 1839"/>
                <a:gd name="T38" fmla="*/ 211 w 3648"/>
                <a:gd name="T39" fmla="*/ 347 h 1839"/>
                <a:gd name="T40" fmla="*/ 207 w 3648"/>
                <a:gd name="T41" fmla="*/ 382 h 1839"/>
                <a:gd name="T42" fmla="*/ 207 w 3648"/>
                <a:gd name="T43" fmla="*/ 1109 h 1839"/>
                <a:gd name="T44" fmla="*/ 0 w 3648"/>
                <a:gd name="T45" fmla="*/ 1109 h 1839"/>
                <a:gd name="T46" fmla="*/ 0 w 3648"/>
                <a:gd name="T47" fmla="*/ 382 h 1839"/>
                <a:gd name="T48" fmla="*/ 4 w 3648"/>
                <a:gd name="T49" fmla="*/ 325 h 1839"/>
                <a:gd name="T50" fmla="*/ 15 w 3648"/>
                <a:gd name="T51" fmla="*/ 273 h 1839"/>
                <a:gd name="T52" fmla="*/ 35 w 3648"/>
                <a:gd name="T53" fmla="*/ 221 h 1839"/>
                <a:gd name="T54" fmla="*/ 61 w 3648"/>
                <a:gd name="T55" fmla="*/ 174 h 1839"/>
                <a:gd name="T56" fmla="*/ 92 w 3648"/>
                <a:gd name="T57" fmla="*/ 131 h 1839"/>
                <a:gd name="T58" fmla="*/ 131 w 3648"/>
                <a:gd name="T59" fmla="*/ 94 h 1839"/>
                <a:gd name="T60" fmla="*/ 174 w 3648"/>
                <a:gd name="T61" fmla="*/ 61 h 1839"/>
                <a:gd name="T62" fmla="*/ 219 w 3648"/>
                <a:gd name="T63" fmla="*/ 36 h 1839"/>
                <a:gd name="T64" fmla="*/ 271 w 3648"/>
                <a:gd name="T65" fmla="*/ 17 h 1839"/>
                <a:gd name="T66" fmla="*/ 325 w 3648"/>
                <a:gd name="T67" fmla="*/ 4 h 1839"/>
                <a:gd name="T68" fmla="*/ 381 w 3648"/>
                <a:gd name="T69" fmla="*/ 0 h 1839"/>
                <a:gd name="T70" fmla="*/ 3265 w 3648"/>
                <a:gd name="T71" fmla="*/ 0 h 1839"/>
                <a:gd name="T72" fmla="*/ 3321 w 3648"/>
                <a:gd name="T73" fmla="*/ 4 h 1839"/>
                <a:gd name="T74" fmla="*/ 3375 w 3648"/>
                <a:gd name="T75" fmla="*/ 17 h 1839"/>
                <a:gd name="T76" fmla="*/ 3425 w 3648"/>
                <a:gd name="T77" fmla="*/ 36 h 1839"/>
                <a:gd name="T78" fmla="*/ 3472 w 3648"/>
                <a:gd name="T79" fmla="*/ 61 h 1839"/>
                <a:gd name="T80" fmla="*/ 3515 w 3648"/>
                <a:gd name="T81" fmla="*/ 94 h 1839"/>
                <a:gd name="T82" fmla="*/ 3552 w 3648"/>
                <a:gd name="T83" fmla="*/ 131 h 1839"/>
                <a:gd name="T84" fmla="*/ 3585 w 3648"/>
                <a:gd name="T85" fmla="*/ 174 h 1839"/>
                <a:gd name="T86" fmla="*/ 3611 w 3648"/>
                <a:gd name="T87" fmla="*/ 221 h 1839"/>
                <a:gd name="T88" fmla="*/ 3631 w 3648"/>
                <a:gd name="T89" fmla="*/ 273 h 1839"/>
                <a:gd name="T90" fmla="*/ 3642 w 3648"/>
                <a:gd name="T91" fmla="*/ 325 h 1839"/>
                <a:gd name="T92" fmla="*/ 3646 w 3648"/>
                <a:gd name="T93" fmla="*/ 382 h 1839"/>
                <a:gd name="T94" fmla="*/ 3646 w 3648"/>
                <a:gd name="T95" fmla="*/ 1256 h 1839"/>
                <a:gd name="T96" fmla="*/ 3648 w 3648"/>
                <a:gd name="T97" fmla="*/ 1256 h 1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48" h="1839">
                  <a:moveTo>
                    <a:pt x="3648" y="1256"/>
                  </a:moveTo>
                  <a:lnTo>
                    <a:pt x="3648" y="1633"/>
                  </a:lnTo>
                  <a:lnTo>
                    <a:pt x="3439" y="1839"/>
                  </a:lnTo>
                  <a:lnTo>
                    <a:pt x="3439" y="382"/>
                  </a:lnTo>
                  <a:lnTo>
                    <a:pt x="3435" y="347"/>
                  </a:lnTo>
                  <a:lnTo>
                    <a:pt x="3425" y="314"/>
                  </a:lnTo>
                  <a:lnTo>
                    <a:pt x="3409" y="285"/>
                  </a:lnTo>
                  <a:lnTo>
                    <a:pt x="3388" y="260"/>
                  </a:lnTo>
                  <a:lnTo>
                    <a:pt x="3362" y="238"/>
                  </a:lnTo>
                  <a:lnTo>
                    <a:pt x="3332" y="221"/>
                  </a:lnTo>
                  <a:lnTo>
                    <a:pt x="3299" y="211"/>
                  </a:lnTo>
                  <a:lnTo>
                    <a:pt x="3265" y="208"/>
                  </a:lnTo>
                  <a:lnTo>
                    <a:pt x="381" y="208"/>
                  </a:lnTo>
                  <a:lnTo>
                    <a:pt x="346" y="211"/>
                  </a:lnTo>
                  <a:lnTo>
                    <a:pt x="314" y="221"/>
                  </a:lnTo>
                  <a:lnTo>
                    <a:pt x="284" y="238"/>
                  </a:lnTo>
                  <a:lnTo>
                    <a:pt x="258" y="260"/>
                  </a:lnTo>
                  <a:lnTo>
                    <a:pt x="237" y="285"/>
                  </a:lnTo>
                  <a:lnTo>
                    <a:pt x="221" y="314"/>
                  </a:lnTo>
                  <a:lnTo>
                    <a:pt x="211" y="347"/>
                  </a:lnTo>
                  <a:lnTo>
                    <a:pt x="207" y="382"/>
                  </a:lnTo>
                  <a:lnTo>
                    <a:pt x="207" y="1109"/>
                  </a:lnTo>
                  <a:lnTo>
                    <a:pt x="0" y="1109"/>
                  </a:lnTo>
                  <a:lnTo>
                    <a:pt x="0" y="382"/>
                  </a:lnTo>
                  <a:lnTo>
                    <a:pt x="4" y="325"/>
                  </a:lnTo>
                  <a:lnTo>
                    <a:pt x="15" y="273"/>
                  </a:lnTo>
                  <a:lnTo>
                    <a:pt x="35" y="221"/>
                  </a:lnTo>
                  <a:lnTo>
                    <a:pt x="61" y="174"/>
                  </a:lnTo>
                  <a:lnTo>
                    <a:pt x="92" y="131"/>
                  </a:lnTo>
                  <a:lnTo>
                    <a:pt x="131" y="94"/>
                  </a:lnTo>
                  <a:lnTo>
                    <a:pt x="174" y="61"/>
                  </a:lnTo>
                  <a:lnTo>
                    <a:pt x="219" y="36"/>
                  </a:lnTo>
                  <a:lnTo>
                    <a:pt x="271" y="17"/>
                  </a:lnTo>
                  <a:lnTo>
                    <a:pt x="325" y="4"/>
                  </a:lnTo>
                  <a:lnTo>
                    <a:pt x="381" y="0"/>
                  </a:lnTo>
                  <a:lnTo>
                    <a:pt x="3265" y="0"/>
                  </a:lnTo>
                  <a:lnTo>
                    <a:pt x="3321" y="4"/>
                  </a:lnTo>
                  <a:lnTo>
                    <a:pt x="3375" y="17"/>
                  </a:lnTo>
                  <a:lnTo>
                    <a:pt x="3425" y="36"/>
                  </a:lnTo>
                  <a:lnTo>
                    <a:pt x="3472" y="61"/>
                  </a:lnTo>
                  <a:lnTo>
                    <a:pt x="3515" y="94"/>
                  </a:lnTo>
                  <a:lnTo>
                    <a:pt x="3552" y="131"/>
                  </a:lnTo>
                  <a:lnTo>
                    <a:pt x="3585" y="174"/>
                  </a:lnTo>
                  <a:lnTo>
                    <a:pt x="3611" y="221"/>
                  </a:lnTo>
                  <a:lnTo>
                    <a:pt x="3631" y="273"/>
                  </a:lnTo>
                  <a:lnTo>
                    <a:pt x="3642" y="325"/>
                  </a:lnTo>
                  <a:lnTo>
                    <a:pt x="3646" y="382"/>
                  </a:lnTo>
                  <a:lnTo>
                    <a:pt x="3646" y="1256"/>
                  </a:lnTo>
                  <a:lnTo>
                    <a:pt x="3648" y="125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30"/>
            <p:cNvSpPr>
              <a:spLocks/>
            </p:cNvSpPr>
            <p:nvPr/>
          </p:nvSpPr>
          <p:spPr bwMode="auto">
            <a:xfrm>
              <a:off x="857" y="2672"/>
              <a:ext cx="1216" cy="424"/>
            </a:xfrm>
            <a:custGeom>
              <a:avLst/>
              <a:gdLst>
                <a:gd name="T0" fmla="*/ 3536 w 3648"/>
                <a:gd name="T1" fmla="*/ 71 h 1271"/>
                <a:gd name="T2" fmla="*/ 3572 w 3648"/>
                <a:gd name="T3" fmla="*/ 88 h 1271"/>
                <a:gd name="T4" fmla="*/ 3609 w 3648"/>
                <a:gd name="T5" fmla="*/ 98 h 1271"/>
                <a:gd name="T6" fmla="*/ 3648 w 3648"/>
                <a:gd name="T7" fmla="*/ 104 h 1271"/>
                <a:gd name="T8" fmla="*/ 3648 w 3648"/>
                <a:gd name="T9" fmla="*/ 889 h 1271"/>
                <a:gd name="T10" fmla="*/ 3643 w 3648"/>
                <a:gd name="T11" fmla="*/ 946 h 1271"/>
                <a:gd name="T12" fmla="*/ 3631 w 3648"/>
                <a:gd name="T13" fmla="*/ 998 h 1271"/>
                <a:gd name="T14" fmla="*/ 3612 w 3648"/>
                <a:gd name="T15" fmla="*/ 1050 h 1271"/>
                <a:gd name="T16" fmla="*/ 3585 w 3648"/>
                <a:gd name="T17" fmla="*/ 1097 h 1271"/>
                <a:gd name="T18" fmla="*/ 3554 w 3648"/>
                <a:gd name="T19" fmla="*/ 1138 h 1271"/>
                <a:gd name="T20" fmla="*/ 3515 w 3648"/>
                <a:gd name="T21" fmla="*/ 1177 h 1271"/>
                <a:gd name="T22" fmla="*/ 3472 w 3648"/>
                <a:gd name="T23" fmla="*/ 1208 h 1271"/>
                <a:gd name="T24" fmla="*/ 3425 w 3648"/>
                <a:gd name="T25" fmla="*/ 1235 h 1271"/>
                <a:gd name="T26" fmla="*/ 3375 w 3648"/>
                <a:gd name="T27" fmla="*/ 1254 h 1271"/>
                <a:gd name="T28" fmla="*/ 3321 w 3648"/>
                <a:gd name="T29" fmla="*/ 1267 h 1271"/>
                <a:gd name="T30" fmla="*/ 3265 w 3648"/>
                <a:gd name="T31" fmla="*/ 1271 h 1271"/>
                <a:gd name="T32" fmla="*/ 381 w 3648"/>
                <a:gd name="T33" fmla="*/ 1271 h 1271"/>
                <a:gd name="T34" fmla="*/ 325 w 3648"/>
                <a:gd name="T35" fmla="*/ 1267 h 1271"/>
                <a:gd name="T36" fmla="*/ 271 w 3648"/>
                <a:gd name="T37" fmla="*/ 1254 h 1271"/>
                <a:gd name="T38" fmla="*/ 219 w 3648"/>
                <a:gd name="T39" fmla="*/ 1235 h 1271"/>
                <a:gd name="T40" fmla="*/ 174 w 3648"/>
                <a:gd name="T41" fmla="*/ 1208 h 1271"/>
                <a:gd name="T42" fmla="*/ 131 w 3648"/>
                <a:gd name="T43" fmla="*/ 1177 h 1271"/>
                <a:gd name="T44" fmla="*/ 92 w 3648"/>
                <a:gd name="T45" fmla="*/ 1138 h 1271"/>
                <a:gd name="T46" fmla="*/ 61 w 3648"/>
                <a:gd name="T47" fmla="*/ 1097 h 1271"/>
                <a:gd name="T48" fmla="*/ 35 w 3648"/>
                <a:gd name="T49" fmla="*/ 1050 h 1271"/>
                <a:gd name="T50" fmla="*/ 15 w 3648"/>
                <a:gd name="T51" fmla="*/ 998 h 1271"/>
                <a:gd name="T52" fmla="*/ 4 w 3648"/>
                <a:gd name="T53" fmla="*/ 946 h 1271"/>
                <a:gd name="T54" fmla="*/ 0 w 3648"/>
                <a:gd name="T55" fmla="*/ 889 h 1271"/>
                <a:gd name="T56" fmla="*/ 0 w 3648"/>
                <a:gd name="T57" fmla="*/ 164 h 1271"/>
                <a:gd name="T58" fmla="*/ 207 w 3648"/>
                <a:gd name="T59" fmla="*/ 164 h 1271"/>
                <a:gd name="T60" fmla="*/ 207 w 3648"/>
                <a:gd name="T61" fmla="*/ 889 h 1271"/>
                <a:gd name="T62" fmla="*/ 211 w 3648"/>
                <a:gd name="T63" fmla="*/ 924 h 1271"/>
                <a:gd name="T64" fmla="*/ 221 w 3648"/>
                <a:gd name="T65" fmla="*/ 957 h 1271"/>
                <a:gd name="T66" fmla="*/ 237 w 3648"/>
                <a:gd name="T67" fmla="*/ 986 h 1271"/>
                <a:gd name="T68" fmla="*/ 258 w 3648"/>
                <a:gd name="T69" fmla="*/ 1011 h 1271"/>
                <a:gd name="T70" fmla="*/ 284 w 3648"/>
                <a:gd name="T71" fmla="*/ 1033 h 1271"/>
                <a:gd name="T72" fmla="*/ 314 w 3648"/>
                <a:gd name="T73" fmla="*/ 1050 h 1271"/>
                <a:gd name="T74" fmla="*/ 346 w 3648"/>
                <a:gd name="T75" fmla="*/ 1060 h 1271"/>
                <a:gd name="T76" fmla="*/ 381 w 3648"/>
                <a:gd name="T77" fmla="*/ 1063 h 1271"/>
                <a:gd name="T78" fmla="*/ 3265 w 3648"/>
                <a:gd name="T79" fmla="*/ 1063 h 1271"/>
                <a:gd name="T80" fmla="*/ 3299 w 3648"/>
                <a:gd name="T81" fmla="*/ 1060 h 1271"/>
                <a:gd name="T82" fmla="*/ 3332 w 3648"/>
                <a:gd name="T83" fmla="*/ 1050 h 1271"/>
                <a:gd name="T84" fmla="*/ 3362 w 3648"/>
                <a:gd name="T85" fmla="*/ 1033 h 1271"/>
                <a:gd name="T86" fmla="*/ 3388 w 3648"/>
                <a:gd name="T87" fmla="*/ 1011 h 1271"/>
                <a:gd name="T88" fmla="*/ 3409 w 3648"/>
                <a:gd name="T89" fmla="*/ 986 h 1271"/>
                <a:gd name="T90" fmla="*/ 3425 w 3648"/>
                <a:gd name="T91" fmla="*/ 957 h 1271"/>
                <a:gd name="T92" fmla="*/ 3436 w 3648"/>
                <a:gd name="T93" fmla="*/ 924 h 1271"/>
                <a:gd name="T94" fmla="*/ 3439 w 3648"/>
                <a:gd name="T95" fmla="*/ 889 h 1271"/>
                <a:gd name="T96" fmla="*/ 3439 w 3648"/>
                <a:gd name="T97" fmla="*/ 241 h 1271"/>
                <a:gd name="T98" fmla="*/ 3439 w 3648"/>
                <a:gd name="T99" fmla="*/ 241 h 1271"/>
                <a:gd name="T100" fmla="*/ 3439 w 3648"/>
                <a:gd name="T101" fmla="*/ 12 h 1271"/>
                <a:gd name="T102" fmla="*/ 3452 w 3648"/>
                <a:gd name="T103" fmla="*/ 0 h 1271"/>
                <a:gd name="T104" fmla="*/ 3476 w 3648"/>
                <a:gd name="T105" fmla="*/ 27 h 1271"/>
                <a:gd name="T106" fmla="*/ 3505 w 3648"/>
                <a:gd name="T107" fmla="*/ 51 h 1271"/>
                <a:gd name="T108" fmla="*/ 3536 w 3648"/>
                <a:gd name="T109" fmla="*/ 71 h 1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48" h="1271">
                  <a:moveTo>
                    <a:pt x="3536" y="71"/>
                  </a:moveTo>
                  <a:lnTo>
                    <a:pt x="3572" y="88"/>
                  </a:lnTo>
                  <a:lnTo>
                    <a:pt x="3609" y="98"/>
                  </a:lnTo>
                  <a:lnTo>
                    <a:pt x="3648" y="104"/>
                  </a:lnTo>
                  <a:lnTo>
                    <a:pt x="3648" y="889"/>
                  </a:lnTo>
                  <a:lnTo>
                    <a:pt x="3643" y="946"/>
                  </a:lnTo>
                  <a:lnTo>
                    <a:pt x="3631" y="998"/>
                  </a:lnTo>
                  <a:lnTo>
                    <a:pt x="3612" y="1050"/>
                  </a:lnTo>
                  <a:lnTo>
                    <a:pt x="3585" y="1097"/>
                  </a:lnTo>
                  <a:lnTo>
                    <a:pt x="3554" y="1138"/>
                  </a:lnTo>
                  <a:lnTo>
                    <a:pt x="3515" y="1177"/>
                  </a:lnTo>
                  <a:lnTo>
                    <a:pt x="3472" y="1208"/>
                  </a:lnTo>
                  <a:lnTo>
                    <a:pt x="3425" y="1235"/>
                  </a:lnTo>
                  <a:lnTo>
                    <a:pt x="3375" y="1254"/>
                  </a:lnTo>
                  <a:lnTo>
                    <a:pt x="3321" y="1267"/>
                  </a:lnTo>
                  <a:lnTo>
                    <a:pt x="3265" y="1271"/>
                  </a:lnTo>
                  <a:lnTo>
                    <a:pt x="381" y="1271"/>
                  </a:lnTo>
                  <a:lnTo>
                    <a:pt x="325" y="1267"/>
                  </a:lnTo>
                  <a:lnTo>
                    <a:pt x="271" y="1254"/>
                  </a:lnTo>
                  <a:lnTo>
                    <a:pt x="219" y="1235"/>
                  </a:lnTo>
                  <a:lnTo>
                    <a:pt x="174" y="1208"/>
                  </a:lnTo>
                  <a:lnTo>
                    <a:pt x="131" y="1177"/>
                  </a:lnTo>
                  <a:lnTo>
                    <a:pt x="92" y="1138"/>
                  </a:lnTo>
                  <a:lnTo>
                    <a:pt x="61" y="1097"/>
                  </a:lnTo>
                  <a:lnTo>
                    <a:pt x="35" y="1050"/>
                  </a:lnTo>
                  <a:lnTo>
                    <a:pt x="15" y="998"/>
                  </a:lnTo>
                  <a:lnTo>
                    <a:pt x="4" y="946"/>
                  </a:lnTo>
                  <a:lnTo>
                    <a:pt x="0" y="889"/>
                  </a:lnTo>
                  <a:lnTo>
                    <a:pt x="0" y="164"/>
                  </a:lnTo>
                  <a:lnTo>
                    <a:pt x="207" y="164"/>
                  </a:lnTo>
                  <a:lnTo>
                    <a:pt x="207" y="889"/>
                  </a:lnTo>
                  <a:lnTo>
                    <a:pt x="211" y="924"/>
                  </a:lnTo>
                  <a:lnTo>
                    <a:pt x="221" y="957"/>
                  </a:lnTo>
                  <a:lnTo>
                    <a:pt x="237" y="986"/>
                  </a:lnTo>
                  <a:lnTo>
                    <a:pt x="258" y="1011"/>
                  </a:lnTo>
                  <a:lnTo>
                    <a:pt x="284" y="1033"/>
                  </a:lnTo>
                  <a:lnTo>
                    <a:pt x="314" y="1050"/>
                  </a:lnTo>
                  <a:lnTo>
                    <a:pt x="346" y="1060"/>
                  </a:lnTo>
                  <a:lnTo>
                    <a:pt x="381" y="1063"/>
                  </a:lnTo>
                  <a:lnTo>
                    <a:pt x="3265" y="1063"/>
                  </a:lnTo>
                  <a:lnTo>
                    <a:pt x="3299" y="1060"/>
                  </a:lnTo>
                  <a:lnTo>
                    <a:pt x="3332" y="1050"/>
                  </a:lnTo>
                  <a:lnTo>
                    <a:pt x="3362" y="1033"/>
                  </a:lnTo>
                  <a:lnTo>
                    <a:pt x="3388" y="1011"/>
                  </a:lnTo>
                  <a:lnTo>
                    <a:pt x="3409" y="986"/>
                  </a:lnTo>
                  <a:lnTo>
                    <a:pt x="3425" y="957"/>
                  </a:lnTo>
                  <a:lnTo>
                    <a:pt x="3436" y="924"/>
                  </a:lnTo>
                  <a:lnTo>
                    <a:pt x="3439" y="889"/>
                  </a:lnTo>
                  <a:lnTo>
                    <a:pt x="3439" y="241"/>
                  </a:lnTo>
                  <a:lnTo>
                    <a:pt x="3439" y="241"/>
                  </a:lnTo>
                  <a:lnTo>
                    <a:pt x="3439" y="12"/>
                  </a:lnTo>
                  <a:lnTo>
                    <a:pt x="3452" y="0"/>
                  </a:lnTo>
                  <a:lnTo>
                    <a:pt x="3476" y="27"/>
                  </a:lnTo>
                  <a:lnTo>
                    <a:pt x="3505" y="51"/>
                  </a:lnTo>
                  <a:lnTo>
                    <a:pt x="3536" y="7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31"/>
            <p:cNvSpPr>
              <a:spLocks/>
            </p:cNvSpPr>
            <p:nvPr/>
          </p:nvSpPr>
          <p:spPr bwMode="auto">
            <a:xfrm>
              <a:off x="765" y="2604"/>
              <a:ext cx="286" cy="117"/>
            </a:xfrm>
            <a:custGeom>
              <a:avLst/>
              <a:gdLst>
                <a:gd name="T0" fmla="*/ 531 w 859"/>
                <a:gd name="T1" fmla="*/ 86 h 353"/>
                <a:gd name="T2" fmla="*/ 90 w 859"/>
                <a:gd name="T3" fmla="*/ 86 h 353"/>
                <a:gd name="T4" fmla="*/ 67 w 859"/>
                <a:gd name="T5" fmla="*/ 90 h 353"/>
                <a:gd name="T6" fmla="*/ 45 w 859"/>
                <a:gd name="T7" fmla="*/ 98 h 353"/>
                <a:gd name="T8" fmla="*/ 27 w 859"/>
                <a:gd name="T9" fmla="*/ 113 h 353"/>
                <a:gd name="T10" fmla="*/ 13 w 859"/>
                <a:gd name="T11" fmla="*/ 130 h 353"/>
                <a:gd name="T12" fmla="*/ 4 w 859"/>
                <a:gd name="T13" fmla="*/ 153 h 353"/>
                <a:gd name="T14" fmla="*/ 0 w 859"/>
                <a:gd name="T15" fmla="*/ 176 h 353"/>
                <a:gd name="T16" fmla="*/ 4 w 859"/>
                <a:gd name="T17" fmla="*/ 200 h 353"/>
                <a:gd name="T18" fmla="*/ 13 w 859"/>
                <a:gd name="T19" fmla="*/ 221 h 353"/>
                <a:gd name="T20" fmla="*/ 27 w 859"/>
                <a:gd name="T21" fmla="*/ 240 h 353"/>
                <a:gd name="T22" fmla="*/ 45 w 859"/>
                <a:gd name="T23" fmla="*/ 254 h 353"/>
                <a:gd name="T24" fmla="*/ 67 w 859"/>
                <a:gd name="T25" fmla="*/ 263 h 353"/>
                <a:gd name="T26" fmla="*/ 90 w 859"/>
                <a:gd name="T27" fmla="*/ 265 h 353"/>
                <a:gd name="T28" fmla="*/ 531 w 859"/>
                <a:gd name="T29" fmla="*/ 265 h 353"/>
                <a:gd name="T30" fmla="*/ 552 w 859"/>
                <a:gd name="T31" fmla="*/ 294 h 353"/>
                <a:gd name="T32" fmla="*/ 579 w 859"/>
                <a:gd name="T33" fmla="*/ 318 h 353"/>
                <a:gd name="T34" fmla="*/ 609 w 859"/>
                <a:gd name="T35" fmla="*/ 337 h 353"/>
                <a:gd name="T36" fmla="*/ 645 w 859"/>
                <a:gd name="T37" fmla="*/ 348 h 353"/>
                <a:gd name="T38" fmla="*/ 682 w 859"/>
                <a:gd name="T39" fmla="*/ 353 h 353"/>
                <a:gd name="T40" fmla="*/ 718 w 859"/>
                <a:gd name="T41" fmla="*/ 348 h 353"/>
                <a:gd name="T42" fmla="*/ 750 w 859"/>
                <a:gd name="T43" fmla="*/ 338 h 353"/>
                <a:gd name="T44" fmla="*/ 780 w 859"/>
                <a:gd name="T45" fmla="*/ 323 h 353"/>
                <a:gd name="T46" fmla="*/ 806 w 859"/>
                <a:gd name="T47" fmla="*/ 300 h 353"/>
                <a:gd name="T48" fmla="*/ 828 w 859"/>
                <a:gd name="T49" fmla="*/ 274 h 353"/>
                <a:gd name="T50" fmla="*/ 845 w 859"/>
                <a:gd name="T51" fmla="*/ 244 h 353"/>
                <a:gd name="T52" fmla="*/ 855 w 859"/>
                <a:gd name="T53" fmla="*/ 211 h 353"/>
                <a:gd name="T54" fmla="*/ 859 w 859"/>
                <a:gd name="T55" fmla="*/ 176 h 353"/>
                <a:gd name="T56" fmla="*/ 855 w 859"/>
                <a:gd name="T57" fmla="*/ 140 h 353"/>
                <a:gd name="T58" fmla="*/ 845 w 859"/>
                <a:gd name="T59" fmla="*/ 107 h 353"/>
                <a:gd name="T60" fmla="*/ 828 w 859"/>
                <a:gd name="T61" fmla="*/ 77 h 353"/>
                <a:gd name="T62" fmla="*/ 806 w 859"/>
                <a:gd name="T63" fmla="*/ 51 h 353"/>
                <a:gd name="T64" fmla="*/ 780 w 859"/>
                <a:gd name="T65" fmla="*/ 30 h 353"/>
                <a:gd name="T66" fmla="*/ 750 w 859"/>
                <a:gd name="T67" fmla="*/ 13 h 353"/>
                <a:gd name="T68" fmla="*/ 718 w 859"/>
                <a:gd name="T69" fmla="*/ 3 h 353"/>
                <a:gd name="T70" fmla="*/ 682 w 859"/>
                <a:gd name="T71" fmla="*/ 0 h 353"/>
                <a:gd name="T72" fmla="*/ 645 w 859"/>
                <a:gd name="T73" fmla="*/ 4 h 353"/>
                <a:gd name="T74" fmla="*/ 609 w 859"/>
                <a:gd name="T75" fmla="*/ 16 h 353"/>
                <a:gd name="T76" fmla="*/ 579 w 859"/>
                <a:gd name="T77" fmla="*/ 33 h 353"/>
                <a:gd name="T78" fmla="*/ 552 w 859"/>
                <a:gd name="T79" fmla="*/ 57 h 353"/>
                <a:gd name="T80" fmla="*/ 531 w 859"/>
                <a:gd name="T81" fmla="*/ 86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353">
                  <a:moveTo>
                    <a:pt x="531" y="86"/>
                  </a:moveTo>
                  <a:lnTo>
                    <a:pt x="90" y="86"/>
                  </a:lnTo>
                  <a:lnTo>
                    <a:pt x="67" y="90"/>
                  </a:lnTo>
                  <a:lnTo>
                    <a:pt x="45" y="98"/>
                  </a:lnTo>
                  <a:lnTo>
                    <a:pt x="27" y="113"/>
                  </a:lnTo>
                  <a:lnTo>
                    <a:pt x="13" y="130"/>
                  </a:lnTo>
                  <a:lnTo>
                    <a:pt x="4" y="153"/>
                  </a:lnTo>
                  <a:lnTo>
                    <a:pt x="0" y="176"/>
                  </a:lnTo>
                  <a:lnTo>
                    <a:pt x="4" y="200"/>
                  </a:lnTo>
                  <a:lnTo>
                    <a:pt x="13" y="221"/>
                  </a:lnTo>
                  <a:lnTo>
                    <a:pt x="27" y="240"/>
                  </a:lnTo>
                  <a:lnTo>
                    <a:pt x="45" y="254"/>
                  </a:lnTo>
                  <a:lnTo>
                    <a:pt x="67" y="263"/>
                  </a:lnTo>
                  <a:lnTo>
                    <a:pt x="90" y="265"/>
                  </a:lnTo>
                  <a:lnTo>
                    <a:pt x="531" y="265"/>
                  </a:lnTo>
                  <a:lnTo>
                    <a:pt x="552" y="294"/>
                  </a:lnTo>
                  <a:lnTo>
                    <a:pt x="579" y="318"/>
                  </a:lnTo>
                  <a:lnTo>
                    <a:pt x="609" y="337"/>
                  </a:lnTo>
                  <a:lnTo>
                    <a:pt x="645" y="348"/>
                  </a:lnTo>
                  <a:lnTo>
                    <a:pt x="682" y="353"/>
                  </a:lnTo>
                  <a:lnTo>
                    <a:pt x="718" y="348"/>
                  </a:lnTo>
                  <a:lnTo>
                    <a:pt x="750" y="338"/>
                  </a:lnTo>
                  <a:lnTo>
                    <a:pt x="780" y="323"/>
                  </a:lnTo>
                  <a:lnTo>
                    <a:pt x="806" y="300"/>
                  </a:lnTo>
                  <a:lnTo>
                    <a:pt x="828" y="274"/>
                  </a:lnTo>
                  <a:lnTo>
                    <a:pt x="845" y="244"/>
                  </a:lnTo>
                  <a:lnTo>
                    <a:pt x="855" y="211"/>
                  </a:lnTo>
                  <a:lnTo>
                    <a:pt x="859" y="176"/>
                  </a:lnTo>
                  <a:lnTo>
                    <a:pt x="855" y="140"/>
                  </a:lnTo>
                  <a:lnTo>
                    <a:pt x="845" y="107"/>
                  </a:lnTo>
                  <a:lnTo>
                    <a:pt x="828" y="77"/>
                  </a:lnTo>
                  <a:lnTo>
                    <a:pt x="806" y="51"/>
                  </a:lnTo>
                  <a:lnTo>
                    <a:pt x="780" y="30"/>
                  </a:lnTo>
                  <a:lnTo>
                    <a:pt x="750" y="13"/>
                  </a:lnTo>
                  <a:lnTo>
                    <a:pt x="718" y="3"/>
                  </a:lnTo>
                  <a:lnTo>
                    <a:pt x="682" y="0"/>
                  </a:lnTo>
                  <a:lnTo>
                    <a:pt x="645" y="4"/>
                  </a:lnTo>
                  <a:lnTo>
                    <a:pt x="609" y="16"/>
                  </a:lnTo>
                  <a:lnTo>
                    <a:pt x="579" y="33"/>
                  </a:lnTo>
                  <a:lnTo>
                    <a:pt x="552" y="57"/>
                  </a:lnTo>
                  <a:lnTo>
                    <a:pt x="531" y="8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32"/>
            <p:cNvSpPr>
              <a:spLocks/>
            </p:cNvSpPr>
            <p:nvPr/>
          </p:nvSpPr>
          <p:spPr bwMode="auto">
            <a:xfrm>
              <a:off x="765" y="2314"/>
              <a:ext cx="286" cy="117"/>
            </a:xfrm>
            <a:custGeom>
              <a:avLst/>
              <a:gdLst>
                <a:gd name="T0" fmla="*/ 531 w 859"/>
                <a:gd name="T1" fmla="*/ 87 h 352"/>
                <a:gd name="T2" fmla="*/ 90 w 859"/>
                <a:gd name="T3" fmla="*/ 87 h 352"/>
                <a:gd name="T4" fmla="*/ 67 w 859"/>
                <a:gd name="T5" fmla="*/ 89 h 352"/>
                <a:gd name="T6" fmla="*/ 45 w 859"/>
                <a:gd name="T7" fmla="*/ 98 h 352"/>
                <a:gd name="T8" fmla="*/ 27 w 859"/>
                <a:gd name="T9" fmla="*/ 112 h 352"/>
                <a:gd name="T10" fmla="*/ 13 w 859"/>
                <a:gd name="T11" fmla="*/ 131 h 352"/>
                <a:gd name="T12" fmla="*/ 4 w 859"/>
                <a:gd name="T13" fmla="*/ 152 h 352"/>
                <a:gd name="T14" fmla="*/ 0 w 859"/>
                <a:gd name="T15" fmla="*/ 175 h 352"/>
                <a:gd name="T16" fmla="*/ 4 w 859"/>
                <a:gd name="T17" fmla="*/ 201 h 352"/>
                <a:gd name="T18" fmla="*/ 13 w 859"/>
                <a:gd name="T19" fmla="*/ 222 h 352"/>
                <a:gd name="T20" fmla="*/ 27 w 859"/>
                <a:gd name="T21" fmla="*/ 241 h 352"/>
                <a:gd name="T22" fmla="*/ 45 w 859"/>
                <a:gd name="T23" fmla="*/ 254 h 352"/>
                <a:gd name="T24" fmla="*/ 67 w 859"/>
                <a:gd name="T25" fmla="*/ 264 h 352"/>
                <a:gd name="T26" fmla="*/ 90 w 859"/>
                <a:gd name="T27" fmla="*/ 266 h 352"/>
                <a:gd name="T28" fmla="*/ 531 w 859"/>
                <a:gd name="T29" fmla="*/ 266 h 352"/>
                <a:gd name="T30" fmla="*/ 552 w 859"/>
                <a:gd name="T31" fmla="*/ 295 h 352"/>
                <a:gd name="T32" fmla="*/ 579 w 859"/>
                <a:gd name="T33" fmla="*/ 319 h 352"/>
                <a:gd name="T34" fmla="*/ 611 w 859"/>
                <a:gd name="T35" fmla="*/ 336 h 352"/>
                <a:gd name="T36" fmla="*/ 645 w 859"/>
                <a:gd name="T37" fmla="*/ 348 h 352"/>
                <a:gd name="T38" fmla="*/ 682 w 859"/>
                <a:gd name="T39" fmla="*/ 352 h 352"/>
                <a:gd name="T40" fmla="*/ 718 w 859"/>
                <a:gd name="T41" fmla="*/ 349 h 352"/>
                <a:gd name="T42" fmla="*/ 750 w 859"/>
                <a:gd name="T43" fmla="*/ 339 h 352"/>
                <a:gd name="T44" fmla="*/ 780 w 859"/>
                <a:gd name="T45" fmla="*/ 322 h 352"/>
                <a:gd name="T46" fmla="*/ 806 w 859"/>
                <a:gd name="T47" fmla="*/ 301 h 352"/>
                <a:gd name="T48" fmla="*/ 828 w 859"/>
                <a:gd name="T49" fmla="*/ 275 h 352"/>
                <a:gd name="T50" fmla="*/ 845 w 859"/>
                <a:gd name="T51" fmla="*/ 245 h 352"/>
                <a:gd name="T52" fmla="*/ 855 w 859"/>
                <a:gd name="T53" fmla="*/ 212 h 352"/>
                <a:gd name="T54" fmla="*/ 859 w 859"/>
                <a:gd name="T55" fmla="*/ 175 h 352"/>
                <a:gd name="T56" fmla="*/ 855 w 859"/>
                <a:gd name="T57" fmla="*/ 141 h 352"/>
                <a:gd name="T58" fmla="*/ 845 w 859"/>
                <a:gd name="T59" fmla="*/ 108 h 352"/>
                <a:gd name="T60" fmla="*/ 828 w 859"/>
                <a:gd name="T61" fmla="*/ 78 h 352"/>
                <a:gd name="T62" fmla="*/ 806 w 859"/>
                <a:gd name="T63" fmla="*/ 52 h 352"/>
                <a:gd name="T64" fmla="*/ 780 w 859"/>
                <a:gd name="T65" fmla="*/ 31 h 352"/>
                <a:gd name="T66" fmla="*/ 750 w 859"/>
                <a:gd name="T67" fmla="*/ 14 h 352"/>
                <a:gd name="T68" fmla="*/ 718 w 859"/>
                <a:gd name="T69" fmla="*/ 4 h 352"/>
                <a:gd name="T70" fmla="*/ 682 w 859"/>
                <a:gd name="T71" fmla="*/ 0 h 352"/>
                <a:gd name="T72" fmla="*/ 645 w 859"/>
                <a:gd name="T73" fmla="*/ 4 h 352"/>
                <a:gd name="T74" fmla="*/ 611 w 859"/>
                <a:gd name="T75" fmla="*/ 15 h 352"/>
                <a:gd name="T76" fmla="*/ 579 w 859"/>
                <a:gd name="T77" fmla="*/ 34 h 352"/>
                <a:gd name="T78" fmla="*/ 552 w 859"/>
                <a:gd name="T79" fmla="*/ 58 h 352"/>
                <a:gd name="T80" fmla="*/ 531 w 859"/>
                <a:gd name="T81" fmla="*/ 87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352">
                  <a:moveTo>
                    <a:pt x="531" y="87"/>
                  </a:moveTo>
                  <a:lnTo>
                    <a:pt x="90" y="87"/>
                  </a:lnTo>
                  <a:lnTo>
                    <a:pt x="67" y="89"/>
                  </a:lnTo>
                  <a:lnTo>
                    <a:pt x="45" y="98"/>
                  </a:lnTo>
                  <a:lnTo>
                    <a:pt x="27" y="112"/>
                  </a:lnTo>
                  <a:lnTo>
                    <a:pt x="13" y="131"/>
                  </a:lnTo>
                  <a:lnTo>
                    <a:pt x="4" y="152"/>
                  </a:lnTo>
                  <a:lnTo>
                    <a:pt x="0" y="175"/>
                  </a:lnTo>
                  <a:lnTo>
                    <a:pt x="4" y="201"/>
                  </a:lnTo>
                  <a:lnTo>
                    <a:pt x="13" y="222"/>
                  </a:lnTo>
                  <a:lnTo>
                    <a:pt x="27" y="241"/>
                  </a:lnTo>
                  <a:lnTo>
                    <a:pt x="45" y="254"/>
                  </a:lnTo>
                  <a:lnTo>
                    <a:pt x="67" y="264"/>
                  </a:lnTo>
                  <a:lnTo>
                    <a:pt x="90" y="266"/>
                  </a:lnTo>
                  <a:lnTo>
                    <a:pt x="531" y="266"/>
                  </a:lnTo>
                  <a:lnTo>
                    <a:pt x="552" y="295"/>
                  </a:lnTo>
                  <a:lnTo>
                    <a:pt x="579" y="319"/>
                  </a:lnTo>
                  <a:lnTo>
                    <a:pt x="611" y="336"/>
                  </a:lnTo>
                  <a:lnTo>
                    <a:pt x="645" y="348"/>
                  </a:lnTo>
                  <a:lnTo>
                    <a:pt x="682" y="352"/>
                  </a:lnTo>
                  <a:lnTo>
                    <a:pt x="718" y="349"/>
                  </a:lnTo>
                  <a:lnTo>
                    <a:pt x="750" y="339"/>
                  </a:lnTo>
                  <a:lnTo>
                    <a:pt x="780" y="322"/>
                  </a:lnTo>
                  <a:lnTo>
                    <a:pt x="806" y="301"/>
                  </a:lnTo>
                  <a:lnTo>
                    <a:pt x="828" y="275"/>
                  </a:lnTo>
                  <a:lnTo>
                    <a:pt x="845" y="245"/>
                  </a:lnTo>
                  <a:lnTo>
                    <a:pt x="855" y="212"/>
                  </a:lnTo>
                  <a:lnTo>
                    <a:pt x="859" y="175"/>
                  </a:lnTo>
                  <a:lnTo>
                    <a:pt x="855" y="141"/>
                  </a:lnTo>
                  <a:lnTo>
                    <a:pt x="845" y="108"/>
                  </a:lnTo>
                  <a:lnTo>
                    <a:pt x="828" y="78"/>
                  </a:lnTo>
                  <a:lnTo>
                    <a:pt x="806" y="52"/>
                  </a:lnTo>
                  <a:lnTo>
                    <a:pt x="780" y="31"/>
                  </a:lnTo>
                  <a:lnTo>
                    <a:pt x="750" y="14"/>
                  </a:lnTo>
                  <a:lnTo>
                    <a:pt x="718" y="4"/>
                  </a:lnTo>
                  <a:lnTo>
                    <a:pt x="682" y="0"/>
                  </a:lnTo>
                  <a:lnTo>
                    <a:pt x="645" y="4"/>
                  </a:lnTo>
                  <a:lnTo>
                    <a:pt x="611" y="15"/>
                  </a:lnTo>
                  <a:lnTo>
                    <a:pt x="579" y="34"/>
                  </a:lnTo>
                  <a:lnTo>
                    <a:pt x="552" y="58"/>
                  </a:lnTo>
                  <a:lnTo>
                    <a:pt x="531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3"/>
            <p:cNvSpPr>
              <a:spLocks/>
            </p:cNvSpPr>
            <p:nvPr/>
          </p:nvSpPr>
          <p:spPr bwMode="auto">
            <a:xfrm>
              <a:off x="765" y="2024"/>
              <a:ext cx="286" cy="117"/>
            </a:xfrm>
            <a:custGeom>
              <a:avLst/>
              <a:gdLst>
                <a:gd name="T0" fmla="*/ 531 w 859"/>
                <a:gd name="T1" fmla="*/ 88 h 353"/>
                <a:gd name="T2" fmla="*/ 90 w 859"/>
                <a:gd name="T3" fmla="*/ 88 h 353"/>
                <a:gd name="T4" fmla="*/ 67 w 859"/>
                <a:gd name="T5" fmla="*/ 90 h 353"/>
                <a:gd name="T6" fmla="*/ 45 w 859"/>
                <a:gd name="T7" fmla="*/ 99 h 353"/>
                <a:gd name="T8" fmla="*/ 27 w 859"/>
                <a:gd name="T9" fmla="*/ 113 h 353"/>
                <a:gd name="T10" fmla="*/ 13 w 859"/>
                <a:gd name="T11" fmla="*/ 132 h 353"/>
                <a:gd name="T12" fmla="*/ 4 w 859"/>
                <a:gd name="T13" fmla="*/ 153 h 353"/>
                <a:gd name="T14" fmla="*/ 0 w 859"/>
                <a:gd name="T15" fmla="*/ 176 h 353"/>
                <a:gd name="T16" fmla="*/ 4 w 859"/>
                <a:gd name="T17" fmla="*/ 200 h 353"/>
                <a:gd name="T18" fmla="*/ 13 w 859"/>
                <a:gd name="T19" fmla="*/ 222 h 353"/>
                <a:gd name="T20" fmla="*/ 27 w 859"/>
                <a:gd name="T21" fmla="*/ 240 h 353"/>
                <a:gd name="T22" fmla="*/ 45 w 859"/>
                <a:gd name="T23" fmla="*/ 255 h 353"/>
                <a:gd name="T24" fmla="*/ 67 w 859"/>
                <a:gd name="T25" fmla="*/ 263 h 353"/>
                <a:gd name="T26" fmla="*/ 90 w 859"/>
                <a:gd name="T27" fmla="*/ 266 h 353"/>
                <a:gd name="T28" fmla="*/ 531 w 859"/>
                <a:gd name="T29" fmla="*/ 266 h 353"/>
                <a:gd name="T30" fmla="*/ 552 w 859"/>
                <a:gd name="T31" fmla="*/ 296 h 353"/>
                <a:gd name="T32" fmla="*/ 579 w 859"/>
                <a:gd name="T33" fmla="*/ 319 h 353"/>
                <a:gd name="T34" fmla="*/ 609 w 859"/>
                <a:gd name="T35" fmla="*/ 337 h 353"/>
                <a:gd name="T36" fmla="*/ 645 w 859"/>
                <a:gd name="T37" fmla="*/ 349 h 353"/>
                <a:gd name="T38" fmla="*/ 682 w 859"/>
                <a:gd name="T39" fmla="*/ 353 h 353"/>
                <a:gd name="T40" fmla="*/ 718 w 859"/>
                <a:gd name="T41" fmla="*/ 350 h 353"/>
                <a:gd name="T42" fmla="*/ 750 w 859"/>
                <a:gd name="T43" fmla="*/ 339 h 353"/>
                <a:gd name="T44" fmla="*/ 780 w 859"/>
                <a:gd name="T45" fmla="*/ 323 h 353"/>
                <a:gd name="T46" fmla="*/ 806 w 859"/>
                <a:gd name="T47" fmla="*/ 302 h 353"/>
                <a:gd name="T48" fmla="*/ 828 w 859"/>
                <a:gd name="T49" fmla="*/ 276 h 353"/>
                <a:gd name="T50" fmla="*/ 845 w 859"/>
                <a:gd name="T51" fmla="*/ 246 h 353"/>
                <a:gd name="T52" fmla="*/ 855 w 859"/>
                <a:gd name="T53" fmla="*/ 213 h 353"/>
                <a:gd name="T54" fmla="*/ 859 w 859"/>
                <a:gd name="T55" fmla="*/ 177 h 353"/>
                <a:gd name="T56" fmla="*/ 855 w 859"/>
                <a:gd name="T57" fmla="*/ 142 h 353"/>
                <a:gd name="T58" fmla="*/ 845 w 859"/>
                <a:gd name="T59" fmla="*/ 109 h 353"/>
                <a:gd name="T60" fmla="*/ 828 w 859"/>
                <a:gd name="T61" fmla="*/ 79 h 353"/>
                <a:gd name="T62" fmla="*/ 806 w 859"/>
                <a:gd name="T63" fmla="*/ 52 h 353"/>
                <a:gd name="T64" fmla="*/ 780 w 859"/>
                <a:gd name="T65" fmla="*/ 30 h 353"/>
                <a:gd name="T66" fmla="*/ 750 w 859"/>
                <a:gd name="T67" fmla="*/ 15 h 353"/>
                <a:gd name="T68" fmla="*/ 718 w 859"/>
                <a:gd name="T69" fmla="*/ 5 h 353"/>
                <a:gd name="T70" fmla="*/ 682 w 859"/>
                <a:gd name="T71" fmla="*/ 0 h 353"/>
                <a:gd name="T72" fmla="*/ 645 w 859"/>
                <a:gd name="T73" fmla="*/ 5 h 353"/>
                <a:gd name="T74" fmla="*/ 609 w 859"/>
                <a:gd name="T75" fmla="*/ 16 h 353"/>
                <a:gd name="T76" fmla="*/ 579 w 859"/>
                <a:gd name="T77" fmla="*/ 35 h 353"/>
                <a:gd name="T78" fmla="*/ 552 w 859"/>
                <a:gd name="T79" fmla="*/ 59 h 353"/>
                <a:gd name="T80" fmla="*/ 531 w 859"/>
                <a:gd name="T81" fmla="*/ 8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353">
                  <a:moveTo>
                    <a:pt x="531" y="88"/>
                  </a:moveTo>
                  <a:lnTo>
                    <a:pt x="90" y="88"/>
                  </a:lnTo>
                  <a:lnTo>
                    <a:pt x="67" y="90"/>
                  </a:lnTo>
                  <a:lnTo>
                    <a:pt x="45" y="99"/>
                  </a:lnTo>
                  <a:lnTo>
                    <a:pt x="27" y="113"/>
                  </a:lnTo>
                  <a:lnTo>
                    <a:pt x="13" y="132"/>
                  </a:lnTo>
                  <a:lnTo>
                    <a:pt x="4" y="153"/>
                  </a:lnTo>
                  <a:lnTo>
                    <a:pt x="0" y="176"/>
                  </a:lnTo>
                  <a:lnTo>
                    <a:pt x="4" y="200"/>
                  </a:lnTo>
                  <a:lnTo>
                    <a:pt x="13" y="222"/>
                  </a:lnTo>
                  <a:lnTo>
                    <a:pt x="27" y="240"/>
                  </a:lnTo>
                  <a:lnTo>
                    <a:pt x="45" y="255"/>
                  </a:lnTo>
                  <a:lnTo>
                    <a:pt x="67" y="263"/>
                  </a:lnTo>
                  <a:lnTo>
                    <a:pt x="90" y="266"/>
                  </a:lnTo>
                  <a:lnTo>
                    <a:pt x="531" y="266"/>
                  </a:lnTo>
                  <a:lnTo>
                    <a:pt x="552" y="296"/>
                  </a:lnTo>
                  <a:lnTo>
                    <a:pt x="579" y="319"/>
                  </a:lnTo>
                  <a:lnTo>
                    <a:pt x="609" y="337"/>
                  </a:lnTo>
                  <a:lnTo>
                    <a:pt x="645" y="349"/>
                  </a:lnTo>
                  <a:lnTo>
                    <a:pt x="682" y="353"/>
                  </a:lnTo>
                  <a:lnTo>
                    <a:pt x="718" y="350"/>
                  </a:lnTo>
                  <a:lnTo>
                    <a:pt x="750" y="339"/>
                  </a:lnTo>
                  <a:lnTo>
                    <a:pt x="780" y="323"/>
                  </a:lnTo>
                  <a:lnTo>
                    <a:pt x="806" y="302"/>
                  </a:lnTo>
                  <a:lnTo>
                    <a:pt x="828" y="276"/>
                  </a:lnTo>
                  <a:lnTo>
                    <a:pt x="845" y="246"/>
                  </a:lnTo>
                  <a:lnTo>
                    <a:pt x="855" y="213"/>
                  </a:lnTo>
                  <a:lnTo>
                    <a:pt x="859" y="177"/>
                  </a:lnTo>
                  <a:lnTo>
                    <a:pt x="855" y="142"/>
                  </a:lnTo>
                  <a:lnTo>
                    <a:pt x="845" y="109"/>
                  </a:lnTo>
                  <a:lnTo>
                    <a:pt x="828" y="79"/>
                  </a:lnTo>
                  <a:lnTo>
                    <a:pt x="806" y="52"/>
                  </a:lnTo>
                  <a:lnTo>
                    <a:pt x="780" y="30"/>
                  </a:lnTo>
                  <a:lnTo>
                    <a:pt x="750" y="15"/>
                  </a:lnTo>
                  <a:lnTo>
                    <a:pt x="718" y="5"/>
                  </a:lnTo>
                  <a:lnTo>
                    <a:pt x="682" y="0"/>
                  </a:lnTo>
                  <a:lnTo>
                    <a:pt x="645" y="5"/>
                  </a:lnTo>
                  <a:lnTo>
                    <a:pt x="609" y="16"/>
                  </a:lnTo>
                  <a:lnTo>
                    <a:pt x="579" y="35"/>
                  </a:lnTo>
                  <a:lnTo>
                    <a:pt x="552" y="59"/>
                  </a:lnTo>
                  <a:lnTo>
                    <a:pt x="531" y="8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4"/>
            <p:cNvSpPr>
              <a:spLocks/>
            </p:cNvSpPr>
            <p:nvPr/>
          </p:nvSpPr>
          <p:spPr bwMode="auto">
            <a:xfrm>
              <a:off x="1939" y="2174"/>
              <a:ext cx="361" cy="357"/>
            </a:xfrm>
            <a:custGeom>
              <a:avLst/>
              <a:gdLst>
                <a:gd name="T0" fmla="*/ 713 w 1083"/>
                <a:gd name="T1" fmla="*/ 728 h 1072"/>
                <a:gd name="T2" fmla="*/ 659 w 1083"/>
                <a:gd name="T3" fmla="*/ 782 h 1072"/>
                <a:gd name="T4" fmla="*/ 621 w 1083"/>
                <a:gd name="T5" fmla="*/ 821 h 1072"/>
                <a:gd name="T6" fmla="*/ 594 w 1083"/>
                <a:gd name="T7" fmla="*/ 848 h 1072"/>
                <a:gd name="T8" fmla="*/ 575 w 1083"/>
                <a:gd name="T9" fmla="*/ 866 h 1072"/>
                <a:gd name="T10" fmla="*/ 559 w 1083"/>
                <a:gd name="T11" fmla="*/ 882 h 1072"/>
                <a:gd name="T12" fmla="*/ 544 w 1083"/>
                <a:gd name="T13" fmla="*/ 896 h 1072"/>
                <a:gd name="T14" fmla="*/ 524 w 1083"/>
                <a:gd name="T15" fmla="*/ 916 h 1072"/>
                <a:gd name="T16" fmla="*/ 496 w 1083"/>
                <a:gd name="T17" fmla="*/ 943 h 1072"/>
                <a:gd name="T18" fmla="*/ 458 w 1083"/>
                <a:gd name="T19" fmla="*/ 982 h 1072"/>
                <a:gd name="T20" fmla="*/ 402 w 1083"/>
                <a:gd name="T21" fmla="*/ 1037 h 1072"/>
                <a:gd name="T22" fmla="*/ 275 w 1083"/>
                <a:gd name="T23" fmla="*/ 980 h 1072"/>
                <a:gd name="T24" fmla="*/ 90 w 1083"/>
                <a:gd name="T25" fmla="*/ 808 h 1072"/>
                <a:gd name="T26" fmla="*/ 0 w 1083"/>
                <a:gd name="T27" fmla="*/ 716 h 1072"/>
                <a:gd name="T28" fmla="*/ 3 w 1083"/>
                <a:gd name="T29" fmla="*/ 712 h 1072"/>
                <a:gd name="T30" fmla="*/ 48 w 1083"/>
                <a:gd name="T31" fmla="*/ 665 h 1072"/>
                <a:gd name="T32" fmla="*/ 121 w 1083"/>
                <a:gd name="T33" fmla="*/ 594 h 1072"/>
                <a:gd name="T34" fmla="*/ 178 w 1083"/>
                <a:gd name="T35" fmla="*/ 537 h 1072"/>
                <a:gd name="T36" fmla="*/ 224 w 1083"/>
                <a:gd name="T37" fmla="*/ 491 h 1072"/>
                <a:gd name="T38" fmla="*/ 261 w 1083"/>
                <a:gd name="T39" fmla="*/ 454 h 1072"/>
                <a:gd name="T40" fmla="*/ 295 w 1083"/>
                <a:gd name="T41" fmla="*/ 420 h 1072"/>
                <a:gd name="T42" fmla="*/ 329 w 1083"/>
                <a:gd name="T43" fmla="*/ 387 h 1072"/>
                <a:gd name="T44" fmla="*/ 368 w 1083"/>
                <a:gd name="T45" fmla="*/ 350 h 1072"/>
                <a:gd name="T46" fmla="*/ 414 w 1083"/>
                <a:gd name="T47" fmla="*/ 304 h 1072"/>
                <a:gd name="T48" fmla="*/ 472 w 1083"/>
                <a:gd name="T49" fmla="*/ 248 h 1072"/>
                <a:gd name="T50" fmla="*/ 545 w 1083"/>
                <a:gd name="T51" fmla="*/ 177 h 1072"/>
                <a:gd name="T52" fmla="*/ 628 w 1083"/>
                <a:gd name="T53" fmla="*/ 100 h 1072"/>
                <a:gd name="T54" fmla="*/ 716 w 1083"/>
                <a:gd name="T55" fmla="*/ 41 h 1072"/>
                <a:gd name="T56" fmla="*/ 799 w 1083"/>
                <a:gd name="T57" fmla="*/ 4 h 1072"/>
                <a:gd name="T58" fmla="*/ 872 w 1083"/>
                <a:gd name="T59" fmla="*/ 1 h 1072"/>
                <a:gd name="T60" fmla="*/ 942 w 1083"/>
                <a:gd name="T61" fmla="*/ 29 h 1072"/>
                <a:gd name="T62" fmla="*/ 1007 w 1083"/>
                <a:gd name="T63" fmla="*/ 80 h 1072"/>
                <a:gd name="T64" fmla="*/ 1057 w 1083"/>
                <a:gd name="T65" fmla="*/ 144 h 1072"/>
                <a:gd name="T66" fmla="*/ 1082 w 1083"/>
                <a:gd name="T67" fmla="*/ 214 h 1072"/>
                <a:gd name="T68" fmla="*/ 1076 w 1083"/>
                <a:gd name="T69" fmla="*/ 288 h 1072"/>
                <a:gd name="T70" fmla="*/ 1026 w 1083"/>
                <a:gd name="T71" fmla="*/ 377 h 1072"/>
                <a:gd name="T72" fmla="*/ 952 w 1083"/>
                <a:gd name="T73" fmla="*/ 471 h 1072"/>
                <a:gd name="T74" fmla="*/ 905 w 1083"/>
                <a:gd name="T75" fmla="*/ 529 h 1072"/>
                <a:gd name="T76" fmla="*/ 870 w 1083"/>
                <a:gd name="T77" fmla="*/ 565 h 1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83" h="1072">
                  <a:moveTo>
                    <a:pt x="748" y="694"/>
                  </a:moveTo>
                  <a:lnTo>
                    <a:pt x="713" y="728"/>
                  </a:lnTo>
                  <a:lnTo>
                    <a:pt x="685" y="758"/>
                  </a:lnTo>
                  <a:lnTo>
                    <a:pt x="659" y="782"/>
                  </a:lnTo>
                  <a:lnTo>
                    <a:pt x="639" y="803"/>
                  </a:lnTo>
                  <a:lnTo>
                    <a:pt x="621" y="821"/>
                  </a:lnTo>
                  <a:lnTo>
                    <a:pt x="606" y="835"/>
                  </a:lnTo>
                  <a:lnTo>
                    <a:pt x="594" y="848"/>
                  </a:lnTo>
                  <a:lnTo>
                    <a:pt x="584" y="858"/>
                  </a:lnTo>
                  <a:lnTo>
                    <a:pt x="575" y="866"/>
                  </a:lnTo>
                  <a:lnTo>
                    <a:pt x="566" y="875"/>
                  </a:lnTo>
                  <a:lnTo>
                    <a:pt x="559" y="882"/>
                  </a:lnTo>
                  <a:lnTo>
                    <a:pt x="552" y="889"/>
                  </a:lnTo>
                  <a:lnTo>
                    <a:pt x="544" y="896"/>
                  </a:lnTo>
                  <a:lnTo>
                    <a:pt x="535" y="905"/>
                  </a:lnTo>
                  <a:lnTo>
                    <a:pt x="524" y="916"/>
                  </a:lnTo>
                  <a:lnTo>
                    <a:pt x="512" y="928"/>
                  </a:lnTo>
                  <a:lnTo>
                    <a:pt x="496" y="943"/>
                  </a:lnTo>
                  <a:lnTo>
                    <a:pt x="479" y="960"/>
                  </a:lnTo>
                  <a:lnTo>
                    <a:pt x="458" y="982"/>
                  </a:lnTo>
                  <a:lnTo>
                    <a:pt x="432" y="1007"/>
                  </a:lnTo>
                  <a:lnTo>
                    <a:pt x="402" y="1037"/>
                  </a:lnTo>
                  <a:lnTo>
                    <a:pt x="368" y="1072"/>
                  </a:lnTo>
                  <a:lnTo>
                    <a:pt x="275" y="980"/>
                  </a:lnTo>
                  <a:lnTo>
                    <a:pt x="182" y="893"/>
                  </a:lnTo>
                  <a:lnTo>
                    <a:pt x="90" y="808"/>
                  </a:lnTo>
                  <a:lnTo>
                    <a:pt x="0" y="718"/>
                  </a:lnTo>
                  <a:lnTo>
                    <a:pt x="0" y="716"/>
                  </a:lnTo>
                  <a:lnTo>
                    <a:pt x="1" y="715"/>
                  </a:lnTo>
                  <a:lnTo>
                    <a:pt x="3" y="712"/>
                  </a:lnTo>
                  <a:lnTo>
                    <a:pt x="4" y="709"/>
                  </a:lnTo>
                  <a:lnTo>
                    <a:pt x="48" y="665"/>
                  </a:lnTo>
                  <a:lnTo>
                    <a:pt x="87" y="628"/>
                  </a:lnTo>
                  <a:lnTo>
                    <a:pt x="121" y="594"/>
                  </a:lnTo>
                  <a:lnTo>
                    <a:pt x="151" y="564"/>
                  </a:lnTo>
                  <a:lnTo>
                    <a:pt x="178" y="537"/>
                  </a:lnTo>
                  <a:lnTo>
                    <a:pt x="201" y="512"/>
                  </a:lnTo>
                  <a:lnTo>
                    <a:pt x="224" y="491"/>
                  </a:lnTo>
                  <a:lnTo>
                    <a:pt x="242" y="472"/>
                  </a:lnTo>
                  <a:lnTo>
                    <a:pt x="261" y="454"/>
                  </a:lnTo>
                  <a:lnTo>
                    <a:pt x="278" y="437"/>
                  </a:lnTo>
                  <a:lnTo>
                    <a:pt x="295" y="420"/>
                  </a:lnTo>
                  <a:lnTo>
                    <a:pt x="312" y="404"/>
                  </a:lnTo>
                  <a:lnTo>
                    <a:pt x="329" y="387"/>
                  </a:lnTo>
                  <a:lnTo>
                    <a:pt x="348" y="368"/>
                  </a:lnTo>
                  <a:lnTo>
                    <a:pt x="368" y="350"/>
                  </a:lnTo>
                  <a:lnTo>
                    <a:pt x="389" y="328"/>
                  </a:lnTo>
                  <a:lnTo>
                    <a:pt x="414" y="304"/>
                  </a:lnTo>
                  <a:lnTo>
                    <a:pt x="441" y="278"/>
                  </a:lnTo>
                  <a:lnTo>
                    <a:pt x="472" y="248"/>
                  </a:lnTo>
                  <a:lnTo>
                    <a:pt x="506" y="214"/>
                  </a:lnTo>
                  <a:lnTo>
                    <a:pt x="545" y="177"/>
                  </a:lnTo>
                  <a:lnTo>
                    <a:pt x="588" y="134"/>
                  </a:lnTo>
                  <a:lnTo>
                    <a:pt x="628" y="100"/>
                  </a:lnTo>
                  <a:lnTo>
                    <a:pt x="671" y="69"/>
                  </a:lnTo>
                  <a:lnTo>
                    <a:pt x="716" y="41"/>
                  </a:lnTo>
                  <a:lnTo>
                    <a:pt x="762" y="19"/>
                  </a:lnTo>
                  <a:lnTo>
                    <a:pt x="799" y="4"/>
                  </a:lnTo>
                  <a:lnTo>
                    <a:pt x="836" y="0"/>
                  </a:lnTo>
                  <a:lnTo>
                    <a:pt x="872" y="1"/>
                  </a:lnTo>
                  <a:lnTo>
                    <a:pt x="908" y="11"/>
                  </a:lnTo>
                  <a:lnTo>
                    <a:pt x="942" y="29"/>
                  </a:lnTo>
                  <a:lnTo>
                    <a:pt x="975" y="51"/>
                  </a:lnTo>
                  <a:lnTo>
                    <a:pt x="1007" y="80"/>
                  </a:lnTo>
                  <a:lnTo>
                    <a:pt x="1036" y="111"/>
                  </a:lnTo>
                  <a:lnTo>
                    <a:pt x="1057" y="144"/>
                  </a:lnTo>
                  <a:lnTo>
                    <a:pt x="1073" y="178"/>
                  </a:lnTo>
                  <a:lnTo>
                    <a:pt x="1082" y="214"/>
                  </a:lnTo>
                  <a:lnTo>
                    <a:pt x="1083" y="250"/>
                  </a:lnTo>
                  <a:lnTo>
                    <a:pt x="1076" y="288"/>
                  </a:lnTo>
                  <a:lnTo>
                    <a:pt x="1059" y="327"/>
                  </a:lnTo>
                  <a:lnTo>
                    <a:pt x="1026" y="377"/>
                  </a:lnTo>
                  <a:lnTo>
                    <a:pt x="990" y="425"/>
                  </a:lnTo>
                  <a:lnTo>
                    <a:pt x="952" y="471"/>
                  </a:lnTo>
                  <a:lnTo>
                    <a:pt x="915" y="518"/>
                  </a:lnTo>
                  <a:lnTo>
                    <a:pt x="905" y="529"/>
                  </a:lnTo>
                  <a:lnTo>
                    <a:pt x="895" y="542"/>
                  </a:lnTo>
                  <a:lnTo>
                    <a:pt x="870" y="565"/>
                  </a:lnTo>
                  <a:lnTo>
                    <a:pt x="748" y="69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35"/>
            <p:cNvSpPr>
              <a:spLocks/>
            </p:cNvSpPr>
            <p:nvPr/>
          </p:nvSpPr>
          <p:spPr bwMode="auto">
            <a:xfrm>
              <a:off x="2052" y="2366"/>
              <a:ext cx="279" cy="280"/>
            </a:xfrm>
            <a:custGeom>
              <a:avLst/>
              <a:gdLst>
                <a:gd name="T0" fmla="*/ 805 w 835"/>
                <a:gd name="T1" fmla="*/ 139 h 839"/>
                <a:gd name="T2" fmla="*/ 686 w 835"/>
                <a:gd name="T3" fmla="*/ 261 h 839"/>
                <a:gd name="T4" fmla="*/ 567 w 835"/>
                <a:gd name="T5" fmla="*/ 381 h 839"/>
                <a:gd name="T6" fmla="*/ 141 w 835"/>
                <a:gd name="T7" fmla="*/ 806 h 839"/>
                <a:gd name="T8" fmla="*/ 124 w 835"/>
                <a:gd name="T9" fmla="*/ 823 h 839"/>
                <a:gd name="T10" fmla="*/ 104 w 835"/>
                <a:gd name="T11" fmla="*/ 833 h 839"/>
                <a:gd name="T12" fmla="*/ 84 w 835"/>
                <a:gd name="T13" fmla="*/ 839 h 839"/>
                <a:gd name="T14" fmla="*/ 63 w 835"/>
                <a:gd name="T15" fmla="*/ 839 h 839"/>
                <a:gd name="T16" fmla="*/ 40 w 835"/>
                <a:gd name="T17" fmla="*/ 829 h 839"/>
                <a:gd name="T18" fmla="*/ 21 w 835"/>
                <a:gd name="T19" fmla="*/ 816 h 839"/>
                <a:gd name="T20" fmla="*/ 8 w 835"/>
                <a:gd name="T21" fmla="*/ 800 h 839"/>
                <a:gd name="T22" fmla="*/ 1 w 835"/>
                <a:gd name="T23" fmla="*/ 783 h 839"/>
                <a:gd name="T24" fmla="*/ 0 w 835"/>
                <a:gd name="T25" fmla="*/ 763 h 839"/>
                <a:gd name="T26" fmla="*/ 4 w 835"/>
                <a:gd name="T27" fmla="*/ 742 h 839"/>
                <a:gd name="T28" fmla="*/ 13 w 835"/>
                <a:gd name="T29" fmla="*/ 723 h 839"/>
                <a:gd name="T30" fmla="*/ 27 w 835"/>
                <a:gd name="T31" fmla="*/ 706 h 839"/>
                <a:gd name="T32" fmla="*/ 43 w 835"/>
                <a:gd name="T33" fmla="*/ 689 h 839"/>
                <a:gd name="T34" fmla="*/ 64 w 835"/>
                <a:gd name="T35" fmla="*/ 667 h 839"/>
                <a:gd name="T36" fmla="*/ 90 w 835"/>
                <a:gd name="T37" fmla="*/ 642 h 839"/>
                <a:gd name="T38" fmla="*/ 117 w 835"/>
                <a:gd name="T39" fmla="*/ 613 h 839"/>
                <a:gd name="T40" fmla="*/ 148 w 835"/>
                <a:gd name="T41" fmla="*/ 583 h 839"/>
                <a:gd name="T42" fmla="*/ 181 w 835"/>
                <a:gd name="T43" fmla="*/ 550 h 839"/>
                <a:gd name="T44" fmla="*/ 215 w 835"/>
                <a:gd name="T45" fmla="*/ 515 h 839"/>
                <a:gd name="T46" fmla="*/ 251 w 835"/>
                <a:gd name="T47" fmla="*/ 479 h 839"/>
                <a:gd name="T48" fmla="*/ 288 w 835"/>
                <a:gd name="T49" fmla="*/ 442 h 839"/>
                <a:gd name="T50" fmla="*/ 327 w 835"/>
                <a:gd name="T51" fmla="*/ 403 h 839"/>
                <a:gd name="T52" fmla="*/ 365 w 835"/>
                <a:gd name="T53" fmla="*/ 365 h 839"/>
                <a:gd name="T54" fmla="*/ 402 w 835"/>
                <a:gd name="T55" fmla="*/ 328 h 839"/>
                <a:gd name="T56" fmla="*/ 440 w 835"/>
                <a:gd name="T57" fmla="*/ 289 h 839"/>
                <a:gd name="T58" fmla="*/ 477 w 835"/>
                <a:gd name="T59" fmla="*/ 254 h 839"/>
                <a:gd name="T60" fmla="*/ 511 w 835"/>
                <a:gd name="T61" fmla="*/ 218 h 839"/>
                <a:gd name="T62" fmla="*/ 544 w 835"/>
                <a:gd name="T63" fmla="*/ 185 h 839"/>
                <a:gd name="T64" fmla="*/ 575 w 835"/>
                <a:gd name="T65" fmla="*/ 154 h 839"/>
                <a:gd name="T66" fmla="*/ 604 w 835"/>
                <a:gd name="T67" fmla="*/ 125 h 839"/>
                <a:gd name="T68" fmla="*/ 629 w 835"/>
                <a:gd name="T69" fmla="*/ 99 h 839"/>
                <a:gd name="T70" fmla="*/ 652 w 835"/>
                <a:gd name="T71" fmla="*/ 78 h 839"/>
                <a:gd name="T72" fmla="*/ 671 w 835"/>
                <a:gd name="T73" fmla="*/ 59 h 839"/>
                <a:gd name="T74" fmla="*/ 685 w 835"/>
                <a:gd name="T75" fmla="*/ 45 h 839"/>
                <a:gd name="T76" fmla="*/ 695 w 835"/>
                <a:gd name="T77" fmla="*/ 35 h 839"/>
                <a:gd name="T78" fmla="*/ 699 w 835"/>
                <a:gd name="T79" fmla="*/ 29 h 839"/>
                <a:gd name="T80" fmla="*/ 725 w 835"/>
                <a:gd name="T81" fmla="*/ 11 h 839"/>
                <a:gd name="T82" fmla="*/ 749 w 835"/>
                <a:gd name="T83" fmla="*/ 1 h 839"/>
                <a:gd name="T84" fmla="*/ 772 w 835"/>
                <a:gd name="T85" fmla="*/ 0 h 839"/>
                <a:gd name="T86" fmla="*/ 795 w 835"/>
                <a:gd name="T87" fmla="*/ 8 h 839"/>
                <a:gd name="T88" fmla="*/ 816 w 835"/>
                <a:gd name="T89" fmla="*/ 25 h 839"/>
                <a:gd name="T90" fmla="*/ 828 w 835"/>
                <a:gd name="T91" fmla="*/ 41 h 839"/>
                <a:gd name="T92" fmla="*/ 835 w 835"/>
                <a:gd name="T93" fmla="*/ 59 h 839"/>
                <a:gd name="T94" fmla="*/ 835 w 835"/>
                <a:gd name="T95" fmla="*/ 79 h 839"/>
                <a:gd name="T96" fmla="*/ 831 w 835"/>
                <a:gd name="T97" fmla="*/ 99 h 839"/>
                <a:gd name="T98" fmla="*/ 821 w 835"/>
                <a:gd name="T99" fmla="*/ 119 h 839"/>
                <a:gd name="T100" fmla="*/ 805 w 835"/>
                <a:gd name="T101" fmla="*/ 1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35" h="839">
                  <a:moveTo>
                    <a:pt x="805" y="139"/>
                  </a:moveTo>
                  <a:lnTo>
                    <a:pt x="686" y="261"/>
                  </a:lnTo>
                  <a:lnTo>
                    <a:pt x="567" y="381"/>
                  </a:lnTo>
                  <a:lnTo>
                    <a:pt x="141" y="806"/>
                  </a:lnTo>
                  <a:lnTo>
                    <a:pt x="124" y="823"/>
                  </a:lnTo>
                  <a:lnTo>
                    <a:pt x="104" y="833"/>
                  </a:lnTo>
                  <a:lnTo>
                    <a:pt x="84" y="839"/>
                  </a:lnTo>
                  <a:lnTo>
                    <a:pt x="63" y="839"/>
                  </a:lnTo>
                  <a:lnTo>
                    <a:pt x="40" y="829"/>
                  </a:lnTo>
                  <a:lnTo>
                    <a:pt x="21" y="816"/>
                  </a:lnTo>
                  <a:lnTo>
                    <a:pt x="8" y="800"/>
                  </a:lnTo>
                  <a:lnTo>
                    <a:pt x="1" y="783"/>
                  </a:lnTo>
                  <a:lnTo>
                    <a:pt x="0" y="763"/>
                  </a:lnTo>
                  <a:lnTo>
                    <a:pt x="4" y="742"/>
                  </a:lnTo>
                  <a:lnTo>
                    <a:pt x="13" y="723"/>
                  </a:lnTo>
                  <a:lnTo>
                    <a:pt x="27" y="706"/>
                  </a:lnTo>
                  <a:lnTo>
                    <a:pt x="43" y="689"/>
                  </a:lnTo>
                  <a:lnTo>
                    <a:pt x="64" y="667"/>
                  </a:lnTo>
                  <a:lnTo>
                    <a:pt x="90" y="642"/>
                  </a:lnTo>
                  <a:lnTo>
                    <a:pt x="117" y="613"/>
                  </a:lnTo>
                  <a:lnTo>
                    <a:pt x="148" y="583"/>
                  </a:lnTo>
                  <a:lnTo>
                    <a:pt x="181" y="550"/>
                  </a:lnTo>
                  <a:lnTo>
                    <a:pt x="215" y="515"/>
                  </a:lnTo>
                  <a:lnTo>
                    <a:pt x="251" y="479"/>
                  </a:lnTo>
                  <a:lnTo>
                    <a:pt x="288" y="442"/>
                  </a:lnTo>
                  <a:lnTo>
                    <a:pt x="327" y="403"/>
                  </a:lnTo>
                  <a:lnTo>
                    <a:pt x="365" y="365"/>
                  </a:lnTo>
                  <a:lnTo>
                    <a:pt x="402" y="328"/>
                  </a:lnTo>
                  <a:lnTo>
                    <a:pt x="440" y="289"/>
                  </a:lnTo>
                  <a:lnTo>
                    <a:pt x="477" y="254"/>
                  </a:lnTo>
                  <a:lnTo>
                    <a:pt x="511" y="218"/>
                  </a:lnTo>
                  <a:lnTo>
                    <a:pt x="544" y="185"/>
                  </a:lnTo>
                  <a:lnTo>
                    <a:pt x="575" y="154"/>
                  </a:lnTo>
                  <a:lnTo>
                    <a:pt x="604" y="125"/>
                  </a:lnTo>
                  <a:lnTo>
                    <a:pt x="629" y="99"/>
                  </a:lnTo>
                  <a:lnTo>
                    <a:pt x="652" y="78"/>
                  </a:lnTo>
                  <a:lnTo>
                    <a:pt x="671" y="59"/>
                  </a:lnTo>
                  <a:lnTo>
                    <a:pt x="685" y="45"/>
                  </a:lnTo>
                  <a:lnTo>
                    <a:pt x="695" y="35"/>
                  </a:lnTo>
                  <a:lnTo>
                    <a:pt x="699" y="29"/>
                  </a:lnTo>
                  <a:lnTo>
                    <a:pt x="725" y="11"/>
                  </a:lnTo>
                  <a:lnTo>
                    <a:pt x="749" y="1"/>
                  </a:lnTo>
                  <a:lnTo>
                    <a:pt x="772" y="0"/>
                  </a:lnTo>
                  <a:lnTo>
                    <a:pt x="795" y="8"/>
                  </a:lnTo>
                  <a:lnTo>
                    <a:pt x="816" y="25"/>
                  </a:lnTo>
                  <a:lnTo>
                    <a:pt x="828" y="41"/>
                  </a:lnTo>
                  <a:lnTo>
                    <a:pt x="835" y="59"/>
                  </a:lnTo>
                  <a:lnTo>
                    <a:pt x="835" y="79"/>
                  </a:lnTo>
                  <a:lnTo>
                    <a:pt x="831" y="99"/>
                  </a:lnTo>
                  <a:lnTo>
                    <a:pt x="821" y="119"/>
                  </a:lnTo>
                  <a:lnTo>
                    <a:pt x="805" y="13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36"/>
            <p:cNvSpPr>
              <a:spLocks/>
            </p:cNvSpPr>
            <p:nvPr/>
          </p:nvSpPr>
          <p:spPr bwMode="auto">
            <a:xfrm>
              <a:off x="1166" y="1856"/>
              <a:ext cx="715" cy="55"/>
            </a:xfrm>
            <a:custGeom>
              <a:avLst/>
              <a:gdLst>
                <a:gd name="T0" fmla="*/ 2145 w 2145"/>
                <a:gd name="T1" fmla="*/ 81 h 164"/>
                <a:gd name="T2" fmla="*/ 2141 w 2145"/>
                <a:gd name="T3" fmla="*/ 108 h 164"/>
                <a:gd name="T4" fmla="*/ 2129 w 2145"/>
                <a:gd name="T5" fmla="*/ 131 h 164"/>
                <a:gd name="T6" fmla="*/ 2112 w 2145"/>
                <a:gd name="T7" fmla="*/ 148 h 164"/>
                <a:gd name="T8" fmla="*/ 2089 w 2145"/>
                <a:gd name="T9" fmla="*/ 160 h 164"/>
                <a:gd name="T10" fmla="*/ 2064 w 2145"/>
                <a:gd name="T11" fmla="*/ 164 h 164"/>
                <a:gd name="T12" fmla="*/ 81 w 2145"/>
                <a:gd name="T13" fmla="*/ 164 h 164"/>
                <a:gd name="T14" fmla="*/ 56 w 2145"/>
                <a:gd name="T15" fmla="*/ 160 h 164"/>
                <a:gd name="T16" fmla="*/ 33 w 2145"/>
                <a:gd name="T17" fmla="*/ 148 h 164"/>
                <a:gd name="T18" fmla="*/ 16 w 2145"/>
                <a:gd name="T19" fmla="*/ 131 h 164"/>
                <a:gd name="T20" fmla="*/ 4 w 2145"/>
                <a:gd name="T21" fmla="*/ 108 h 164"/>
                <a:gd name="T22" fmla="*/ 0 w 2145"/>
                <a:gd name="T23" fmla="*/ 81 h 164"/>
                <a:gd name="T24" fmla="*/ 4 w 2145"/>
                <a:gd name="T25" fmla="*/ 55 h 164"/>
                <a:gd name="T26" fmla="*/ 16 w 2145"/>
                <a:gd name="T27" fmla="*/ 33 h 164"/>
                <a:gd name="T28" fmla="*/ 33 w 2145"/>
                <a:gd name="T29" fmla="*/ 15 h 164"/>
                <a:gd name="T30" fmla="*/ 56 w 2145"/>
                <a:gd name="T31" fmla="*/ 4 h 164"/>
                <a:gd name="T32" fmla="*/ 81 w 2145"/>
                <a:gd name="T33" fmla="*/ 0 h 164"/>
                <a:gd name="T34" fmla="*/ 2064 w 2145"/>
                <a:gd name="T35" fmla="*/ 0 h 164"/>
                <a:gd name="T36" fmla="*/ 2089 w 2145"/>
                <a:gd name="T37" fmla="*/ 4 h 164"/>
                <a:gd name="T38" fmla="*/ 2112 w 2145"/>
                <a:gd name="T39" fmla="*/ 15 h 164"/>
                <a:gd name="T40" fmla="*/ 2129 w 2145"/>
                <a:gd name="T41" fmla="*/ 33 h 164"/>
                <a:gd name="T42" fmla="*/ 2141 w 2145"/>
                <a:gd name="T43" fmla="*/ 55 h 164"/>
                <a:gd name="T44" fmla="*/ 2145 w 2145"/>
                <a:gd name="T45" fmla="*/ 81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45" h="164">
                  <a:moveTo>
                    <a:pt x="2145" y="81"/>
                  </a:moveTo>
                  <a:lnTo>
                    <a:pt x="2141" y="108"/>
                  </a:lnTo>
                  <a:lnTo>
                    <a:pt x="2129" y="131"/>
                  </a:lnTo>
                  <a:lnTo>
                    <a:pt x="2112" y="148"/>
                  </a:lnTo>
                  <a:lnTo>
                    <a:pt x="2089" y="160"/>
                  </a:lnTo>
                  <a:lnTo>
                    <a:pt x="2064" y="164"/>
                  </a:lnTo>
                  <a:lnTo>
                    <a:pt x="81" y="164"/>
                  </a:lnTo>
                  <a:lnTo>
                    <a:pt x="56" y="160"/>
                  </a:lnTo>
                  <a:lnTo>
                    <a:pt x="33" y="148"/>
                  </a:lnTo>
                  <a:lnTo>
                    <a:pt x="16" y="131"/>
                  </a:lnTo>
                  <a:lnTo>
                    <a:pt x="4" y="108"/>
                  </a:lnTo>
                  <a:lnTo>
                    <a:pt x="0" y="81"/>
                  </a:lnTo>
                  <a:lnTo>
                    <a:pt x="4" y="55"/>
                  </a:lnTo>
                  <a:lnTo>
                    <a:pt x="16" y="33"/>
                  </a:lnTo>
                  <a:lnTo>
                    <a:pt x="33" y="15"/>
                  </a:lnTo>
                  <a:lnTo>
                    <a:pt x="56" y="4"/>
                  </a:lnTo>
                  <a:lnTo>
                    <a:pt x="81" y="0"/>
                  </a:lnTo>
                  <a:lnTo>
                    <a:pt x="2064" y="0"/>
                  </a:lnTo>
                  <a:lnTo>
                    <a:pt x="2089" y="4"/>
                  </a:lnTo>
                  <a:lnTo>
                    <a:pt x="2112" y="15"/>
                  </a:lnTo>
                  <a:lnTo>
                    <a:pt x="2129" y="33"/>
                  </a:lnTo>
                  <a:lnTo>
                    <a:pt x="2141" y="55"/>
                  </a:lnTo>
                  <a:lnTo>
                    <a:pt x="2145" y="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37"/>
            <p:cNvSpPr>
              <a:spLocks/>
            </p:cNvSpPr>
            <p:nvPr/>
          </p:nvSpPr>
          <p:spPr bwMode="auto">
            <a:xfrm>
              <a:off x="1166" y="2100"/>
              <a:ext cx="715" cy="55"/>
            </a:xfrm>
            <a:custGeom>
              <a:avLst/>
              <a:gdLst>
                <a:gd name="T0" fmla="*/ 2145 w 2145"/>
                <a:gd name="T1" fmla="*/ 83 h 164"/>
                <a:gd name="T2" fmla="*/ 2141 w 2145"/>
                <a:gd name="T3" fmla="*/ 109 h 164"/>
                <a:gd name="T4" fmla="*/ 2129 w 2145"/>
                <a:gd name="T5" fmla="*/ 132 h 164"/>
                <a:gd name="T6" fmla="*/ 2112 w 2145"/>
                <a:gd name="T7" fmla="*/ 149 h 164"/>
                <a:gd name="T8" fmla="*/ 2089 w 2145"/>
                <a:gd name="T9" fmla="*/ 160 h 164"/>
                <a:gd name="T10" fmla="*/ 2064 w 2145"/>
                <a:gd name="T11" fmla="*/ 164 h 164"/>
                <a:gd name="T12" fmla="*/ 81 w 2145"/>
                <a:gd name="T13" fmla="*/ 164 h 164"/>
                <a:gd name="T14" fmla="*/ 56 w 2145"/>
                <a:gd name="T15" fmla="*/ 160 h 164"/>
                <a:gd name="T16" fmla="*/ 33 w 2145"/>
                <a:gd name="T17" fmla="*/ 149 h 164"/>
                <a:gd name="T18" fmla="*/ 16 w 2145"/>
                <a:gd name="T19" fmla="*/ 132 h 164"/>
                <a:gd name="T20" fmla="*/ 4 w 2145"/>
                <a:gd name="T21" fmla="*/ 109 h 164"/>
                <a:gd name="T22" fmla="*/ 0 w 2145"/>
                <a:gd name="T23" fmla="*/ 83 h 164"/>
                <a:gd name="T24" fmla="*/ 4 w 2145"/>
                <a:gd name="T25" fmla="*/ 57 h 164"/>
                <a:gd name="T26" fmla="*/ 16 w 2145"/>
                <a:gd name="T27" fmla="*/ 34 h 164"/>
                <a:gd name="T28" fmla="*/ 33 w 2145"/>
                <a:gd name="T29" fmla="*/ 16 h 164"/>
                <a:gd name="T30" fmla="*/ 56 w 2145"/>
                <a:gd name="T31" fmla="*/ 5 h 164"/>
                <a:gd name="T32" fmla="*/ 81 w 2145"/>
                <a:gd name="T33" fmla="*/ 0 h 164"/>
                <a:gd name="T34" fmla="*/ 2064 w 2145"/>
                <a:gd name="T35" fmla="*/ 0 h 164"/>
                <a:gd name="T36" fmla="*/ 2089 w 2145"/>
                <a:gd name="T37" fmla="*/ 5 h 164"/>
                <a:gd name="T38" fmla="*/ 2112 w 2145"/>
                <a:gd name="T39" fmla="*/ 16 h 164"/>
                <a:gd name="T40" fmla="*/ 2129 w 2145"/>
                <a:gd name="T41" fmla="*/ 34 h 164"/>
                <a:gd name="T42" fmla="*/ 2141 w 2145"/>
                <a:gd name="T43" fmla="*/ 57 h 164"/>
                <a:gd name="T44" fmla="*/ 2145 w 2145"/>
                <a:gd name="T45" fmla="*/ 83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45" h="164">
                  <a:moveTo>
                    <a:pt x="2145" y="83"/>
                  </a:moveTo>
                  <a:lnTo>
                    <a:pt x="2141" y="109"/>
                  </a:lnTo>
                  <a:lnTo>
                    <a:pt x="2129" y="132"/>
                  </a:lnTo>
                  <a:lnTo>
                    <a:pt x="2112" y="149"/>
                  </a:lnTo>
                  <a:lnTo>
                    <a:pt x="2089" y="160"/>
                  </a:lnTo>
                  <a:lnTo>
                    <a:pt x="2064" y="164"/>
                  </a:lnTo>
                  <a:lnTo>
                    <a:pt x="81" y="164"/>
                  </a:lnTo>
                  <a:lnTo>
                    <a:pt x="56" y="160"/>
                  </a:lnTo>
                  <a:lnTo>
                    <a:pt x="33" y="149"/>
                  </a:lnTo>
                  <a:lnTo>
                    <a:pt x="16" y="132"/>
                  </a:lnTo>
                  <a:lnTo>
                    <a:pt x="4" y="109"/>
                  </a:lnTo>
                  <a:lnTo>
                    <a:pt x="0" y="83"/>
                  </a:lnTo>
                  <a:lnTo>
                    <a:pt x="4" y="57"/>
                  </a:lnTo>
                  <a:lnTo>
                    <a:pt x="16" y="34"/>
                  </a:lnTo>
                  <a:lnTo>
                    <a:pt x="33" y="16"/>
                  </a:lnTo>
                  <a:lnTo>
                    <a:pt x="56" y="5"/>
                  </a:lnTo>
                  <a:lnTo>
                    <a:pt x="81" y="0"/>
                  </a:lnTo>
                  <a:lnTo>
                    <a:pt x="2064" y="0"/>
                  </a:lnTo>
                  <a:lnTo>
                    <a:pt x="2089" y="5"/>
                  </a:lnTo>
                  <a:lnTo>
                    <a:pt x="2112" y="16"/>
                  </a:lnTo>
                  <a:lnTo>
                    <a:pt x="2129" y="34"/>
                  </a:lnTo>
                  <a:lnTo>
                    <a:pt x="2141" y="57"/>
                  </a:lnTo>
                  <a:lnTo>
                    <a:pt x="2145" y="8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38"/>
            <p:cNvSpPr>
              <a:spLocks/>
            </p:cNvSpPr>
            <p:nvPr/>
          </p:nvSpPr>
          <p:spPr bwMode="auto">
            <a:xfrm>
              <a:off x="1166" y="2345"/>
              <a:ext cx="715" cy="55"/>
            </a:xfrm>
            <a:custGeom>
              <a:avLst/>
              <a:gdLst>
                <a:gd name="T0" fmla="*/ 2144 w 2144"/>
                <a:gd name="T1" fmla="*/ 65 h 165"/>
                <a:gd name="T2" fmla="*/ 2045 w 2144"/>
                <a:gd name="T3" fmla="*/ 165 h 165"/>
                <a:gd name="T4" fmla="*/ 81 w 2144"/>
                <a:gd name="T5" fmla="*/ 165 h 165"/>
                <a:gd name="T6" fmla="*/ 56 w 2144"/>
                <a:gd name="T7" fmla="*/ 161 h 165"/>
                <a:gd name="T8" fmla="*/ 33 w 2144"/>
                <a:gd name="T9" fmla="*/ 150 h 165"/>
                <a:gd name="T10" fmla="*/ 16 w 2144"/>
                <a:gd name="T11" fmla="*/ 131 h 165"/>
                <a:gd name="T12" fmla="*/ 3 w 2144"/>
                <a:gd name="T13" fmla="*/ 108 h 165"/>
                <a:gd name="T14" fmla="*/ 0 w 2144"/>
                <a:gd name="T15" fmla="*/ 83 h 165"/>
                <a:gd name="T16" fmla="*/ 3 w 2144"/>
                <a:gd name="T17" fmla="*/ 57 h 165"/>
                <a:gd name="T18" fmla="*/ 16 w 2144"/>
                <a:gd name="T19" fmla="*/ 34 h 165"/>
                <a:gd name="T20" fmla="*/ 33 w 2144"/>
                <a:gd name="T21" fmla="*/ 15 h 165"/>
                <a:gd name="T22" fmla="*/ 56 w 2144"/>
                <a:gd name="T23" fmla="*/ 4 h 165"/>
                <a:gd name="T24" fmla="*/ 81 w 2144"/>
                <a:gd name="T25" fmla="*/ 0 h 165"/>
                <a:gd name="T26" fmla="*/ 2064 w 2144"/>
                <a:gd name="T27" fmla="*/ 0 h 165"/>
                <a:gd name="T28" fmla="*/ 2087 w 2144"/>
                <a:gd name="T29" fmla="*/ 4 h 165"/>
                <a:gd name="T30" fmla="*/ 2107 w 2144"/>
                <a:gd name="T31" fmla="*/ 13 h 165"/>
                <a:gd name="T32" fmla="*/ 2124 w 2144"/>
                <a:gd name="T33" fmla="*/ 27 h 165"/>
                <a:gd name="T34" fmla="*/ 2137 w 2144"/>
                <a:gd name="T35" fmla="*/ 44 h 165"/>
                <a:gd name="T36" fmla="*/ 2144 w 2144"/>
                <a:gd name="T37" fmla="*/ 6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44" h="165">
                  <a:moveTo>
                    <a:pt x="2144" y="65"/>
                  </a:moveTo>
                  <a:lnTo>
                    <a:pt x="2045" y="165"/>
                  </a:lnTo>
                  <a:lnTo>
                    <a:pt x="81" y="165"/>
                  </a:lnTo>
                  <a:lnTo>
                    <a:pt x="56" y="161"/>
                  </a:lnTo>
                  <a:lnTo>
                    <a:pt x="33" y="150"/>
                  </a:lnTo>
                  <a:lnTo>
                    <a:pt x="16" y="131"/>
                  </a:lnTo>
                  <a:lnTo>
                    <a:pt x="3" y="108"/>
                  </a:lnTo>
                  <a:lnTo>
                    <a:pt x="0" y="83"/>
                  </a:lnTo>
                  <a:lnTo>
                    <a:pt x="3" y="57"/>
                  </a:lnTo>
                  <a:lnTo>
                    <a:pt x="16" y="34"/>
                  </a:lnTo>
                  <a:lnTo>
                    <a:pt x="33" y="15"/>
                  </a:lnTo>
                  <a:lnTo>
                    <a:pt x="56" y="4"/>
                  </a:lnTo>
                  <a:lnTo>
                    <a:pt x="81" y="0"/>
                  </a:lnTo>
                  <a:lnTo>
                    <a:pt x="2064" y="0"/>
                  </a:lnTo>
                  <a:lnTo>
                    <a:pt x="2087" y="4"/>
                  </a:lnTo>
                  <a:lnTo>
                    <a:pt x="2107" y="13"/>
                  </a:lnTo>
                  <a:lnTo>
                    <a:pt x="2124" y="27"/>
                  </a:lnTo>
                  <a:lnTo>
                    <a:pt x="2137" y="44"/>
                  </a:lnTo>
                  <a:lnTo>
                    <a:pt x="2144" y="6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1516" y="2441"/>
              <a:ext cx="513" cy="525"/>
            </a:xfrm>
            <a:custGeom>
              <a:avLst/>
              <a:gdLst>
                <a:gd name="T0" fmla="*/ 1535 w 1538"/>
                <a:gd name="T1" fmla="*/ 372 h 1575"/>
                <a:gd name="T2" fmla="*/ 1515 w 1538"/>
                <a:gd name="T3" fmla="*/ 394 h 1575"/>
                <a:gd name="T4" fmla="*/ 1476 w 1538"/>
                <a:gd name="T5" fmla="*/ 432 h 1575"/>
                <a:gd name="T6" fmla="*/ 1422 w 1538"/>
                <a:gd name="T7" fmla="*/ 488 h 1575"/>
                <a:gd name="T8" fmla="*/ 1355 w 1538"/>
                <a:gd name="T9" fmla="*/ 555 h 1575"/>
                <a:gd name="T10" fmla="*/ 1279 w 1538"/>
                <a:gd name="T11" fmla="*/ 632 h 1575"/>
                <a:gd name="T12" fmla="*/ 1195 w 1538"/>
                <a:gd name="T13" fmla="*/ 715 h 1575"/>
                <a:gd name="T14" fmla="*/ 1107 w 1538"/>
                <a:gd name="T15" fmla="*/ 803 h 1575"/>
                <a:gd name="T16" fmla="*/ 1017 w 1538"/>
                <a:gd name="T17" fmla="*/ 892 h 1575"/>
                <a:gd name="T18" fmla="*/ 927 w 1538"/>
                <a:gd name="T19" fmla="*/ 980 h 1575"/>
                <a:gd name="T20" fmla="*/ 841 w 1538"/>
                <a:gd name="T21" fmla="*/ 1063 h 1575"/>
                <a:gd name="T22" fmla="*/ 761 w 1538"/>
                <a:gd name="T23" fmla="*/ 1139 h 1575"/>
                <a:gd name="T24" fmla="*/ 691 w 1538"/>
                <a:gd name="T25" fmla="*/ 1204 h 1575"/>
                <a:gd name="T26" fmla="*/ 631 w 1538"/>
                <a:gd name="T27" fmla="*/ 1259 h 1575"/>
                <a:gd name="T28" fmla="*/ 587 w 1538"/>
                <a:gd name="T29" fmla="*/ 1296 h 1575"/>
                <a:gd name="T30" fmla="*/ 567 w 1538"/>
                <a:gd name="T31" fmla="*/ 1310 h 1575"/>
                <a:gd name="T32" fmla="*/ 544 w 1538"/>
                <a:gd name="T33" fmla="*/ 1326 h 1575"/>
                <a:gd name="T34" fmla="*/ 503 w 1538"/>
                <a:gd name="T35" fmla="*/ 1354 h 1575"/>
                <a:gd name="T36" fmla="*/ 447 w 1538"/>
                <a:gd name="T37" fmla="*/ 1388 h 1575"/>
                <a:gd name="T38" fmla="*/ 381 w 1538"/>
                <a:gd name="T39" fmla="*/ 1427 h 1575"/>
                <a:gd name="T40" fmla="*/ 312 w 1538"/>
                <a:gd name="T41" fmla="*/ 1464 h 1575"/>
                <a:gd name="T42" fmla="*/ 240 w 1538"/>
                <a:gd name="T43" fmla="*/ 1496 h 1575"/>
                <a:gd name="T44" fmla="*/ 172 w 1538"/>
                <a:gd name="T45" fmla="*/ 1517 h 1575"/>
                <a:gd name="T46" fmla="*/ 112 w 1538"/>
                <a:gd name="T47" fmla="*/ 1523 h 1575"/>
                <a:gd name="T48" fmla="*/ 105 w 1538"/>
                <a:gd name="T49" fmla="*/ 1524 h 1575"/>
                <a:gd name="T50" fmla="*/ 63 w 1538"/>
                <a:gd name="T51" fmla="*/ 1564 h 1575"/>
                <a:gd name="T52" fmla="*/ 36 w 1538"/>
                <a:gd name="T53" fmla="*/ 1575 h 1575"/>
                <a:gd name="T54" fmla="*/ 12 w 1538"/>
                <a:gd name="T55" fmla="*/ 1567 h 1575"/>
                <a:gd name="T56" fmla="*/ 0 w 1538"/>
                <a:gd name="T57" fmla="*/ 1541 h 1575"/>
                <a:gd name="T58" fmla="*/ 9 w 1538"/>
                <a:gd name="T59" fmla="*/ 1514 h 1575"/>
                <a:gd name="T60" fmla="*/ 39 w 1538"/>
                <a:gd name="T61" fmla="*/ 1453 h 1575"/>
                <a:gd name="T62" fmla="*/ 43 w 1538"/>
                <a:gd name="T63" fmla="*/ 1393 h 1575"/>
                <a:gd name="T64" fmla="*/ 62 w 1538"/>
                <a:gd name="T65" fmla="*/ 1324 h 1575"/>
                <a:gd name="T66" fmla="*/ 90 w 1538"/>
                <a:gd name="T67" fmla="*/ 1253 h 1575"/>
                <a:gd name="T68" fmla="*/ 125 w 1538"/>
                <a:gd name="T69" fmla="*/ 1180 h 1575"/>
                <a:gd name="T70" fmla="*/ 160 w 1538"/>
                <a:gd name="T71" fmla="*/ 1114 h 1575"/>
                <a:gd name="T72" fmla="*/ 194 w 1538"/>
                <a:gd name="T73" fmla="*/ 1057 h 1575"/>
                <a:gd name="T74" fmla="*/ 222 w 1538"/>
                <a:gd name="T75" fmla="*/ 1015 h 1575"/>
                <a:gd name="T76" fmla="*/ 236 w 1538"/>
                <a:gd name="T77" fmla="*/ 992 h 1575"/>
                <a:gd name="T78" fmla="*/ 250 w 1538"/>
                <a:gd name="T79" fmla="*/ 972 h 1575"/>
                <a:gd name="T80" fmla="*/ 286 w 1538"/>
                <a:gd name="T81" fmla="*/ 926 h 1575"/>
                <a:gd name="T82" fmla="*/ 337 w 1538"/>
                <a:gd name="T83" fmla="*/ 866 h 1575"/>
                <a:gd name="T84" fmla="*/ 401 w 1538"/>
                <a:gd name="T85" fmla="*/ 793 h 1575"/>
                <a:gd name="T86" fmla="*/ 476 w 1538"/>
                <a:gd name="T87" fmla="*/ 712 h 1575"/>
                <a:gd name="T88" fmla="*/ 557 w 1538"/>
                <a:gd name="T89" fmla="*/ 625 h 1575"/>
                <a:gd name="T90" fmla="*/ 643 w 1538"/>
                <a:gd name="T91" fmla="*/ 532 h 1575"/>
                <a:gd name="T92" fmla="*/ 730 w 1538"/>
                <a:gd name="T93" fmla="*/ 441 h 1575"/>
                <a:gd name="T94" fmla="*/ 815 w 1538"/>
                <a:gd name="T95" fmla="*/ 351 h 1575"/>
                <a:gd name="T96" fmla="*/ 897 w 1538"/>
                <a:gd name="T97" fmla="*/ 265 h 1575"/>
                <a:gd name="T98" fmla="*/ 972 w 1538"/>
                <a:gd name="T99" fmla="*/ 187 h 1575"/>
                <a:gd name="T100" fmla="*/ 1038 w 1538"/>
                <a:gd name="T101" fmla="*/ 118 h 1575"/>
                <a:gd name="T102" fmla="*/ 1091 w 1538"/>
                <a:gd name="T103" fmla="*/ 63 h 1575"/>
                <a:gd name="T104" fmla="*/ 1129 w 1538"/>
                <a:gd name="T105" fmla="*/ 24 h 1575"/>
                <a:gd name="T106" fmla="*/ 1149 w 1538"/>
                <a:gd name="T107" fmla="*/ 3 h 1575"/>
                <a:gd name="T108" fmla="*/ 1345 w 1538"/>
                <a:gd name="T109" fmla="*/ 183 h 1575"/>
                <a:gd name="T110" fmla="*/ 1355 w 1538"/>
                <a:gd name="T111" fmla="*/ 193 h 1575"/>
                <a:gd name="T112" fmla="*/ 1381 w 1538"/>
                <a:gd name="T113" fmla="*/ 215 h 1575"/>
                <a:gd name="T114" fmla="*/ 1413 w 1538"/>
                <a:gd name="T115" fmla="*/ 248 h 1575"/>
                <a:gd name="T116" fmla="*/ 1452 w 1538"/>
                <a:gd name="T117" fmla="*/ 285 h 1575"/>
                <a:gd name="T118" fmla="*/ 1489 w 1538"/>
                <a:gd name="T119" fmla="*/ 321 h 1575"/>
                <a:gd name="T120" fmla="*/ 1518 w 1538"/>
                <a:gd name="T121" fmla="*/ 351 h 1575"/>
                <a:gd name="T122" fmla="*/ 1535 w 1538"/>
                <a:gd name="T123" fmla="*/ 368 h 1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38" h="1575">
                  <a:moveTo>
                    <a:pt x="1538" y="370"/>
                  </a:moveTo>
                  <a:lnTo>
                    <a:pt x="1535" y="372"/>
                  </a:lnTo>
                  <a:lnTo>
                    <a:pt x="1528" y="381"/>
                  </a:lnTo>
                  <a:lnTo>
                    <a:pt x="1515" y="394"/>
                  </a:lnTo>
                  <a:lnTo>
                    <a:pt x="1498" y="411"/>
                  </a:lnTo>
                  <a:lnTo>
                    <a:pt x="1476" y="432"/>
                  </a:lnTo>
                  <a:lnTo>
                    <a:pt x="1450" y="458"/>
                  </a:lnTo>
                  <a:lnTo>
                    <a:pt x="1422" y="488"/>
                  </a:lnTo>
                  <a:lnTo>
                    <a:pt x="1391" y="519"/>
                  </a:lnTo>
                  <a:lnTo>
                    <a:pt x="1355" y="555"/>
                  </a:lnTo>
                  <a:lnTo>
                    <a:pt x="1318" y="592"/>
                  </a:lnTo>
                  <a:lnTo>
                    <a:pt x="1279" y="632"/>
                  </a:lnTo>
                  <a:lnTo>
                    <a:pt x="1238" y="672"/>
                  </a:lnTo>
                  <a:lnTo>
                    <a:pt x="1195" y="715"/>
                  </a:lnTo>
                  <a:lnTo>
                    <a:pt x="1151" y="759"/>
                  </a:lnTo>
                  <a:lnTo>
                    <a:pt x="1107" y="803"/>
                  </a:lnTo>
                  <a:lnTo>
                    <a:pt x="1062" y="848"/>
                  </a:lnTo>
                  <a:lnTo>
                    <a:pt x="1017" y="892"/>
                  </a:lnTo>
                  <a:lnTo>
                    <a:pt x="971" y="936"/>
                  </a:lnTo>
                  <a:lnTo>
                    <a:pt x="927" y="980"/>
                  </a:lnTo>
                  <a:lnTo>
                    <a:pt x="884" y="1022"/>
                  </a:lnTo>
                  <a:lnTo>
                    <a:pt x="841" y="1063"/>
                  </a:lnTo>
                  <a:lnTo>
                    <a:pt x="801" y="1102"/>
                  </a:lnTo>
                  <a:lnTo>
                    <a:pt x="761" y="1139"/>
                  </a:lnTo>
                  <a:lnTo>
                    <a:pt x="725" y="1173"/>
                  </a:lnTo>
                  <a:lnTo>
                    <a:pt x="691" y="1204"/>
                  </a:lnTo>
                  <a:lnTo>
                    <a:pt x="660" y="1233"/>
                  </a:lnTo>
                  <a:lnTo>
                    <a:pt x="631" y="1259"/>
                  </a:lnTo>
                  <a:lnTo>
                    <a:pt x="607" y="1279"/>
                  </a:lnTo>
                  <a:lnTo>
                    <a:pt x="587" y="1296"/>
                  </a:lnTo>
                  <a:lnTo>
                    <a:pt x="570" y="1307"/>
                  </a:lnTo>
                  <a:lnTo>
                    <a:pt x="567" y="1310"/>
                  </a:lnTo>
                  <a:lnTo>
                    <a:pt x="558" y="1316"/>
                  </a:lnTo>
                  <a:lnTo>
                    <a:pt x="544" y="1326"/>
                  </a:lnTo>
                  <a:lnTo>
                    <a:pt x="526" y="1339"/>
                  </a:lnTo>
                  <a:lnTo>
                    <a:pt x="503" y="1354"/>
                  </a:lnTo>
                  <a:lnTo>
                    <a:pt x="477" y="1371"/>
                  </a:lnTo>
                  <a:lnTo>
                    <a:pt x="447" y="1388"/>
                  </a:lnTo>
                  <a:lnTo>
                    <a:pt x="416" y="1408"/>
                  </a:lnTo>
                  <a:lnTo>
                    <a:pt x="381" y="1427"/>
                  </a:lnTo>
                  <a:lnTo>
                    <a:pt x="347" y="1447"/>
                  </a:lnTo>
                  <a:lnTo>
                    <a:pt x="312" y="1464"/>
                  </a:lnTo>
                  <a:lnTo>
                    <a:pt x="276" y="1481"/>
                  </a:lnTo>
                  <a:lnTo>
                    <a:pt x="240" y="1496"/>
                  </a:lnTo>
                  <a:lnTo>
                    <a:pt x="206" y="1507"/>
                  </a:lnTo>
                  <a:lnTo>
                    <a:pt x="172" y="1517"/>
                  </a:lnTo>
                  <a:lnTo>
                    <a:pt x="140" y="1521"/>
                  </a:lnTo>
                  <a:lnTo>
                    <a:pt x="112" y="1523"/>
                  </a:lnTo>
                  <a:lnTo>
                    <a:pt x="109" y="1524"/>
                  </a:lnTo>
                  <a:lnTo>
                    <a:pt x="105" y="1524"/>
                  </a:lnTo>
                  <a:lnTo>
                    <a:pt x="102" y="1524"/>
                  </a:lnTo>
                  <a:lnTo>
                    <a:pt x="63" y="1564"/>
                  </a:lnTo>
                  <a:lnTo>
                    <a:pt x="50" y="1573"/>
                  </a:lnTo>
                  <a:lnTo>
                    <a:pt x="36" y="1575"/>
                  </a:lnTo>
                  <a:lnTo>
                    <a:pt x="23" y="1574"/>
                  </a:lnTo>
                  <a:lnTo>
                    <a:pt x="12" y="1567"/>
                  </a:lnTo>
                  <a:lnTo>
                    <a:pt x="3" y="1554"/>
                  </a:lnTo>
                  <a:lnTo>
                    <a:pt x="0" y="1541"/>
                  </a:lnTo>
                  <a:lnTo>
                    <a:pt x="2" y="1527"/>
                  </a:lnTo>
                  <a:lnTo>
                    <a:pt x="9" y="1514"/>
                  </a:lnTo>
                  <a:lnTo>
                    <a:pt x="45" y="1477"/>
                  </a:lnTo>
                  <a:lnTo>
                    <a:pt x="39" y="1453"/>
                  </a:lnTo>
                  <a:lnTo>
                    <a:pt x="39" y="1424"/>
                  </a:lnTo>
                  <a:lnTo>
                    <a:pt x="43" y="1393"/>
                  </a:lnTo>
                  <a:lnTo>
                    <a:pt x="50" y="1360"/>
                  </a:lnTo>
                  <a:lnTo>
                    <a:pt x="62" y="1324"/>
                  </a:lnTo>
                  <a:lnTo>
                    <a:pt x="75" y="1289"/>
                  </a:lnTo>
                  <a:lnTo>
                    <a:pt x="90" y="1253"/>
                  </a:lnTo>
                  <a:lnTo>
                    <a:pt x="107" y="1216"/>
                  </a:lnTo>
                  <a:lnTo>
                    <a:pt x="125" y="1180"/>
                  </a:lnTo>
                  <a:lnTo>
                    <a:pt x="143" y="1146"/>
                  </a:lnTo>
                  <a:lnTo>
                    <a:pt x="160" y="1114"/>
                  </a:lnTo>
                  <a:lnTo>
                    <a:pt x="179" y="1085"/>
                  </a:lnTo>
                  <a:lnTo>
                    <a:pt x="194" y="1057"/>
                  </a:lnTo>
                  <a:lnTo>
                    <a:pt x="209" y="1035"/>
                  </a:lnTo>
                  <a:lnTo>
                    <a:pt x="222" y="1015"/>
                  </a:lnTo>
                  <a:lnTo>
                    <a:pt x="230" y="1000"/>
                  </a:lnTo>
                  <a:lnTo>
                    <a:pt x="236" y="992"/>
                  </a:lnTo>
                  <a:lnTo>
                    <a:pt x="239" y="989"/>
                  </a:lnTo>
                  <a:lnTo>
                    <a:pt x="250" y="972"/>
                  </a:lnTo>
                  <a:lnTo>
                    <a:pt x="266" y="952"/>
                  </a:lnTo>
                  <a:lnTo>
                    <a:pt x="286" y="926"/>
                  </a:lnTo>
                  <a:lnTo>
                    <a:pt x="310" y="898"/>
                  </a:lnTo>
                  <a:lnTo>
                    <a:pt x="337" y="866"/>
                  </a:lnTo>
                  <a:lnTo>
                    <a:pt x="369" y="831"/>
                  </a:lnTo>
                  <a:lnTo>
                    <a:pt x="401" y="793"/>
                  </a:lnTo>
                  <a:lnTo>
                    <a:pt x="437" y="753"/>
                  </a:lnTo>
                  <a:lnTo>
                    <a:pt x="476" y="712"/>
                  </a:lnTo>
                  <a:lnTo>
                    <a:pt x="516" y="669"/>
                  </a:lnTo>
                  <a:lnTo>
                    <a:pt x="557" y="625"/>
                  </a:lnTo>
                  <a:lnTo>
                    <a:pt x="600" y="579"/>
                  </a:lnTo>
                  <a:lnTo>
                    <a:pt x="643" y="532"/>
                  </a:lnTo>
                  <a:lnTo>
                    <a:pt x="685" y="487"/>
                  </a:lnTo>
                  <a:lnTo>
                    <a:pt x="730" y="441"/>
                  </a:lnTo>
                  <a:lnTo>
                    <a:pt x="773" y="395"/>
                  </a:lnTo>
                  <a:lnTo>
                    <a:pt x="815" y="351"/>
                  </a:lnTo>
                  <a:lnTo>
                    <a:pt x="857" y="307"/>
                  </a:lnTo>
                  <a:lnTo>
                    <a:pt x="897" y="265"/>
                  </a:lnTo>
                  <a:lnTo>
                    <a:pt x="935" y="224"/>
                  </a:lnTo>
                  <a:lnTo>
                    <a:pt x="972" y="187"/>
                  </a:lnTo>
                  <a:lnTo>
                    <a:pt x="1007" y="151"/>
                  </a:lnTo>
                  <a:lnTo>
                    <a:pt x="1038" y="118"/>
                  </a:lnTo>
                  <a:lnTo>
                    <a:pt x="1067" y="90"/>
                  </a:lnTo>
                  <a:lnTo>
                    <a:pt x="1091" y="63"/>
                  </a:lnTo>
                  <a:lnTo>
                    <a:pt x="1112" y="41"/>
                  </a:lnTo>
                  <a:lnTo>
                    <a:pt x="1129" y="24"/>
                  </a:lnTo>
                  <a:lnTo>
                    <a:pt x="1142" y="11"/>
                  </a:lnTo>
                  <a:lnTo>
                    <a:pt x="1149" y="3"/>
                  </a:lnTo>
                  <a:lnTo>
                    <a:pt x="1152" y="0"/>
                  </a:lnTo>
                  <a:lnTo>
                    <a:pt x="1345" y="183"/>
                  </a:lnTo>
                  <a:lnTo>
                    <a:pt x="1348" y="186"/>
                  </a:lnTo>
                  <a:lnTo>
                    <a:pt x="1355" y="193"/>
                  </a:lnTo>
                  <a:lnTo>
                    <a:pt x="1366" y="203"/>
                  </a:lnTo>
                  <a:lnTo>
                    <a:pt x="1381" y="215"/>
                  </a:lnTo>
                  <a:lnTo>
                    <a:pt x="1396" y="231"/>
                  </a:lnTo>
                  <a:lnTo>
                    <a:pt x="1413" y="248"/>
                  </a:lnTo>
                  <a:lnTo>
                    <a:pt x="1433" y="267"/>
                  </a:lnTo>
                  <a:lnTo>
                    <a:pt x="1452" y="285"/>
                  </a:lnTo>
                  <a:lnTo>
                    <a:pt x="1470" y="304"/>
                  </a:lnTo>
                  <a:lnTo>
                    <a:pt x="1489" y="321"/>
                  </a:lnTo>
                  <a:lnTo>
                    <a:pt x="1505" y="337"/>
                  </a:lnTo>
                  <a:lnTo>
                    <a:pt x="1518" y="351"/>
                  </a:lnTo>
                  <a:lnTo>
                    <a:pt x="1529" y="361"/>
                  </a:lnTo>
                  <a:lnTo>
                    <a:pt x="1535" y="368"/>
                  </a:lnTo>
                  <a:lnTo>
                    <a:pt x="1538" y="37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8" name="Rectangle 27"/>
          <p:cNvSpPr/>
          <p:nvPr/>
        </p:nvSpPr>
        <p:spPr>
          <a:xfrm>
            <a:off x="970881" y="2057786"/>
            <a:ext cx="2973138" cy="34163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defRPr/>
            </a:pPr>
            <a:endParaRPr lang="en-US" sz="3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endParaRPr lang="en-US" sz="3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IT IS </a:t>
            </a:r>
          </a:p>
          <a:p>
            <a:pPr algn="ctr">
              <a:defRPr/>
            </a:pPr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REALLY SIMPLE </a:t>
            </a:r>
          </a:p>
          <a:p>
            <a:pPr algn="ctr">
              <a:defRPr/>
            </a:pPr>
            <a:endParaRPr lang="en-GB" sz="3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496475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013324" cy="1511654"/>
          </a:xfrm>
        </p:spPr>
        <p:txBody>
          <a:bodyPr>
            <a:normAutofit/>
          </a:bodyPr>
          <a:lstStyle/>
          <a:p>
            <a:r>
              <a:rPr lang="en-US"/>
              <a:t>BENEFIT </a:t>
            </a:r>
            <a:r>
              <a:rPr lang="en-US" dirty="0"/>
              <a:t>31: SPOUSE NEED SIGN FOR PROPERTY TRANSF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40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A spouse doesn’t need to join in the assignment of the transferred property for purposes of releasing the other spouse’s homestead rights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Because the property is now personal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property so it </a:t>
            </a:r>
            <a:r>
              <a:rPr lang="en-US" sz="3600" b="1" dirty="0" err="1">
                <a:solidFill>
                  <a:schemeClr val="tx1"/>
                </a:solidFill>
              </a:rPr>
              <a:t>it</a:t>
            </a:r>
            <a:r>
              <a:rPr lang="en-US" sz="3600" b="1" dirty="0">
                <a:solidFill>
                  <a:schemeClr val="tx1"/>
                </a:solidFill>
              </a:rPr>
              <a:t> is assignable without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acknowledgment of deed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424329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55841"/>
            <a:ext cx="10515600" cy="1634847"/>
          </a:xfrm>
        </p:spPr>
        <p:txBody>
          <a:bodyPr/>
          <a:lstStyle/>
          <a:p>
            <a:r>
              <a:rPr lang="en-US" dirty="0"/>
              <a:t>BENEFIT 32:  PROTECTION FROM HOMEOWNER’S ISSU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41</a:t>
            </a:fld>
            <a:endParaRPr lang="en-US"/>
          </a:p>
        </p:txBody>
      </p:sp>
      <p:sp>
        <p:nvSpPr>
          <p:cNvPr id="62" name="Rectangle 61"/>
          <p:cNvSpPr/>
          <p:nvPr/>
        </p:nvSpPr>
        <p:spPr bwMode="gray">
          <a:xfrm>
            <a:off x="737958" y="2249366"/>
            <a:ext cx="10479675" cy="716569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3657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   </a:t>
            </a:r>
            <a:r>
              <a:rPr lang="en-US" sz="2400" b="1" dirty="0"/>
              <a:t>None of the property owner’s names are </a:t>
            </a:r>
            <a:r>
              <a:rPr lang="en-US" sz="2400" b="1"/>
              <a:t>on title.</a:t>
            </a:r>
            <a:endParaRPr lang="en-US" dirty="0"/>
          </a:p>
        </p:txBody>
      </p:sp>
      <p:sp>
        <p:nvSpPr>
          <p:cNvPr id="63" name="Rectangle 62"/>
          <p:cNvSpPr/>
          <p:nvPr/>
        </p:nvSpPr>
        <p:spPr bwMode="gray">
          <a:xfrm>
            <a:off x="609600" y="2249366"/>
            <a:ext cx="91503" cy="716569"/>
          </a:xfrm>
          <a:prstGeom prst="rect">
            <a:avLst/>
          </a:prstGeom>
          <a:solidFill>
            <a:srgbClr val="00569B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7315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64" name="Rectangle 63"/>
          <p:cNvSpPr/>
          <p:nvPr/>
        </p:nvSpPr>
        <p:spPr bwMode="gray">
          <a:xfrm>
            <a:off x="737958" y="3050932"/>
            <a:ext cx="10479675" cy="716569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3657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    </a:t>
            </a:r>
            <a:r>
              <a:rPr lang="en-US" sz="2400" b="1" dirty="0"/>
              <a:t>Signatures from all parts of the world are not required</a:t>
            </a:r>
            <a:r>
              <a:rPr lang="en-US" dirty="0"/>
              <a:t>.</a:t>
            </a:r>
          </a:p>
        </p:txBody>
      </p:sp>
      <p:sp>
        <p:nvSpPr>
          <p:cNvPr id="65" name="Rectangle 64"/>
          <p:cNvSpPr/>
          <p:nvPr/>
        </p:nvSpPr>
        <p:spPr bwMode="gray">
          <a:xfrm>
            <a:off x="609600" y="3050932"/>
            <a:ext cx="91503" cy="716569"/>
          </a:xfrm>
          <a:prstGeom prst="rect">
            <a:avLst/>
          </a:prstGeom>
          <a:solidFill>
            <a:srgbClr val="00569B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7315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66" name="Rectangle 65"/>
          <p:cNvSpPr/>
          <p:nvPr/>
        </p:nvSpPr>
        <p:spPr bwMode="gray">
          <a:xfrm>
            <a:off x="739867" y="3852498"/>
            <a:ext cx="10479675" cy="716569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3657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    </a:t>
            </a:r>
            <a:r>
              <a:rPr lang="en-US" sz="2400" b="1" dirty="0"/>
              <a:t>No power of attorney form </a:t>
            </a:r>
            <a:r>
              <a:rPr lang="en-US" sz="2400" b="1"/>
              <a:t>to contest</a:t>
            </a:r>
            <a:r>
              <a:rPr lang="en-US"/>
              <a:t>.</a:t>
            </a:r>
            <a:endParaRPr lang="en-US" dirty="0"/>
          </a:p>
        </p:txBody>
      </p:sp>
      <p:sp>
        <p:nvSpPr>
          <p:cNvPr id="67" name="Rectangle 66"/>
          <p:cNvSpPr/>
          <p:nvPr/>
        </p:nvSpPr>
        <p:spPr bwMode="gray">
          <a:xfrm>
            <a:off x="611508" y="3852498"/>
            <a:ext cx="91503" cy="716569"/>
          </a:xfrm>
          <a:prstGeom prst="rect">
            <a:avLst/>
          </a:prstGeom>
          <a:solidFill>
            <a:srgbClr val="00569B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7315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68" name="Rectangle 67"/>
          <p:cNvSpPr/>
          <p:nvPr/>
        </p:nvSpPr>
        <p:spPr bwMode="gray">
          <a:xfrm>
            <a:off x="739867" y="4654064"/>
            <a:ext cx="10479675" cy="716569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3657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     </a:t>
            </a:r>
            <a:r>
              <a:rPr lang="en-US" sz="2400" b="1" dirty="0"/>
              <a:t>Avoidance of </a:t>
            </a:r>
            <a:r>
              <a:rPr lang="en-US" sz="2400" b="1"/>
              <a:t>dower interest.</a:t>
            </a:r>
            <a:endParaRPr lang="en-US" dirty="0"/>
          </a:p>
        </p:txBody>
      </p:sp>
      <p:sp>
        <p:nvSpPr>
          <p:cNvPr id="69" name="Rectangle 68"/>
          <p:cNvSpPr/>
          <p:nvPr/>
        </p:nvSpPr>
        <p:spPr bwMode="gray">
          <a:xfrm>
            <a:off x="611508" y="4654064"/>
            <a:ext cx="91503" cy="716569"/>
          </a:xfrm>
          <a:prstGeom prst="rect">
            <a:avLst/>
          </a:prstGeom>
          <a:solidFill>
            <a:srgbClr val="00569B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7315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70" name="Rectangle 69"/>
          <p:cNvSpPr/>
          <p:nvPr/>
        </p:nvSpPr>
        <p:spPr bwMode="gray">
          <a:xfrm>
            <a:off x="701103" y="5515266"/>
            <a:ext cx="10479675" cy="716569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3657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      </a:t>
            </a:r>
            <a:r>
              <a:rPr lang="en-US" sz="2400" b="1" dirty="0"/>
              <a:t>Therefore, wife doesn’t have to go to every closing to sign.</a:t>
            </a:r>
            <a:endParaRPr lang="en-US" dirty="0"/>
          </a:p>
        </p:txBody>
      </p:sp>
      <p:sp>
        <p:nvSpPr>
          <p:cNvPr id="71" name="Rectangle 70"/>
          <p:cNvSpPr/>
          <p:nvPr/>
        </p:nvSpPr>
        <p:spPr bwMode="gray">
          <a:xfrm>
            <a:off x="609600" y="5455631"/>
            <a:ext cx="91503" cy="716569"/>
          </a:xfrm>
          <a:prstGeom prst="rect">
            <a:avLst/>
          </a:prstGeom>
          <a:solidFill>
            <a:srgbClr val="00569B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7315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72" name="Rectangle 71"/>
          <p:cNvSpPr/>
          <p:nvPr/>
        </p:nvSpPr>
        <p:spPr bwMode="gray">
          <a:xfrm>
            <a:off x="739866" y="1447800"/>
            <a:ext cx="10479675" cy="716569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3657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   </a:t>
            </a:r>
            <a:r>
              <a:rPr lang="en-US" sz="2400" b="1" dirty="0"/>
              <a:t>Judgment against a beneficiary does not constitute real estate lien.</a:t>
            </a:r>
            <a:endParaRPr lang="en-US" dirty="0"/>
          </a:p>
        </p:txBody>
      </p:sp>
      <p:sp>
        <p:nvSpPr>
          <p:cNvPr id="73" name="Rectangle 72"/>
          <p:cNvSpPr/>
          <p:nvPr/>
        </p:nvSpPr>
        <p:spPr bwMode="gray">
          <a:xfrm>
            <a:off x="611507" y="1447800"/>
            <a:ext cx="91503" cy="716569"/>
          </a:xfrm>
          <a:prstGeom prst="rect">
            <a:avLst/>
          </a:prstGeom>
          <a:solidFill>
            <a:srgbClr val="00569B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7315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75" name="Freeform: Shape 38">
            <a:extLst>
              <a:ext uri="{FF2B5EF4-FFF2-40B4-BE49-F238E27FC236}">
                <a16:creationId xmlns:a16="http://schemas.microsoft.com/office/drawing/2014/main" xmlns="" id="{3C483014-98BD-49B3-B734-786B8982ACFD}"/>
              </a:ext>
            </a:extLst>
          </p:cNvPr>
          <p:cNvSpPr/>
          <p:nvPr/>
        </p:nvSpPr>
        <p:spPr bwMode="gray">
          <a:xfrm rot="10800000" flipV="1">
            <a:off x="10939859" y="1566274"/>
            <a:ext cx="483650" cy="479620"/>
          </a:xfrm>
          <a:prstGeom prst="ellipse">
            <a:avLst/>
          </a:prstGeom>
          <a:solidFill>
            <a:srgbClr val="506D8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63500" dist="12700" sx="102000" sy="102000" algn="ct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rPr>
              <a:t>1</a:t>
            </a:r>
          </a:p>
        </p:txBody>
      </p:sp>
      <p:sp>
        <p:nvSpPr>
          <p:cNvPr id="81" name="Freeform: Shape 38">
            <a:extLst>
              <a:ext uri="{FF2B5EF4-FFF2-40B4-BE49-F238E27FC236}">
                <a16:creationId xmlns:a16="http://schemas.microsoft.com/office/drawing/2014/main" xmlns="" id="{FB86D8D7-400C-49E6-94FD-4F20F0DEC97C}"/>
              </a:ext>
            </a:extLst>
          </p:cNvPr>
          <p:cNvSpPr/>
          <p:nvPr/>
        </p:nvSpPr>
        <p:spPr bwMode="gray">
          <a:xfrm rot="10800000" flipV="1">
            <a:off x="10939859" y="5574106"/>
            <a:ext cx="483650" cy="479620"/>
          </a:xfrm>
          <a:prstGeom prst="ellipse">
            <a:avLst/>
          </a:prstGeom>
          <a:solidFill>
            <a:srgbClr val="506D8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63500" dist="12700" sx="102000" sy="102000" algn="ct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rPr>
              <a:t>6</a:t>
            </a:r>
          </a:p>
        </p:txBody>
      </p:sp>
      <p:sp>
        <p:nvSpPr>
          <p:cNvPr id="83" name="Freeform: Shape 38">
            <a:extLst>
              <a:ext uri="{FF2B5EF4-FFF2-40B4-BE49-F238E27FC236}">
                <a16:creationId xmlns:a16="http://schemas.microsoft.com/office/drawing/2014/main" xmlns="" id="{74B44EA9-488B-497E-B078-663BB02826BF}"/>
              </a:ext>
            </a:extLst>
          </p:cNvPr>
          <p:cNvSpPr/>
          <p:nvPr/>
        </p:nvSpPr>
        <p:spPr bwMode="gray">
          <a:xfrm rot="10800000" flipV="1">
            <a:off x="10939859" y="2367840"/>
            <a:ext cx="483650" cy="479620"/>
          </a:xfrm>
          <a:prstGeom prst="ellipse">
            <a:avLst/>
          </a:prstGeom>
          <a:solidFill>
            <a:srgbClr val="506D8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63500" dist="12700" sx="102000" sy="102000" algn="ct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rPr>
              <a:t>2</a:t>
            </a:r>
          </a:p>
        </p:txBody>
      </p:sp>
      <p:sp>
        <p:nvSpPr>
          <p:cNvPr id="86" name="Freeform: Shape 38">
            <a:extLst>
              <a:ext uri="{FF2B5EF4-FFF2-40B4-BE49-F238E27FC236}">
                <a16:creationId xmlns:a16="http://schemas.microsoft.com/office/drawing/2014/main" xmlns="" id="{2D2655E0-8029-4168-B131-0277094CAF14}"/>
              </a:ext>
            </a:extLst>
          </p:cNvPr>
          <p:cNvSpPr/>
          <p:nvPr/>
        </p:nvSpPr>
        <p:spPr bwMode="gray">
          <a:xfrm rot="10800000" flipV="1">
            <a:off x="10939859" y="3169406"/>
            <a:ext cx="483650" cy="479620"/>
          </a:xfrm>
          <a:prstGeom prst="ellipse">
            <a:avLst/>
          </a:prstGeom>
          <a:solidFill>
            <a:srgbClr val="506D8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63500" dist="12700" sx="102000" sy="102000" algn="ct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rPr>
              <a:t>3</a:t>
            </a:r>
          </a:p>
        </p:txBody>
      </p:sp>
      <p:sp>
        <p:nvSpPr>
          <p:cNvPr id="92" name="Freeform: Shape 38">
            <a:extLst>
              <a:ext uri="{FF2B5EF4-FFF2-40B4-BE49-F238E27FC236}">
                <a16:creationId xmlns:a16="http://schemas.microsoft.com/office/drawing/2014/main" xmlns="" id="{EC111AF1-03AA-4075-9D46-6C4BB1C4149A}"/>
              </a:ext>
            </a:extLst>
          </p:cNvPr>
          <p:cNvSpPr/>
          <p:nvPr/>
        </p:nvSpPr>
        <p:spPr bwMode="gray">
          <a:xfrm rot="10800000" flipV="1">
            <a:off x="10939859" y="3970972"/>
            <a:ext cx="483650" cy="479620"/>
          </a:xfrm>
          <a:prstGeom prst="ellipse">
            <a:avLst/>
          </a:prstGeom>
          <a:solidFill>
            <a:srgbClr val="506D8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63500" dist="12700" sx="102000" sy="102000" algn="ct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rPr>
              <a:t>4</a:t>
            </a:r>
          </a:p>
        </p:txBody>
      </p:sp>
      <p:sp>
        <p:nvSpPr>
          <p:cNvPr id="103" name="Freeform: Shape 38">
            <a:extLst>
              <a:ext uri="{FF2B5EF4-FFF2-40B4-BE49-F238E27FC236}">
                <a16:creationId xmlns:a16="http://schemas.microsoft.com/office/drawing/2014/main" xmlns="" id="{88CE5EDC-9ADE-4CF9-ACFB-51201F8A192F}"/>
              </a:ext>
            </a:extLst>
          </p:cNvPr>
          <p:cNvSpPr/>
          <p:nvPr/>
        </p:nvSpPr>
        <p:spPr bwMode="gray">
          <a:xfrm rot="10800000" flipV="1">
            <a:off x="10939859" y="4772538"/>
            <a:ext cx="483650" cy="479620"/>
          </a:xfrm>
          <a:prstGeom prst="ellipse">
            <a:avLst/>
          </a:prstGeom>
          <a:solidFill>
            <a:srgbClr val="506D8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63500" dist="12700" sx="102000" sy="102000" algn="ct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84028158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013324" cy="814797"/>
          </a:xfrm>
        </p:spPr>
        <p:txBody>
          <a:bodyPr>
            <a:normAutofit/>
          </a:bodyPr>
          <a:lstStyle/>
          <a:p>
            <a:r>
              <a:rPr lang="en-US" dirty="0"/>
              <a:t> BENEFIT 33:  DISPOSING OF PART ISSU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42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Disposing of a part interest is simple because the transfer is by assignment and not by deed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This avoids a deed’s formal requirements concerning acknowledgment, recording, and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joinder by the grantor’s spouse. (Watch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for transfer tax potentials).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100616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1353800" cy="814797"/>
          </a:xfrm>
        </p:spPr>
        <p:txBody>
          <a:bodyPr>
            <a:normAutofit/>
          </a:bodyPr>
          <a:lstStyle/>
          <a:p>
            <a:r>
              <a:rPr lang="en-US" dirty="0"/>
              <a:t>  </a:t>
            </a:r>
            <a:r>
              <a:rPr lang="en-US"/>
              <a:t>BENEFIT 34:  </a:t>
            </a:r>
            <a:r>
              <a:rPr lang="en-US" dirty="0"/>
              <a:t>A LAND TRUST IS EASY TO CREA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43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tx1"/>
                </a:solidFill>
              </a:rPr>
              <a:t> </a:t>
            </a:r>
          </a:p>
          <a:p>
            <a:pPr>
              <a:spcBef>
                <a:spcPts val="600"/>
              </a:spcBef>
            </a:pPr>
            <a:r>
              <a:rPr lang="en-US" sz="2400" b="1" dirty="0">
                <a:solidFill>
                  <a:schemeClr val="tx1"/>
                </a:solidFill>
              </a:rPr>
              <a:t>   1. Simply sign a simple, short form agreement before or after the real</a:t>
            </a:r>
          </a:p>
          <a:p>
            <a:pPr>
              <a:spcBef>
                <a:spcPts val="600"/>
              </a:spcBef>
            </a:pPr>
            <a:r>
              <a:rPr lang="en-US" sz="2400" b="1" dirty="0">
                <a:solidFill>
                  <a:schemeClr val="tx1"/>
                </a:solidFill>
              </a:rPr>
              <a:t>   estate is acquired.</a:t>
            </a:r>
          </a:p>
          <a:p>
            <a:pPr>
              <a:spcBef>
                <a:spcPts val="600"/>
              </a:spcBef>
            </a:pPr>
            <a:endParaRPr lang="en-US" sz="24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2400" dirty="0">
                <a:solidFill>
                  <a:schemeClr val="tx1"/>
                </a:solidFill>
              </a:rPr>
              <a:t>    </a:t>
            </a:r>
            <a:r>
              <a:rPr lang="en-US" sz="2400" b="1" dirty="0">
                <a:solidFill>
                  <a:schemeClr val="tx1"/>
                </a:solidFill>
              </a:rPr>
              <a:t>2. As owner, direct a corporate fiduciary to hold title to the real estate.</a:t>
            </a:r>
          </a:p>
          <a:p>
            <a:pPr>
              <a:spcBef>
                <a:spcPts val="600"/>
              </a:spcBef>
            </a:pPr>
            <a:endParaRPr lang="en-US" sz="24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2400" b="1" dirty="0">
                <a:solidFill>
                  <a:schemeClr val="tx1"/>
                </a:solidFill>
              </a:rPr>
              <a:t>    3. Direct and instruct fiduciary as to whom will have authority</a:t>
            </a:r>
          </a:p>
          <a:p>
            <a:pPr>
              <a:spcBef>
                <a:spcPts val="600"/>
              </a:spcBef>
            </a:pPr>
            <a:r>
              <a:rPr lang="en-US" sz="2400" b="1" dirty="0">
                <a:solidFill>
                  <a:schemeClr val="tx1"/>
                </a:solidFill>
              </a:rPr>
              <a:t>        to manage and control, when and to whom to be sold, and</a:t>
            </a:r>
          </a:p>
          <a:p>
            <a:pPr>
              <a:spcBef>
                <a:spcPts val="600"/>
              </a:spcBef>
            </a:pPr>
            <a:r>
              <a:rPr lang="en-US" sz="2400" b="1" dirty="0">
                <a:solidFill>
                  <a:schemeClr val="tx1"/>
                </a:solidFill>
              </a:rPr>
              <a:t>        who will become owner upon death.</a:t>
            </a:r>
            <a:endParaRPr lang="en-US" sz="24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24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2400" dirty="0">
                <a:solidFill>
                  <a:schemeClr val="tx1"/>
                </a:solidFill>
              </a:rPr>
              <a:t>        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6180165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013324" cy="1406524"/>
          </a:xfrm>
        </p:spPr>
        <p:txBody>
          <a:bodyPr>
            <a:normAutofit/>
          </a:bodyPr>
          <a:lstStyle/>
          <a:p>
            <a:r>
              <a:rPr lang="en-US"/>
              <a:t>BENEFIT </a:t>
            </a:r>
            <a:r>
              <a:rPr lang="en-US" dirty="0"/>
              <a:t>35:  PROTECT AGAINST UNFORESEEN CIRCUMSTANC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44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This protocol creates confidence in a buyer under an agreement to sell/buy.</a:t>
            </a:r>
          </a:p>
          <a:p>
            <a:pPr marL="742950" indent="-742950">
              <a:spcBef>
                <a:spcPts val="600"/>
              </a:spcBef>
              <a:buAutoNum type="arabicPeriod"/>
            </a:pPr>
            <a:r>
              <a:rPr lang="en-US" sz="3600" b="1" dirty="0">
                <a:solidFill>
                  <a:schemeClr val="tx1"/>
                </a:solidFill>
              </a:rPr>
              <a:t>Seller instructs trustee to convey title to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      buyer upon full purchase price payment.</a:t>
            </a:r>
          </a:p>
          <a:p>
            <a:pPr marL="742950" indent="-742950">
              <a:spcBef>
                <a:spcPts val="600"/>
              </a:spcBef>
              <a:buAutoNum type="arabicPeriod" startAt="2"/>
            </a:pPr>
            <a:r>
              <a:rPr lang="en-US" sz="3600" b="1" dirty="0">
                <a:solidFill>
                  <a:schemeClr val="tx1"/>
                </a:solidFill>
              </a:rPr>
              <a:t>This protects buyer if seller dies, files    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       bankruptcy, etc.  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3.    In Land Trust it cannot be attached. 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6921892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013324" cy="1439217"/>
          </a:xfrm>
        </p:spPr>
        <p:txBody>
          <a:bodyPr>
            <a:normAutofit/>
          </a:bodyPr>
          <a:lstStyle/>
          <a:p>
            <a:r>
              <a:rPr lang="en-US" dirty="0"/>
              <a:t>BENEFIT 36: AVOID PROBATE IN HOME STATE OR COUNT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45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394768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 marL="742950" indent="-742950">
              <a:spcBef>
                <a:spcPts val="600"/>
              </a:spcBef>
              <a:buAutoNum type="arabicPeriod"/>
            </a:pPr>
            <a:r>
              <a:rPr lang="en-US" sz="3600" b="1" dirty="0">
                <a:solidFill>
                  <a:schemeClr val="tx1"/>
                </a:solidFill>
              </a:rPr>
              <a:t>Look to see if the Land Trust provides for contingent beneficiaries or if the ownership is assigned to a second revocable trust (as we </a:t>
            </a:r>
            <a:r>
              <a:rPr lang="en-US" sz="3600" b="1" u="sng" dirty="0">
                <a:solidFill>
                  <a:schemeClr val="tx1"/>
                </a:solidFill>
              </a:rPr>
              <a:t>viewed prior).___________________________</a:t>
            </a:r>
          </a:p>
          <a:p>
            <a:pPr>
              <a:spcBef>
                <a:spcPts val="600"/>
              </a:spcBef>
            </a:pPr>
            <a:r>
              <a:rPr lang="en-US" sz="3600" b="1">
                <a:solidFill>
                  <a:schemeClr val="tx1"/>
                </a:solidFill>
              </a:rPr>
              <a:t>       THE </a:t>
            </a:r>
            <a:r>
              <a:rPr lang="en-US" sz="3600" b="1" dirty="0">
                <a:solidFill>
                  <a:schemeClr val="tx1"/>
                </a:solidFill>
              </a:rPr>
              <a:t>NON-RESIDENT CREATOR MAY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      RETAIN FULL CONTROL OF THE 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      BENEFICIAL INTEREST IN THE LAND 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      TRUST.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0901656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013324" cy="1417637"/>
          </a:xfrm>
        </p:spPr>
        <p:txBody>
          <a:bodyPr>
            <a:normAutofit/>
          </a:bodyPr>
          <a:lstStyle/>
          <a:p>
            <a:r>
              <a:rPr lang="en-US" dirty="0"/>
              <a:t>BENEFIT 37:   LAND TRUST “GIFT BANK” FOR ANNUAL EXCL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46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394768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endParaRPr lang="en-US" sz="3600" b="1" u="sng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The IRS is trying to eliminate this feature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The land trust can be used as a “gift bank” by holding the annual gift exclusion to decrease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the gross estate and the taxable income of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the owner.</a:t>
            </a: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8575734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013324" cy="1436043"/>
          </a:xfrm>
        </p:spPr>
        <p:txBody>
          <a:bodyPr>
            <a:normAutofit/>
          </a:bodyPr>
          <a:lstStyle/>
          <a:p>
            <a:r>
              <a:rPr lang="en-US"/>
              <a:t>BENEFIT </a:t>
            </a:r>
            <a:r>
              <a:rPr lang="en-US" dirty="0"/>
              <a:t>38:  LAND TRUST CERTIFICATES WITH NO DEFINITE TE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47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547168"/>
            <a:ext cx="10972800" cy="457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endParaRPr lang="en-US" sz="3600" b="1" u="sng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Bonds are written usually with a 20 year term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(Look for the rule of perpetuities)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8071210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013324" cy="814797"/>
          </a:xfrm>
        </p:spPr>
        <p:txBody>
          <a:bodyPr>
            <a:normAutofit fontScale="90000"/>
          </a:bodyPr>
          <a:lstStyle/>
          <a:p>
            <a:r>
              <a:rPr lang="en-US" dirty="0"/>
              <a:t> BENEFIT 39:  FORMATION OF A BUY-SELL AGREE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48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394768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Every Land Trust which is owned by multiple parties should be accompanied by a buy-sell agreement to determine the manner and under what circumstances the owners may or must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sell their interests, as well as the other 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aspects of their mutual rights and </a:t>
            </a:r>
          </a:p>
          <a:p>
            <a:pPr>
              <a:spcBef>
                <a:spcPts val="600"/>
              </a:spcBef>
            </a:pPr>
            <a:r>
              <a:rPr lang="en-US" sz="3600" b="1" dirty="0">
                <a:solidFill>
                  <a:schemeClr val="tx1"/>
                </a:solidFill>
              </a:rPr>
              <a:t>obligations among each other.</a:t>
            </a:r>
          </a:p>
          <a:p>
            <a:pPr>
              <a:spcBef>
                <a:spcPts val="600"/>
              </a:spcBef>
            </a:pPr>
            <a:endParaRPr lang="en-US" sz="3600" b="1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0138234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EFIT 40:  JUDGMENT PROOF YOUR PROPER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49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758190" y="1699060"/>
            <a:ext cx="10824210" cy="7390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0" rtlCol="0" anchor="ctr"/>
          <a:lstStyle/>
          <a:p>
            <a:r>
              <a:rPr lang="en-US" sz="2400" b="1" dirty="0">
                <a:solidFill>
                  <a:schemeClr val="tx1"/>
                </a:solidFill>
              </a:rPr>
              <a:t>The lien of a judgment debtor cannot attach to the assets of the Land Trust.</a:t>
            </a:r>
            <a:r>
              <a:rPr lang="en-US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" name="Rectangle 5"/>
          <p:cNvSpPr/>
          <p:nvPr/>
        </p:nvSpPr>
        <p:spPr>
          <a:xfrm>
            <a:off x="758190" y="2408035"/>
            <a:ext cx="1082421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0" rtlCol="0" anchor="ctr"/>
          <a:lstStyle/>
          <a:p>
            <a:r>
              <a:rPr lang="en-US" sz="2400" b="1" dirty="0">
                <a:solidFill>
                  <a:schemeClr val="tx1"/>
                </a:solidFill>
              </a:rPr>
              <a:t>Trustee is not normally liable for debts as he signs using the “exculpatory clause” to eliminate personal liability.</a:t>
            </a:r>
          </a:p>
        </p:txBody>
      </p:sp>
      <p:sp>
        <p:nvSpPr>
          <p:cNvPr id="7" name="Rectangle 6"/>
          <p:cNvSpPr/>
          <p:nvPr/>
        </p:nvSpPr>
        <p:spPr>
          <a:xfrm>
            <a:off x="758190" y="3368269"/>
            <a:ext cx="1082421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0" rtlCol="0" anchor="ctr"/>
          <a:lstStyle/>
          <a:p>
            <a:r>
              <a:rPr lang="en-US" sz="2400" b="1" dirty="0">
                <a:solidFill>
                  <a:schemeClr val="tx1"/>
                </a:solidFill>
              </a:rPr>
              <a:t>Beneficiary will also be immune if he master minds a capital structure where the lender will forego a personal signature.</a:t>
            </a:r>
          </a:p>
        </p:txBody>
      </p:sp>
      <p:sp>
        <p:nvSpPr>
          <p:cNvPr id="9" name="Rectangle 8"/>
          <p:cNvSpPr/>
          <p:nvPr/>
        </p:nvSpPr>
        <p:spPr>
          <a:xfrm>
            <a:off x="758190" y="4301495"/>
            <a:ext cx="10824210" cy="18707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0" rtlCol="0" anchor="ctr"/>
          <a:lstStyle/>
          <a:p>
            <a:r>
              <a:rPr lang="en-US" sz="2400" b="1" dirty="0">
                <a:solidFill>
                  <a:schemeClr val="tx1"/>
                </a:solidFill>
              </a:rPr>
              <a:t>If property is of “sterling quality”, lender may loan money on the trust itself without a personal guarantee. (No recourse financing). </a:t>
            </a:r>
          </a:p>
        </p:txBody>
      </p:sp>
      <p:sp>
        <p:nvSpPr>
          <p:cNvPr id="10" name="Rectangle 9"/>
          <p:cNvSpPr/>
          <p:nvPr/>
        </p:nvSpPr>
        <p:spPr>
          <a:xfrm>
            <a:off x="609600" y="1447800"/>
            <a:ext cx="91440" cy="883461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609600" y="2408035"/>
            <a:ext cx="91440" cy="883461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609600" y="3368269"/>
            <a:ext cx="91440" cy="883461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609600" y="4328504"/>
            <a:ext cx="91440" cy="883461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09600" y="5288739"/>
            <a:ext cx="91440" cy="883461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10668000" y="2301162"/>
            <a:ext cx="914400" cy="30099"/>
          </a:xfrm>
          <a:prstGeom prst="rect">
            <a:avLst/>
          </a:prstGeom>
          <a:solidFill>
            <a:srgbClr val="26867C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10668000" y="4221632"/>
            <a:ext cx="914400" cy="30099"/>
          </a:xfrm>
          <a:prstGeom prst="rect">
            <a:avLst/>
          </a:prstGeom>
          <a:solidFill>
            <a:srgbClr val="26867C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10668000" y="5181867"/>
            <a:ext cx="914400" cy="30099"/>
          </a:xfrm>
          <a:prstGeom prst="rect">
            <a:avLst/>
          </a:prstGeom>
          <a:solidFill>
            <a:srgbClr val="26867C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10668000" y="6142101"/>
            <a:ext cx="914400" cy="30099"/>
          </a:xfrm>
          <a:prstGeom prst="rect">
            <a:avLst/>
          </a:prstGeom>
          <a:solidFill>
            <a:srgbClr val="26867C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/>
        </p:nvSpPr>
        <p:spPr>
          <a:xfrm>
            <a:off x="10668000" y="3261397"/>
            <a:ext cx="914400" cy="30099"/>
          </a:xfrm>
          <a:prstGeom prst="rect">
            <a:avLst/>
          </a:prstGeom>
          <a:solidFill>
            <a:srgbClr val="26867C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2"/>
          <p:cNvGrpSpPr/>
          <p:nvPr/>
        </p:nvGrpSpPr>
        <p:grpSpPr>
          <a:xfrm>
            <a:off x="10923393" y="1641656"/>
            <a:ext cx="430532" cy="465651"/>
            <a:chOff x="131577" y="928520"/>
            <a:chExt cx="3552918" cy="3842742"/>
          </a:xfrm>
          <a:solidFill>
            <a:srgbClr val="26867C"/>
          </a:solidFill>
        </p:grpSpPr>
        <p:sp>
          <p:nvSpPr>
            <p:cNvPr id="26" name="Freeform 6"/>
            <p:cNvSpPr>
              <a:spLocks noEditPoints="1"/>
            </p:cNvSpPr>
            <p:nvPr/>
          </p:nvSpPr>
          <p:spPr bwMode="auto">
            <a:xfrm>
              <a:off x="131577" y="928520"/>
              <a:ext cx="3552918" cy="3842742"/>
            </a:xfrm>
            <a:custGeom>
              <a:avLst/>
              <a:gdLst>
                <a:gd name="T0" fmla="*/ 4832 w 15226"/>
                <a:gd name="T1" fmla="*/ 896 h 16467"/>
                <a:gd name="T2" fmla="*/ 1605 w 15226"/>
                <a:gd name="T3" fmla="*/ 7033 h 16467"/>
                <a:gd name="T4" fmla="*/ 304 w 15226"/>
                <a:gd name="T5" fmla="*/ 9224 h 16467"/>
                <a:gd name="T6" fmla="*/ 1058 w 15226"/>
                <a:gd name="T7" fmla="*/ 10928 h 16467"/>
                <a:gd name="T8" fmla="*/ 1422 w 15226"/>
                <a:gd name="T9" fmla="*/ 12190 h 16467"/>
                <a:gd name="T10" fmla="*/ 2984 w 15226"/>
                <a:gd name="T11" fmla="*/ 14527 h 16467"/>
                <a:gd name="T12" fmla="*/ 4829 w 15226"/>
                <a:gd name="T13" fmla="*/ 15055 h 16467"/>
                <a:gd name="T14" fmla="*/ 12782 w 15226"/>
                <a:gd name="T15" fmla="*/ 16467 h 16467"/>
                <a:gd name="T16" fmla="*/ 12300 w 15226"/>
                <a:gd name="T17" fmla="*/ 11850 h 16467"/>
                <a:gd name="T18" fmla="*/ 14839 w 15226"/>
                <a:gd name="T19" fmla="*/ 6845 h 16467"/>
                <a:gd name="T20" fmla="*/ 13183 w 15226"/>
                <a:gd name="T21" fmla="*/ 4884 h 16467"/>
                <a:gd name="T22" fmla="*/ 12974 w 15226"/>
                <a:gd name="T23" fmla="*/ 7580 h 16467"/>
                <a:gd name="T24" fmla="*/ 12990 w 15226"/>
                <a:gd name="T25" fmla="*/ 8137 h 16467"/>
                <a:gd name="T26" fmla="*/ 11564 w 15226"/>
                <a:gd name="T27" fmla="*/ 8803 h 16467"/>
                <a:gd name="T28" fmla="*/ 9576 w 15226"/>
                <a:gd name="T29" fmla="*/ 9556 h 16467"/>
                <a:gd name="T30" fmla="*/ 9292 w 15226"/>
                <a:gd name="T31" fmla="*/ 10313 h 16467"/>
                <a:gd name="T32" fmla="*/ 8706 w 15226"/>
                <a:gd name="T33" fmla="*/ 10320 h 16467"/>
                <a:gd name="T34" fmla="*/ 7839 w 15226"/>
                <a:gd name="T35" fmla="*/ 8485 h 16467"/>
                <a:gd name="T36" fmla="*/ 5955 w 15226"/>
                <a:gd name="T37" fmla="*/ 7333 h 16467"/>
                <a:gd name="T38" fmla="*/ 5045 w 15226"/>
                <a:gd name="T39" fmla="*/ 7333 h 16467"/>
                <a:gd name="T40" fmla="*/ 3688 w 15226"/>
                <a:gd name="T41" fmla="*/ 5821 h 16467"/>
                <a:gd name="T42" fmla="*/ 3816 w 15226"/>
                <a:gd name="T43" fmla="*/ 3624 h 16467"/>
                <a:gd name="T44" fmla="*/ 3890 w 15226"/>
                <a:gd name="T45" fmla="*/ 3517 h 16467"/>
                <a:gd name="T46" fmla="*/ 4340 w 15226"/>
                <a:gd name="T47" fmla="*/ 2966 h 16467"/>
                <a:gd name="T48" fmla="*/ 6121 w 15226"/>
                <a:gd name="T49" fmla="*/ 2105 h 16467"/>
                <a:gd name="T50" fmla="*/ 6264 w 15226"/>
                <a:gd name="T51" fmla="*/ 2138 h 16467"/>
                <a:gd name="T52" fmla="*/ 7575 w 15226"/>
                <a:gd name="T53" fmla="*/ 1688 h 16467"/>
                <a:gd name="T54" fmla="*/ 8580 w 15226"/>
                <a:gd name="T55" fmla="*/ 1347 h 16467"/>
                <a:gd name="T56" fmla="*/ 9313 w 15226"/>
                <a:gd name="T57" fmla="*/ 1689 h 16467"/>
                <a:gd name="T58" fmla="*/ 9910 w 15226"/>
                <a:gd name="T59" fmla="*/ 1627 h 16467"/>
                <a:gd name="T60" fmla="*/ 10645 w 15226"/>
                <a:gd name="T61" fmla="*/ 2180 h 16467"/>
                <a:gd name="T62" fmla="*/ 11452 w 15226"/>
                <a:gd name="T63" fmla="*/ 2381 h 16467"/>
                <a:gd name="T64" fmla="*/ 11765 w 15226"/>
                <a:gd name="T65" fmla="*/ 2398 h 16467"/>
                <a:gd name="T66" fmla="*/ 12518 w 15226"/>
                <a:gd name="T67" fmla="*/ 3326 h 16467"/>
                <a:gd name="T68" fmla="*/ 13130 w 15226"/>
                <a:gd name="T69" fmla="*/ 4042 h 16467"/>
                <a:gd name="T70" fmla="*/ 13183 w 15226"/>
                <a:gd name="T71" fmla="*/ 4884 h 16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226" h="16467">
                  <a:moveTo>
                    <a:pt x="10368" y="416"/>
                  </a:moveTo>
                  <a:cubicBezTo>
                    <a:pt x="8478" y="0"/>
                    <a:pt x="6596" y="26"/>
                    <a:pt x="4832" y="896"/>
                  </a:cubicBezTo>
                  <a:cubicBezTo>
                    <a:pt x="2904" y="1847"/>
                    <a:pt x="1993" y="3579"/>
                    <a:pt x="1538" y="5586"/>
                  </a:cubicBezTo>
                  <a:cubicBezTo>
                    <a:pt x="1432" y="6054"/>
                    <a:pt x="1196" y="6558"/>
                    <a:pt x="1605" y="7033"/>
                  </a:cubicBezTo>
                  <a:cubicBezTo>
                    <a:pt x="1694" y="7136"/>
                    <a:pt x="1523" y="7277"/>
                    <a:pt x="1451" y="7391"/>
                  </a:cubicBezTo>
                  <a:cubicBezTo>
                    <a:pt x="1067" y="8001"/>
                    <a:pt x="668" y="8603"/>
                    <a:pt x="304" y="9224"/>
                  </a:cubicBezTo>
                  <a:cubicBezTo>
                    <a:pt x="0" y="9742"/>
                    <a:pt x="65" y="9931"/>
                    <a:pt x="617" y="10108"/>
                  </a:cubicBezTo>
                  <a:cubicBezTo>
                    <a:pt x="1059" y="10249"/>
                    <a:pt x="1276" y="10436"/>
                    <a:pt x="1058" y="10928"/>
                  </a:cubicBezTo>
                  <a:cubicBezTo>
                    <a:pt x="895" y="11292"/>
                    <a:pt x="1194" y="11405"/>
                    <a:pt x="1491" y="11491"/>
                  </a:cubicBezTo>
                  <a:cubicBezTo>
                    <a:pt x="1028" y="11792"/>
                    <a:pt x="1016" y="11870"/>
                    <a:pt x="1422" y="12190"/>
                  </a:cubicBezTo>
                  <a:cubicBezTo>
                    <a:pt x="1598" y="12328"/>
                    <a:pt x="1643" y="12442"/>
                    <a:pt x="1549" y="12654"/>
                  </a:cubicBezTo>
                  <a:cubicBezTo>
                    <a:pt x="975" y="13937"/>
                    <a:pt x="1574" y="14691"/>
                    <a:pt x="2984" y="14527"/>
                  </a:cubicBezTo>
                  <a:cubicBezTo>
                    <a:pt x="3319" y="14488"/>
                    <a:pt x="3653" y="14436"/>
                    <a:pt x="3986" y="14387"/>
                  </a:cubicBezTo>
                  <a:cubicBezTo>
                    <a:pt x="4569" y="14301"/>
                    <a:pt x="4773" y="14445"/>
                    <a:pt x="4829" y="15055"/>
                  </a:cubicBezTo>
                  <a:cubicBezTo>
                    <a:pt x="4873" y="15530"/>
                    <a:pt x="4913" y="16003"/>
                    <a:pt x="5027" y="16467"/>
                  </a:cubicBezTo>
                  <a:cubicBezTo>
                    <a:pt x="7612" y="16467"/>
                    <a:pt x="10197" y="16467"/>
                    <a:pt x="12782" y="16467"/>
                  </a:cubicBezTo>
                  <a:cubicBezTo>
                    <a:pt x="12903" y="16279"/>
                    <a:pt x="12716" y="16164"/>
                    <a:pt x="12656" y="16035"/>
                  </a:cubicBezTo>
                  <a:cubicBezTo>
                    <a:pt x="12030" y="14680"/>
                    <a:pt x="11981" y="13284"/>
                    <a:pt x="12300" y="11850"/>
                  </a:cubicBezTo>
                  <a:cubicBezTo>
                    <a:pt x="12418" y="11319"/>
                    <a:pt x="12716" y="10905"/>
                    <a:pt x="13068" y="10511"/>
                  </a:cubicBezTo>
                  <a:cubicBezTo>
                    <a:pt x="14008" y="9460"/>
                    <a:pt x="14655" y="8275"/>
                    <a:pt x="14839" y="6845"/>
                  </a:cubicBezTo>
                  <a:cubicBezTo>
                    <a:pt x="15226" y="3831"/>
                    <a:pt x="13333" y="1070"/>
                    <a:pt x="10368" y="416"/>
                  </a:cubicBezTo>
                  <a:close/>
                  <a:moveTo>
                    <a:pt x="13183" y="4884"/>
                  </a:moveTo>
                  <a:cubicBezTo>
                    <a:pt x="13866" y="5359"/>
                    <a:pt x="13615" y="6325"/>
                    <a:pt x="13615" y="6325"/>
                  </a:cubicBezTo>
                  <a:cubicBezTo>
                    <a:pt x="13583" y="6773"/>
                    <a:pt x="13370" y="7188"/>
                    <a:pt x="12974" y="7580"/>
                  </a:cubicBezTo>
                  <a:cubicBezTo>
                    <a:pt x="12908" y="7646"/>
                    <a:pt x="12897" y="7705"/>
                    <a:pt x="12896" y="7767"/>
                  </a:cubicBezTo>
                  <a:cubicBezTo>
                    <a:pt x="12954" y="7878"/>
                    <a:pt x="12990" y="8003"/>
                    <a:pt x="12990" y="8137"/>
                  </a:cubicBezTo>
                  <a:cubicBezTo>
                    <a:pt x="12990" y="8582"/>
                    <a:pt x="12815" y="8826"/>
                    <a:pt x="12185" y="8943"/>
                  </a:cubicBezTo>
                  <a:cubicBezTo>
                    <a:pt x="11734" y="9026"/>
                    <a:pt x="11564" y="8803"/>
                    <a:pt x="11564" y="8803"/>
                  </a:cubicBezTo>
                  <a:cubicBezTo>
                    <a:pt x="11564" y="9383"/>
                    <a:pt x="11050" y="10063"/>
                    <a:pt x="10470" y="10063"/>
                  </a:cubicBezTo>
                  <a:cubicBezTo>
                    <a:pt x="10090" y="10063"/>
                    <a:pt x="9760" y="9859"/>
                    <a:pt x="9576" y="9556"/>
                  </a:cubicBezTo>
                  <a:cubicBezTo>
                    <a:pt x="9544" y="9531"/>
                    <a:pt x="9513" y="9507"/>
                    <a:pt x="9481" y="9479"/>
                  </a:cubicBezTo>
                  <a:cubicBezTo>
                    <a:pt x="9412" y="9775"/>
                    <a:pt x="9334" y="10042"/>
                    <a:pt x="9292" y="10313"/>
                  </a:cubicBezTo>
                  <a:cubicBezTo>
                    <a:pt x="9266" y="10480"/>
                    <a:pt x="9214" y="10556"/>
                    <a:pt x="9034" y="10551"/>
                  </a:cubicBezTo>
                  <a:cubicBezTo>
                    <a:pt x="8863" y="10547"/>
                    <a:pt x="8759" y="10519"/>
                    <a:pt x="8706" y="10320"/>
                  </a:cubicBezTo>
                  <a:cubicBezTo>
                    <a:pt x="8600" y="9921"/>
                    <a:pt x="8450" y="9535"/>
                    <a:pt x="8320" y="9143"/>
                  </a:cubicBezTo>
                  <a:cubicBezTo>
                    <a:pt x="8221" y="8846"/>
                    <a:pt x="8056" y="8633"/>
                    <a:pt x="7839" y="8485"/>
                  </a:cubicBezTo>
                  <a:cubicBezTo>
                    <a:pt x="7662" y="8576"/>
                    <a:pt x="7462" y="8628"/>
                    <a:pt x="7250" y="8628"/>
                  </a:cubicBezTo>
                  <a:cubicBezTo>
                    <a:pt x="6535" y="8628"/>
                    <a:pt x="5955" y="8048"/>
                    <a:pt x="5955" y="7333"/>
                  </a:cubicBezTo>
                  <a:cubicBezTo>
                    <a:pt x="5955" y="7187"/>
                    <a:pt x="5980" y="7048"/>
                    <a:pt x="6024" y="6917"/>
                  </a:cubicBezTo>
                  <a:cubicBezTo>
                    <a:pt x="5776" y="7173"/>
                    <a:pt x="5429" y="7333"/>
                    <a:pt x="5045" y="7333"/>
                  </a:cubicBezTo>
                  <a:cubicBezTo>
                    <a:pt x="4291" y="7333"/>
                    <a:pt x="3680" y="6721"/>
                    <a:pt x="3680" y="5968"/>
                  </a:cubicBezTo>
                  <a:cubicBezTo>
                    <a:pt x="3680" y="5918"/>
                    <a:pt x="3683" y="5869"/>
                    <a:pt x="3688" y="5821"/>
                  </a:cubicBezTo>
                  <a:cubicBezTo>
                    <a:pt x="3254" y="5655"/>
                    <a:pt x="2945" y="5235"/>
                    <a:pt x="2945" y="4743"/>
                  </a:cubicBezTo>
                  <a:cubicBezTo>
                    <a:pt x="2945" y="4203"/>
                    <a:pt x="3316" y="3751"/>
                    <a:pt x="3816" y="3624"/>
                  </a:cubicBezTo>
                  <a:cubicBezTo>
                    <a:pt x="3843" y="3601"/>
                    <a:pt x="3869" y="3576"/>
                    <a:pt x="3894" y="3551"/>
                  </a:cubicBezTo>
                  <a:cubicBezTo>
                    <a:pt x="3893" y="3540"/>
                    <a:pt x="3890" y="3529"/>
                    <a:pt x="3890" y="3517"/>
                  </a:cubicBezTo>
                  <a:cubicBezTo>
                    <a:pt x="3890" y="3249"/>
                    <a:pt x="4079" y="3025"/>
                    <a:pt x="4332" y="2971"/>
                  </a:cubicBezTo>
                  <a:cubicBezTo>
                    <a:pt x="4335" y="2969"/>
                    <a:pt x="4337" y="2967"/>
                    <a:pt x="4340" y="2966"/>
                  </a:cubicBezTo>
                  <a:cubicBezTo>
                    <a:pt x="4464" y="2401"/>
                    <a:pt x="4968" y="1977"/>
                    <a:pt x="5570" y="1977"/>
                  </a:cubicBezTo>
                  <a:cubicBezTo>
                    <a:pt x="5768" y="1977"/>
                    <a:pt x="5954" y="2024"/>
                    <a:pt x="6121" y="2105"/>
                  </a:cubicBezTo>
                  <a:cubicBezTo>
                    <a:pt x="6158" y="2113"/>
                    <a:pt x="6195" y="2120"/>
                    <a:pt x="6234" y="2133"/>
                  </a:cubicBezTo>
                  <a:cubicBezTo>
                    <a:pt x="6245" y="2136"/>
                    <a:pt x="6254" y="2137"/>
                    <a:pt x="6264" y="2138"/>
                  </a:cubicBezTo>
                  <a:cubicBezTo>
                    <a:pt x="6396" y="1798"/>
                    <a:pt x="6724" y="1557"/>
                    <a:pt x="7110" y="1557"/>
                  </a:cubicBezTo>
                  <a:cubicBezTo>
                    <a:pt x="7281" y="1557"/>
                    <a:pt x="7438" y="1607"/>
                    <a:pt x="7575" y="1688"/>
                  </a:cubicBezTo>
                  <a:cubicBezTo>
                    <a:pt x="7688" y="1730"/>
                    <a:pt x="7786" y="1735"/>
                    <a:pt x="7890" y="1710"/>
                  </a:cubicBezTo>
                  <a:cubicBezTo>
                    <a:pt x="8042" y="1491"/>
                    <a:pt x="8294" y="1347"/>
                    <a:pt x="8580" y="1347"/>
                  </a:cubicBezTo>
                  <a:cubicBezTo>
                    <a:pt x="8828" y="1347"/>
                    <a:pt x="9048" y="1457"/>
                    <a:pt x="9202" y="1627"/>
                  </a:cubicBezTo>
                  <a:cubicBezTo>
                    <a:pt x="9239" y="1646"/>
                    <a:pt x="9276" y="1665"/>
                    <a:pt x="9313" y="1689"/>
                  </a:cubicBezTo>
                  <a:cubicBezTo>
                    <a:pt x="9375" y="1729"/>
                    <a:pt x="9431" y="1753"/>
                    <a:pt x="9494" y="1757"/>
                  </a:cubicBezTo>
                  <a:cubicBezTo>
                    <a:pt x="9612" y="1676"/>
                    <a:pt x="9755" y="1627"/>
                    <a:pt x="9910" y="1627"/>
                  </a:cubicBezTo>
                  <a:cubicBezTo>
                    <a:pt x="10237" y="1627"/>
                    <a:pt x="10511" y="1843"/>
                    <a:pt x="10607" y="2139"/>
                  </a:cubicBezTo>
                  <a:cubicBezTo>
                    <a:pt x="10619" y="2154"/>
                    <a:pt x="10632" y="2168"/>
                    <a:pt x="10645" y="2180"/>
                  </a:cubicBezTo>
                  <a:cubicBezTo>
                    <a:pt x="10735" y="2118"/>
                    <a:pt x="10843" y="2083"/>
                    <a:pt x="10960" y="2083"/>
                  </a:cubicBezTo>
                  <a:cubicBezTo>
                    <a:pt x="11174" y="2083"/>
                    <a:pt x="11358" y="2204"/>
                    <a:pt x="11452" y="2381"/>
                  </a:cubicBezTo>
                  <a:cubicBezTo>
                    <a:pt x="11477" y="2401"/>
                    <a:pt x="11502" y="2420"/>
                    <a:pt x="11528" y="2438"/>
                  </a:cubicBezTo>
                  <a:cubicBezTo>
                    <a:pt x="11603" y="2414"/>
                    <a:pt x="11682" y="2398"/>
                    <a:pt x="11765" y="2398"/>
                  </a:cubicBezTo>
                  <a:cubicBezTo>
                    <a:pt x="12190" y="2398"/>
                    <a:pt x="12535" y="2742"/>
                    <a:pt x="12535" y="3167"/>
                  </a:cubicBezTo>
                  <a:cubicBezTo>
                    <a:pt x="12535" y="3222"/>
                    <a:pt x="12529" y="3275"/>
                    <a:pt x="12518" y="3326"/>
                  </a:cubicBezTo>
                  <a:cubicBezTo>
                    <a:pt x="12521" y="3334"/>
                    <a:pt x="12523" y="3343"/>
                    <a:pt x="12525" y="3352"/>
                  </a:cubicBezTo>
                  <a:cubicBezTo>
                    <a:pt x="12866" y="3399"/>
                    <a:pt x="13130" y="3688"/>
                    <a:pt x="13130" y="4042"/>
                  </a:cubicBezTo>
                  <a:cubicBezTo>
                    <a:pt x="13130" y="4147"/>
                    <a:pt x="13106" y="4245"/>
                    <a:pt x="13064" y="4334"/>
                  </a:cubicBezTo>
                  <a:cubicBezTo>
                    <a:pt x="13065" y="4334"/>
                    <a:pt x="13480" y="4550"/>
                    <a:pt x="13183" y="48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7" name="Group 26"/>
            <p:cNvGrpSpPr/>
            <p:nvPr/>
          </p:nvGrpSpPr>
          <p:grpSpPr>
            <a:xfrm>
              <a:off x="1622524" y="1603080"/>
              <a:ext cx="1152823" cy="1114500"/>
              <a:chOff x="1190992" y="3966801"/>
              <a:chExt cx="2949531" cy="2851481"/>
            </a:xfrm>
            <a:grpFill/>
          </p:grpSpPr>
          <p:sp>
            <p:nvSpPr>
              <p:cNvPr id="28" name="Freeform 27"/>
              <p:cNvSpPr/>
              <p:nvPr/>
            </p:nvSpPr>
            <p:spPr>
              <a:xfrm rot="20110930">
                <a:off x="1190992" y="3966801"/>
                <a:ext cx="1971644" cy="1968573"/>
              </a:xfrm>
              <a:custGeom>
                <a:avLst/>
                <a:gdLst>
                  <a:gd name="connsiteX0" fmla="*/ 3064893 w 6123903"/>
                  <a:gd name="connsiteY0" fmla="*/ 1851552 h 6114381"/>
                  <a:gd name="connsiteX1" fmla="*/ 1845693 w 6123903"/>
                  <a:gd name="connsiteY1" fmla="*/ 3070752 h 6114381"/>
                  <a:gd name="connsiteX2" fmla="*/ 3064893 w 6123903"/>
                  <a:gd name="connsiteY2" fmla="*/ 4289952 h 6114381"/>
                  <a:gd name="connsiteX3" fmla="*/ 4284093 w 6123903"/>
                  <a:gd name="connsiteY3" fmla="*/ 3070752 h 6114381"/>
                  <a:gd name="connsiteX4" fmla="*/ 3064893 w 6123903"/>
                  <a:gd name="connsiteY4" fmla="*/ 1851552 h 6114381"/>
                  <a:gd name="connsiteX5" fmla="*/ 2686685 w 6123903"/>
                  <a:gd name="connsiteY5" fmla="*/ 0 h 6114381"/>
                  <a:gd name="connsiteX6" fmla="*/ 3422929 w 6123903"/>
                  <a:gd name="connsiteY6" fmla="*/ 0 h 6114381"/>
                  <a:gd name="connsiteX7" fmla="*/ 3678191 w 6123903"/>
                  <a:gd name="connsiteY7" fmla="*/ 710255 h 6114381"/>
                  <a:gd name="connsiteX8" fmla="*/ 3818556 w 6123903"/>
                  <a:gd name="connsiteY8" fmla="*/ 751055 h 6114381"/>
                  <a:gd name="connsiteX9" fmla="*/ 4227179 w 6123903"/>
                  <a:gd name="connsiteY9" fmla="*/ 926655 h 6114381"/>
                  <a:gd name="connsiteX10" fmla="*/ 4282555 w 6123903"/>
                  <a:gd name="connsiteY10" fmla="*/ 960296 h 6114381"/>
                  <a:gd name="connsiteX11" fmla="*/ 4970765 w 6123903"/>
                  <a:gd name="connsiteY11" fmla="*/ 634253 h 6114381"/>
                  <a:gd name="connsiteX12" fmla="*/ 5488211 w 6123903"/>
                  <a:gd name="connsiteY12" fmla="*/ 1157995 h 6114381"/>
                  <a:gd name="connsiteX13" fmla="*/ 5164247 w 6123903"/>
                  <a:gd name="connsiteY13" fmla="*/ 1834816 h 6114381"/>
                  <a:gd name="connsiteX14" fmla="*/ 5208991 w 6123903"/>
                  <a:gd name="connsiteY14" fmla="*/ 1908466 h 6114381"/>
                  <a:gd name="connsiteX15" fmla="*/ 5384591 w 6123903"/>
                  <a:gd name="connsiteY15" fmla="*/ 2317090 h 6114381"/>
                  <a:gd name="connsiteX16" fmla="*/ 5421936 w 6123903"/>
                  <a:gd name="connsiteY16" fmla="*/ 2445569 h 6114381"/>
                  <a:gd name="connsiteX17" fmla="*/ 6123903 w 6123903"/>
                  <a:gd name="connsiteY17" fmla="*/ 2691449 h 6114381"/>
                  <a:gd name="connsiteX18" fmla="*/ 6123903 w 6123903"/>
                  <a:gd name="connsiteY18" fmla="*/ 3427693 h 6114381"/>
                  <a:gd name="connsiteX19" fmla="*/ 5426625 w 6123903"/>
                  <a:gd name="connsiteY19" fmla="*/ 3678291 h 6114381"/>
                  <a:gd name="connsiteX20" fmla="*/ 5390304 w 6123903"/>
                  <a:gd name="connsiteY20" fmla="*/ 3806584 h 6114381"/>
                  <a:gd name="connsiteX21" fmla="*/ 5222916 w 6123903"/>
                  <a:gd name="connsiteY21" fmla="*/ 4207031 h 6114381"/>
                  <a:gd name="connsiteX22" fmla="*/ 5171917 w 6123903"/>
                  <a:gd name="connsiteY22" fmla="*/ 4295117 h 6114381"/>
                  <a:gd name="connsiteX23" fmla="*/ 5484219 w 6123903"/>
                  <a:gd name="connsiteY23" fmla="*/ 4978630 h 6114381"/>
                  <a:gd name="connsiteX24" fmla="*/ 4953361 w 6123903"/>
                  <a:gd name="connsiteY24" fmla="*/ 5488772 h 6114381"/>
                  <a:gd name="connsiteX25" fmla="*/ 4307701 w 6123903"/>
                  <a:gd name="connsiteY25" fmla="*/ 5168660 h 6114381"/>
                  <a:gd name="connsiteX26" fmla="*/ 4148601 w 6123903"/>
                  <a:gd name="connsiteY26" fmla="*/ 5255702 h 6114381"/>
                  <a:gd name="connsiteX27" fmla="*/ 3789999 w 6123903"/>
                  <a:gd name="connsiteY27" fmla="*/ 5399527 h 6114381"/>
                  <a:gd name="connsiteX28" fmla="*/ 3672243 w 6123903"/>
                  <a:gd name="connsiteY28" fmla="*/ 5429805 h 6114381"/>
                  <a:gd name="connsiteX29" fmla="*/ 3432454 w 6123903"/>
                  <a:gd name="connsiteY29" fmla="*/ 6114381 h 6114381"/>
                  <a:gd name="connsiteX30" fmla="*/ 2696210 w 6123903"/>
                  <a:gd name="connsiteY30" fmla="*/ 6114381 h 6114381"/>
                  <a:gd name="connsiteX31" fmla="*/ 2450436 w 6123903"/>
                  <a:gd name="connsiteY31" fmla="*/ 5430525 h 6114381"/>
                  <a:gd name="connsiteX32" fmla="*/ 2329062 w 6123903"/>
                  <a:gd name="connsiteY32" fmla="*/ 5396163 h 6114381"/>
                  <a:gd name="connsiteX33" fmla="*/ 1928614 w 6123903"/>
                  <a:gd name="connsiteY33" fmla="*/ 5228775 h 6114381"/>
                  <a:gd name="connsiteX34" fmla="*/ 1815331 w 6123903"/>
                  <a:gd name="connsiteY34" fmla="*/ 5163187 h 6114381"/>
                  <a:gd name="connsiteX35" fmla="*/ 1167731 w 6123903"/>
                  <a:gd name="connsiteY35" fmla="*/ 5490605 h 6114381"/>
                  <a:gd name="connsiteX36" fmla="*/ 637011 w 6123903"/>
                  <a:gd name="connsiteY36" fmla="*/ 4980320 h 6114381"/>
                  <a:gd name="connsiteX37" fmla="*/ 949593 w 6123903"/>
                  <a:gd name="connsiteY37" fmla="*/ 4281769 h 6114381"/>
                  <a:gd name="connsiteX38" fmla="*/ 879944 w 6123903"/>
                  <a:gd name="connsiteY38" fmla="*/ 4154460 h 6114381"/>
                  <a:gd name="connsiteX39" fmla="*/ 736119 w 6123903"/>
                  <a:gd name="connsiteY39" fmla="*/ 3795858 h 6114381"/>
                  <a:gd name="connsiteX40" fmla="*/ 704946 w 6123903"/>
                  <a:gd name="connsiteY40" fmla="*/ 3674624 h 6114381"/>
                  <a:gd name="connsiteX41" fmla="*/ 0 w 6123903"/>
                  <a:gd name="connsiteY41" fmla="*/ 3427700 h 6114381"/>
                  <a:gd name="connsiteX42" fmla="*/ 0 w 6123903"/>
                  <a:gd name="connsiteY42" fmla="*/ 2691456 h 6114381"/>
                  <a:gd name="connsiteX43" fmla="*/ 710874 w 6123903"/>
                  <a:gd name="connsiteY43" fmla="*/ 2435971 h 6114381"/>
                  <a:gd name="connsiteX44" fmla="*/ 739483 w 6123903"/>
                  <a:gd name="connsiteY44" fmla="*/ 2334920 h 6114381"/>
                  <a:gd name="connsiteX45" fmla="*/ 906871 w 6123903"/>
                  <a:gd name="connsiteY45" fmla="*/ 1934473 h 6114381"/>
                  <a:gd name="connsiteX46" fmla="*/ 966845 w 6123903"/>
                  <a:gd name="connsiteY46" fmla="*/ 1830886 h 6114381"/>
                  <a:gd name="connsiteX47" fmla="*/ 638488 w 6123903"/>
                  <a:gd name="connsiteY47" fmla="*/ 1160565 h 6114381"/>
                  <a:gd name="connsiteX48" fmla="*/ 1155427 w 6123903"/>
                  <a:gd name="connsiteY48" fmla="*/ 636323 h 6114381"/>
                  <a:gd name="connsiteX49" fmla="*/ 1849874 w 6123903"/>
                  <a:gd name="connsiteY49" fmla="*/ 957643 h 6114381"/>
                  <a:gd name="connsiteX50" fmla="*/ 1981186 w 6123903"/>
                  <a:gd name="connsiteY50" fmla="*/ 885803 h 6114381"/>
                  <a:gd name="connsiteX51" fmla="*/ 2339788 w 6123903"/>
                  <a:gd name="connsiteY51" fmla="*/ 741978 h 6114381"/>
                  <a:gd name="connsiteX52" fmla="*/ 2435401 w 6123903"/>
                  <a:gd name="connsiteY52" fmla="*/ 717393 h 611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6123903" h="6114381">
                    <a:moveTo>
                      <a:pt x="3064893" y="1851552"/>
                    </a:moveTo>
                    <a:cubicBezTo>
                      <a:pt x="2391547" y="1851552"/>
                      <a:pt x="1845693" y="2397406"/>
                      <a:pt x="1845693" y="3070752"/>
                    </a:cubicBezTo>
                    <a:cubicBezTo>
                      <a:pt x="1845693" y="3744098"/>
                      <a:pt x="2391547" y="4289952"/>
                      <a:pt x="3064893" y="4289952"/>
                    </a:cubicBezTo>
                    <a:cubicBezTo>
                      <a:pt x="3738239" y="4289952"/>
                      <a:pt x="4284093" y="3744098"/>
                      <a:pt x="4284093" y="3070752"/>
                    </a:cubicBezTo>
                    <a:cubicBezTo>
                      <a:pt x="4284093" y="2397406"/>
                      <a:pt x="3738239" y="1851552"/>
                      <a:pt x="3064893" y="1851552"/>
                    </a:cubicBezTo>
                    <a:close/>
                    <a:moveTo>
                      <a:pt x="2686685" y="0"/>
                    </a:moveTo>
                    <a:lnTo>
                      <a:pt x="3422929" y="0"/>
                    </a:lnTo>
                    <a:lnTo>
                      <a:pt x="3678191" y="710255"/>
                    </a:lnTo>
                    <a:lnTo>
                      <a:pt x="3818556" y="751055"/>
                    </a:lnTo>
                    <a:cubicBezTo>
                      <a:pt x="3960958" y="797289"/>
                      <a:pt x="4097615" y="856271"/>
                      <a:pt x="4227179" y="926655"/>
                    </a:cubicBezTo>
                    <a:lnTo>
                      <a:pt x="4282555" y="960296"/>
                    </a:lnTo>
                    <a:lnTo>
                      <a:pt x="4970765" y="634253"/>
                    </a:lnTo>
                    <a:lnTo>
                      <a:pt x="5488211" y="1157995"/>
                    </a:lnTo>
                    <a:lnTo>
                      <a:pt x="5164247" y="1834816"/>
                    </a:lnTo>
                    <a:lnTo>
                      <a:pt x="5208991" y="1908466"/>
                    </a:lnTo>
                    <a:cubicBezTo>
                      <a:pt x="5279375" y="2038031"/>
                      <a:pt x="5338357" y="2174687"/>
                      <a:pt x="5384591" y="2317090"/>
                    </a:cubicBezTo>
                    <a:lnTo>
                      <a:pt x="5421936" y="2445569"/>
                    </a:lnTo>
                    <a:lnTo>
                      <a:pt x="6123903" y="2691449"/>
                    </a:lnTo>
                    <a:lnTo>
                      <a:pt x="6123903" y="3427693"/>
                    </a:lnTo>
                    <a:lnTo>
                      <a:pt x="5426625" y="3678291"/>
                    </a:lnTo>
                    <a:lnTo>
                      <a:pt x="5390304" y="3806584"/>
                    </a:lnTo>
                    <a:cubicBezTo>
                      <a:pt x="5346264" y="3945892"/>
                      <a:pt x="5290052" y="4079790"/>
                      <a:pt x="5222916" y="4207031"/>
                    </a:cubicBezTo>
                    <a:lnTo>
                      <a:pt x="5171917" y="4295117"/>
                    </a:lnTo>
                    <a:lnTo>
                      <a:pt x="5484219" y="4978630"/>
                    </a:lnTo>
                    <a:lnTo>
                      <a:pt x="4953361" y="5488772"/>
                    </a:lnTo>
                    <a:lnTo>
                      <a:pt x="4307701" y="5168660"/>
                    </a:lnTo>
                    <a:lnTo>
                      <a:pt x="4148601" y="5255702"/>
                    </a:lnTo>
                    <a:cubicBezTo>
                      <a:pt x="4033899" y="5312702"/>
                      <a:pt x="3914073" y="5360936"/>
                      <a:pt x="3789999" y="5399527"/>
                    </a:cubicBezTo>
                    <a:lnTo>
                      <a:pt x="3672243" y="5429805"/>
                    </a:lnTo>
                    <a:lnTo>
                      <a:pt x="3432454" y="6114381"/>
                    </a:lnTo>
                    <a:lnTo>
                      <a:pt x="2696210" y="6114381"/>
                    </a:lnTo>
                    <a:lnTo>
                      <a:pt x="2450436" y="5430525"/>
                    </a:lnTo>
                    <a:lnTo>
                      <a:pt x="2329062" y="5396163"/>
                    </a:lnTo>
                    <a:cubicBezTo>
                      <a:pt x="2189754" y="5352123"/>
                      <a:pt x="2055856" y="5295911"/>
                      <a:pt x="1928614" y="5228775"/>
                    </a:cubicBezTo>
                    <a:lnTo>
                      <a:pt x="1815331" y="5163187"/>
                    </a:lnTo>
                    <a:lnTo>
                      <a:pt x="1167731" y="5490605"/>
                    </a:lnTo>
                    <a:lnTo>
                      <a:pt x="637011" y="4980320"/>
                    </a:lnTo>
                    <a:lnTo>
                      <a:pt x="949593" y="4281769"/>
                    </a:lnTo>
                    <a:lnTo>
                      <a:pt x="879944" y="4154460"/>
                    </a:lnTo>
                    <a:cubicBezTo>
                      <a:pt x="822944" y="4039758"/>
                      <a:pt x="774710" y="3919932"/>
                      <a:pt x="736119" y="3795858"/>
                    </a:cubicBezTo>
                    <a:lnTo>
                      <a:pt x="704946" y="3674624"/>
                    </a:lnTo>
                    <a:lnTo>
                      <a:pt x="0" y="3427700"/>
                    </a:lnTo>
                    <a:lnTo>
                      <a:pt x="0" y="2691456"/>
                    </a:lnTo>
                    <a:lnTo>
                      <a:pt x="710874" y="2435971"/>
                    </a:lnTo>
                    <a:lnTo>
                      <a:pt x="739483" y="2334920"/>
                    </a:lnTo>
                    <a:cubicBezTo>
                      <a:pt x="783523" y="2195614"/>
                      <a:pt x="839735" y="2061715"/>
                      <a:pt x="906871" y="1934473"/>
                    </a:cubicBezTo>
                    <a:lnTo>
                      <a:pt x="966845" y="1830886"/>
                    </a:lnTo>
                    <a:lnTo>
                      <a:pt x="638488" y="1160565"/>
                    </a:lnTo>
                    <a:lnTo>
                      <a:pt x="1155427" y="636323"/>
                    </a:lnTo>
                    <a:lnTo>
                      <a:pt x="1849874" y="957643"/>
                    </a:lnTo>
                    <a:lnTo>
                      <a:pt x="1981186" y="885803"/>
                    </a:lnTo>
                    <a:cubicBezTo>
                      <a:pt x="2095887" y="828803"/>
                      <a:pt x="2215713" y="780570"/>
                      <a:pt x="2339788" y="741978"/>
                    </a:cubicBezTo>
                    <a:lnTo>
                      <a:pt x="2435401" y="717393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9" name="Freeform 28"/>
              <p:cNvSpPr/>
              <p:nvPr/>
            </p:nvSpPr>
            <p:spPr>
              <a:xfrm rot="21290135">
                <a:off x="1788507" y="5851303"/>
                <a:ext cx="968485" cy="966979"/>
              </a:xfrm>
              <a:custGeom>
                <a:avLst/>
                <a:gdLst>
                  <a:gd name="connsiteX0" fmla="*/ 3064893 w 6123903"/>
                  <a:gd name="connsiteY0" fmla="*/ 1851552 h 6114381"/>
                  <a:gd name="connsiteX1" fmla="*/ 1845693 w 6123903"/>
                  <a:gd name="connsiteY1" fmla="*/ 3070752 h 6114381"/>
                  <a:gd name="connsiteX2" fmla="*/ 3064893 w 6123903"/>
                  <a:gd name="connsiteY2" fmla="*/ 4289952 h 6114381"/>
                  <a:gd name="connsiteX3" fmla="*/ 4284093 w 6123903"/>
                  <a:gd name="connsiteY3" fmla="*/ 3070752 h 6114381"/>
                  <a:gd name="connsiteX4" fmla="*/ 3064893 w 6123903"/>
                  <a:gd name="connsiteY4" fmla="*/ 1851552 h 6114381"/>
                  <a:gd name="connsiteX5" fmla="*/ 2686685 w 6123903"/>
                  <a:gd name="connsiteY5" fmla="*/ 0 h 6114381"/>
                  <a:gd name="connsiteX6" fmla="*/ 3422929 w 6123903"/>
                  <a:gd name="connsiteY6" fmla="*/ 0 h 6114381"/>
                  <a:gd name="connsiteX7" fmla="*/ 3678191 w 6123903"/>
                  <a:gd name="connsiteY7" fmla="*/ 710255 h 6114381"/>
                  <a:gd name="connsiteX8" fmla="*/ 3818556 w 6123903"/>
                  <a:gd name="connsiteY8" fmla="*/ 751055 h 6114381"/>
                  <a:gd name="connsiteX9" fmla="*/ 4227179 w 6123903"/>
                  <a:gd name="connsiteY9" fmla="*/ 926655 h 6114381"/>
                  <a:gd name="connsiteX10" fmla="*/ 4282555 w 6123903"/>
                  <a:gd name="connsiteY10" fmla="*/ 960296 h 6114381"/>
                  <a:gd name="connsiteX11" fmla="*/ 4970765 w 6123903"/>
                  <a:gd name="connsiteY11" fmla="*/ 634253 h 6114381"/>
                  <a:gd name="connsiteX12" fmla="*/ 5488211 w 6123903"/>
                  <a:gd name="connsiteY12" fmla="*/ 1157995 h 6114381"/>
                  <a:gd name="connsiteX13" fmla="*/ 5164247 w 6123903"/>
                  <a:gd name="connsiteY13" fmla="*/ 1834816 h 6114381"/>
                  <a:gd name="connsiteX14" fmla="*/ 5208991 w 6123903"/>
                  <a:gd name="connsiteY14" fmla="*/ 1908466 h 6114381"/>
                  <a:gd name="connsiteX15" fmla="*/ 5384591 w 6123903"/>
                  <a:gd name="connsiteY15" fmla="*/ 2317090 h 6114381"/>
                  <a:gd name="connsiteX16" fmla="*/ 5421936 w 6123903"/>
                  <a:gd name="connsiteY16" fmla="*/ 2445569 h 6114381"/>
                  <a:gd name="connsiteX17" fmla="*/ 6123903 w 6123903"/>
                  <a:gd name="connsiteY17" fmla="*/ 2691449 h 6114381"/>
                  <a:gd name="connsiteX18" fmla="*/ 6123903 w 6123903"/>
                  <a:gd name="connsiteY18" fmla="*/ 3427693 h 6114381"/>
                  <a:gd name="connsiteX19" fmla="*/ 5426625 w 6123903"/>
                  <a:gd name="connsiteY19" fmla="*/ 3678291 h 6114381"/>
                  <a:gd name="connsiteX20" fmla="*/ 5390304 w 6123903"/>
                  <a:gd name="connsiteY20" fmla="*/ 3806584 h 6114381"/>
                  <a:gd name="connsiteX21" fmla="*/ 5222916 w 6123903"/>
                  <a:gd name="connsiteY21" fmla="*/ 4207031 h 6114381"/>
                  <a:gd name="connsiteX22" fmla="*/ 5171917 w 6123903"/>
                  <a:gd name="connsiteY22" fmla="*/ 4295117 h 6114381"/>
                  <a:gd name="connsiteX23" fmla="*/ 5484219 w 6123903"/>
                  <a:gd name="connsiteY23" fmla="*/ 4978630 h 6114381"/>
                  <a:gd name="connsiteX24" fmla="*/ 4953361 w 6123903"/>
                  <a:gd name="connsiteY24" fmla="*/ 5488772 h 6114381"/>
                  <a:gd name="connsiteX25" fmla="*/ 4307701 w 6123903"/>
                  <a:gd name="connsiteY25" fmla="*/ 5168660 h 6114381"/>
                  <a:gd name="connsiteX26" fmla="*/ 4148601 w 6123903"/>
                  <a:gd name="connsiteY26" fmla="*/ 5255702 h 6114381"/>
                  <a:gd name="connsiteX27" fmla="*/ 3789999 w 6123903"/>
                  <a:gd name="connsiteY27" fmla="*/ 5399527 h 6114381"/>
                  <a:gd name="connsiteX28" fmla="*/ 3672243 w 6123903"/>
                  <a:gd name="connsiteY28" fmla="*/ 5429805 h 6114381"/>
                  <a:gd name="connsiteX29" fmla="*/ 3432454 w 6123903"/>
                  <a:gd name="connsiteY29" fmla="*/ 6114381 h 6114381"/>
                  <a:gd name="connsiteX30" fmla="*/ 2696210 w 6123903"/>
                  <a:gd name="connsiteY30" fmla="*/ 6114381 h 6114381"/>
                  <a:gd name="connsiteX31" fmla="*/ 2450436 w 6123903"/>
                  <a:gd name="connsiteY31" fmla="*/ 5430525 h 6114381"/>
                  <a:gd name="connsiteX32" fmla="*/ 2329062 w 6123903"/>
                  <a:gd name="connsiteY32" fmla="*/ 5396163 h 6114381"/>
                  <a:gd name="connsiteX33" fmla="*/ 1928614 w 6123903"/>
                  <a:gd name="connsiteY33" fmla="*/ 5228775 h 6114381"/>
                  <a:gd name="connsiteX34" fmla="*/ 1815331 w 6123903"/>
                  <a:gd name="connsiteY34" fmla="*/ 5163187 h 6114381"/>
                  <a:gd name="connsiteX35" fmla="*/ 1167731 w 6123903"/>
                  <a:gd name="connsiteY35" fmla="*/ 5490605 h 6114381"/>
                  <a:gd name="connsiteX36" fmla="*/ 637011 w 6123903"/>
                  <a:gd name="connsiteY36" fmla="*/ 4980320 h 6114381"/>
                  <a:gd name="connsiteX37" fmla="*/ 949593 w 6123903"/>
                  <a:gd name="connsiteY37" fmla="*/ 4281769 h 6114381"/>
                  <a:gd name="connsiteX38" fmla="*/ 879944 w 6123903"/>
                  <a:gd name="connsiteY38" fmla="*/ 4154460 h 6114381"/>
                  <a:gd name="connsiteX39" fmla="*/ 736119 w 6123903"/>
                  <a:gd name="connsiteY39" fmla="*/ 3795858 h 6114381"/>
                  <a:gd name="connsiteX40" fmla="*/ 704946 w 6123903"/>
                  <a:gd name="connsiteY40" fmla="*/ 3674624 h 6114381"/>
                  <a:gd name="connsiteX41" fmla="*/ 0 w 6123903"/>
                  <a:gd name="connsiteY41" fmla="*/ 3427700 h 6114381"/>
                  <a:gd name="connsiteX42" fmla="*/ 0 w 6123903"/>
                  <a:gd name="connsiteY42" fmla="*/ 2691456 h 6114381"/>
                  <a:gd name="connsiteX43" fmla="*/ 710874 w 6123903"/>
                  <a:gd name="connsiteY43" fmla="*/ 2435971 h 6114381"/>
                  <a:gd name="connsiteX44" fmla="*/ 739483 w 6123903"/>
                  <a:gd name="connsiteY44" fmla="*/ 2334920 h 6114381"/>
                  <a:gd name="connsiteX45" fmla="*/ 906871 w 6123903"/>
                  <a:gd name="connsiteY45" fmla="*/ 1934473 h 6114381"/>
                  <a:gd name="connsiteX46" fmla="*/ 966845 w 6123903"/>
                  <a:gd name="connsiteY46" fmla="*/ 1830886 h 6114381"/>
                  <a:gd name="connsiteX47" fmla="*/ 638488 w 6123903"/>
                  <a:gd name="connsiteY47" fmla="*/ 1160565 h 6114381"/>
                  <a:gd name="connsiteX48" fmla="*/ 1155427 w 6123903"/>
                  <a:gd name="connsiteY48" fmla="*/ 636323 h 6114381"/>
                  <a:gd name="connsiteX49" fmla="*/ 1849874 w 6123903"/>
                  <a:gd name="connsiteY49" fmla="*/ 957643 h 6114381"/>
                  <a:gd name="connsiteX50" fmla="*/ 1981186 w 6123903"/>
                  <a:gd name="connsiteY50" fmla="*/ 885803 h 6114381"/>
                  <a:gd name="connsiteX51" fmla="*/ 2339788 w 6123903"/>
                  <a:gd name="connsiteY51" fmla="*/ 741978 h 6114381"/>
                  <a:gd name="connsiteX52" fmla="*/ 2435401 w 6123903"/>
                  <a:gd name="connsiteY52" fmla="*/ 717393 h 611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6123903" h="6114381">
                    <a:moveTo>
                      <a:pt x="3064893" y="1851552"/>
                    </a:moveTo>
                    <a:cubicBezTo>
                      <a:pt x="2391547" y="1851552"/>
                      <a:pt x="1845693" y="2397406"/>
                      <a:pt x="1845693" y="3070752"/>
                    </a:cubicBezTo>
                    <a:cubicBezTo>
                      <a:pt x="1845693" y="3744098"/>
                      <a:pt x="2391547" y="4289952"/>
                      <a:pt x="3064893" y="4289952"/>
                    </a:cubicBezTo>
                    <a:cubicBezTo>
                      <a:pt x="3738239" y="4289952"/>
                      <a:pt x="4284093" y="3744098"/>
                      <a:pt x="4284093" y="3070752"/>
                    </a:cubicBezTo>
                    <a:cubicBezTo>
                      <a:pt x="4284093" y="2397406"/>
                      <a:pt x="3738239" y="1851552"/>
                      <a:pt x="3064893" y="1851552"/>
                    </a:cubicBezTo>
                    <a:close/>
                    <a:moveTo>
                      <a:pt x="2686685" y="0"/>
                    </a:moveTo>
                    <a:lnTo>
                      <a:pt x="3422929" y="0"/>
                    </a:lnTo>
                    <a:lnTo>
                      <a:pt x="3678191" y="710255"/>
                    </a:lnTo>
                    <a:lnTo>
                      <a:pt x="3818556" y="751055"/>
                    </a:lnTo>
                    <a:cubicBezTo>
                      <a:pt x="3960958" y="797289"/>
                      <a:pt x="4097615" y="856271"/>
                      <a:pt x="4227179" y="926655"/>
                    </a:cubicBezTo>
                    <a:lnTo>
                      <a:pt x="4282555" y="960296"/>
                    </a:lnTo>
                    <a:lnTo>
                      <a:pt x="4970765" y="634253"/>
                    </a:lnTo>
                    <a:lnTo>
                      <a:pt x="5488211" y="1157995"/>
                    </a:lnTo>
                    <a:lnTo>
                      <a:pt x="5164247" y="1834816"/>
                    </a:lnTo>
                    <a:lnTo>
                      <a:pt x="5208991" y="1908466"/>
                    </a:lnTo>
                    <a:cubicBezTo>
                      <a:pt x="5279375" y="2038031"/>
                      <a:pt x="5338357" y="2174687"/>
                      <a:pt x="5384591" y="2317090"/>
                    </a:cubicBezTo>
                    <a:lnTo>
                      <a:pt x="5421936" y="2445569"/>
                    </a:lnTo>
                    <a:lnTo>
                      <a:pt x="6123903" y="2691449"/>
                    </a:lnTo>
                    <a:lnTo>
                      <a:pt x="6123903" y="3427693"/>
                    </a:lnTo>
                    <a:lnTo>
                      <a:pt x="5426625" y="3678291"/>
                    </a:lnTo>
                    <a:lnTo>
                      <a:pt x="5390304" y="3806584"/>
                    </a:lnTo>
                    <a:cubicBezTo>
                      <a:pt x="5346264" y="3945892"/>
                      <a:pt x="5290052" y="4079790"/>
                      <a:pt x="5222916" y="4207031"/>
                    </a:cubicBezTo>
                    <a:lnTo>
                      <a:pt x="5171917" y="4295117"/>
                    </a:lnTo>
                    <a:lnTo>
                      <a:pt x="5484219" y="4978630"/>
                    </a:lnTo>
                    <a:lnTo>
                      <a:pt x="4953361" y="5488772"/>
                    </a:lnTo>
                    <a:lnTo>
                      <a:pt x="4307701" y="5168660"/>
                    </a:lnTo>
                    <a:lnTo>
                      <a:pt x="4148601" y="5255702"/>
                    </a:lnTo>
                    <a:cubicBezTo>
                      <a:pt x="4033899" y="5312702"/>
                      <a:pt x="3914073" y="5360936"/>
                      <a:pt x="3789999" y="5399527"/>
                    </a:cubicBezTo>
                    <a:lnTo>
                      <a:pt x="3672243" y="5429805"/>
                    </a:lnTo>
                    <a:lnTo>
                      <a:pt x="3432454" y="6114381"/>
                    </a:lnTo>
                    <a:lnTo>
                      <a:pt x="2696210" y="6114381"/>
                    </a:lnTo>
                    <a:lnTo>
                      <a:pt x="2450436" y="5430525"/>
                    </a:lnTo>
                    <a:lnTo>
                      <a:pt x="2329062" y="5396163"/>
                    </a:lnTo>
                    <a:cubicBezTo>
                      <a:pt x="2189754" y="5352123"/>
                      <a:pt x="2055856" y="5295911"/>
                      <a:pt x="1928614" y="5228775"/>
                    </a:cubicBezTo>
                    <a:lnTo>
                      <a:pt x="1815331" y="5163187"/>
                    </a:lnTo>
                    <a:lnTo>
                      <a:pt x="1167731" y="5490605"/>
                    </a:lnTo>
                    <a:lnTo>
                      <a:pt x="637011" y="4980320"/>
                    </a:lnTo>
                    <a:lnTo>
                      <a:pt x="949593" y="4281769"/>
                    </a:lnTo>
                    <a:lnTo>
                      <a:pt x="879944" y="4154460"/>
                    </a:lnTo>
                    <a:cubicBezTo>
                      <a:pt x="822944" y="4039758"/>
                      <a:pt x="774710" y="3919932"/>
                      <a:pt x="736119" y="3795858"/>
                    </a:cubicBezTo>
                    <a:lnTo>
                      <a:pt x="704946" y="3674624"/>
                    </a:lnTo>
                    <a:lnTo>
                      <a:pt x="0" y="3427700"/>
                    </a:lnTo>
                    <a:lnTo>
                      <a:pt x="0" y="2691456"/>
                    </a:lnTo>
                    <a:lnTo>
                      <a:pt x="710874" y="2435971"/>
                    </a:lnTo>
                    <a:lnTo>
                      <a:pt x="739483" y="2334920"/>
                    </a:lnTo>
                    <a:cubicBezTo>
                      <a:pt x="783523" y="2195614"/>
                      <a:pt x="839735" y="2061715"/>
                      <a:pt x="906871" y="1934473"/>
                    </a:cubicBezTo>
                    <a:lnTo>
                      <a:pt x="966845" y="1830886"/>
                    </a:lnTo>
                    <a:lnTo>
                      <a:pt x="638488" y="1160565"/>
                    </a:lnTo>
                    <a:lnTo>
                      <a:pt x="1155427" y="636323"/>
                    </a:lnTo>
                    <a:lnTo>
                      <a:pt x="1849874" y="957643"/>
                    </a:lnTo>
                    <a:lnTo>
                      <a:pt x="1981186" y="885803"/>
                    </a:lnTo>
                    <a:cubicBezTo>
                      <a:pt x="2095887" y="828803"/>
                      <a:pt x="2215713" y="780570"/>
                      <a:pt x="2339788" y="741978"/>
                    </a:cubicBezTo>
                    <a:lnTo>
                      <a:pt x="2435401" y="717393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30" name="Freeform 29"/>
              <p:cNvSpPr/>
              <p:nvPr/>
            </p:nvSpPr>
            <p:spPr>
              <a:xfrm rot="21290135">
                <a:off x="2817783" y="5466494"/>
                <a:ext cx="968485" cy="966979"/>
              </a:xfrm>
              <a:custGeom>
                <a:avLst/>
                <a:gdLst>
                  <a:gd name="connsiteX0" fmla="*/ 3064893 w 6123903"/>
                  <a:gd name="connsiteY0" fmla="*/ 1851552 h 6114381"/>
                  <a:gd name="connsiteX1" fmla="*/ 1845693 w 6123903"/>
                  <a:gd name="connsiteY1" fmla="*/ 3070752 h 6114381"/>
                  <a:gd name="connsiteX2" fmla="*/ 3064893 w 6123903"/>
                  <a:gd name="connsiteY2" fmla="*/ 4289952 h 6114381"/>
                  <a:gd name="connsiteX3" fmla="*/ 4284093 w 6123903"/>
                  <a:gd name="connsiteY3" fmla="*/ 3070752 h 6114381"/>
                  <a:gd name="connsiteX4" fmla="*/ 3064893 w 6123903"/>
                  <a:gd name="connsiteY4" fmla="*/ 1851552 h 6114381"/>
                  <a:gd name="connsiteX5" fmla="*/ 2686685 w 6123903"/>
                  <a:gd name="connsiteY5" fmla="*/ 0 h 6114381"/>
                  <a:gd name="connsiteX6" fmla="*/ 3422929 w 6123903"/>
                  <a:gd name="connsiteY6" fmla="*/ 0 h 6114381"/>
                  <a:gd name="connsiteX7" fmla="*/ 3678191 w 6123903"/>
                  <a:gd name="connsiteY7" fmla="*/ 710255 h 6114381"/>
                  <a:gd name="connsiteX8" fmla="*/ 3818556 w 6123903"/>
                  <a:gd name="connsiteY8" fmla="*/ 751055 h 6114381"/>
                  <a:gd name="connsiteX9" fmla="*/ 4227179 w 6123903"/>
                  <a:gd name="connsiteY9" fmla="*/ 926655 h 6114381"/>
                  <a:gd name="connsiteX10" fmla="*/ 4282555 w 6123903"/>
                  <a:gd name="connsiteY10" fmla="*/ 960296 h 6114381"/>
                  <a:gd name="connsiteX11" fmla="*/ 4970765 w 6123903"/>
                  <a:gd name="connsiteY11" fmla="*/ 634253 h 6114381"/>
                  <a:gd name="connsiteX12" fmla="*/ 5488211 w 6123903"/>
                  <a:gd name="connsiteY12" fmla="*/ 1157995 h 6114381"/>
                  <a:gd name="connsiteX13" fmla="*/ 5164247 w 6123903"/>
                  <a:gd name="connsiteY13" fmla="*/ 1834816 h 6114381"/>
                  <a:gd name="connsiteX14" fmla="*/ 5208991 w 6123903"/>
                  <a:gd name="connsiteY14" fmla="*/ 1908466 h 6114381"/>
                  <a:gd name="connsiteX15" fmla="*/ 5384591 w 6123903"/>
                  <a:gd name="connsiteY15" fmla="*/ 2317090 h 6114381"/>
                  <a:gd name="connsiteX16" fmla="*/ 5421936 w 6123903"/>
                  <a:gd name="connsiteY16" fmla="*/ 2445569 h 6114381"/>
                  <a:gd name="connsiteX17" fmla="*/ 6123903 w 6123903"/>
                  <a:gd name="connsiteY17" fmla="*/ 2691449 h 6114381"/>
                  <a:gd name="connsiteX18" fmla="*/ 6123903 w 6123903"/>
                  <a:gd name="connsiteY18" fmla="*/ 3427693 h 6114381"/>
                  <a:gd name="connsiteX19" fmla="*/ 5426625 w 6123903"/>
                  <a:gd name="connsiteY19" fmla="*/ 3678291 h 6114381"/>
                  <a:gd name="connsiteX20" fmla="*/ 5390304 w 6123903"/>
                  <a:gd name="connsiteY20" fmla="*/ 3806584 h 6114381"/>
                  <a:gd name="connsiteX21" fmla="*/ 5222916 w 6123903"/>
                  <a:gd name="connsiteY21" fmla="*/ 4207031 h 6114381"/>
                  <a:gd name="connsiteX22" fmla="*/ 5171917 w 6123903"/>
                  <a:gd name="connsiteY22" fmla="*/ 4295117 h 6114381"/>
                  <a:gd name="connsiteX23" fmla="*/ 5484219 w 6123903"/>
                  <a:gd name="connsiteY23" fmla="*/ 4978630 h 6114381"/>
                  <a:gd name="connsiteX24" fmla="*/ 4953361 w 6123903"/>
                  <a:gd name="connsiteY24" fmla="*/ 5488772 h 6114381"/>
                  <a:gd name="connsiteX25" fmla="*/ 4307701 w 6123903"/>
                  <a:gd name="connsiteY25" fmla="*/ 5168660 h 6114381"/>
                  <a:gd name="connsiteX26" fmla="*/ 4148601 w 6123903"/>
                  <a:gd name="connsiteY26" fmla="*/ 5255702 h 6114381"/>
                  <a:gd name="connsiteX27" fmla="*/ 3789999 w 6123903"/>
                  <a:gd name="connsiteY27" fmla="*/ 5399527 h 6114381"/>
                  <a:gd name="connsiteX28" fmla="*/ 3672243 w 6123903"/>
                  <a:gd name="connsiteY28" fmla="*/ 5429805 h 6114381"/>
                  <a:gd name="connsiteX29" fmla="*/ 3432454 w 6123903"/>
                  <a:gd name="connsiteY29" fmla="*/ 6114381 h 6114381"/>
                  <a:gd name="connsiteX30" fmla="*/ 2696210 w 6123903"/>
                  <a:gd name="connsiteY30" fmla="*/ 6114381 h 6114381"/>
                  <a:gd name="connsiteX31" fmla="*/ 2450436 w 6123903"/>
                  <a:gd name="connsiteY31" fmla="*/ 5430525 h 6114381"/>
                  <a:gd name="connsiteX32" fmla="*/ 2329062 w 6123903"/>
                  <a:gd name="connsiteY32" fmla="*/ 5396163 h 6114381"/>
                  <a:gd name="connsiteX33" fmla="*/ 1928614 w 6123903"/>
                  <a:gd name="connsiteY33" fmla="*/ 5228775 h 6114381"/>
                  <a:gd name="connsiteX34" fmla="*/ 1815331 w 6123903"/>
                  <a:gd name="connsiteY34" fmla="*/ 5163187 h 6114381"/>
                  <a:gd name="connsiteX35" fmla="*/ 1167731 w 6123903"/>
                  <a:gd name="connsiteY35" fmla="*/ 5490605 h 6114381"/>
                  <a:gd name="connsiteX36" fmla="*/ 637011 w 6123903"/>
                  <a:gd name="connsiteY36" fmla="*/ 4980320 h 6114381"/>
                  <a:gd name="connsiteX37" fmla="*/ 949593 w 6123903"/>
                  <a:gd name="connsiteY37" fmla="*/ 4281769 h 6114381"/>
                  <a:gd name="connsiteX38" fmla="*/ 879944 w 6123903"/>
                  <a:gd name="connsiteY38" fmla="*/ 4154460 h 6114381"/>
                  <a:gd name="connsiteX39" fmla="*/ 736119 w 6123903"/>
                  <a:gd name="connsiteY39" fmla="*/ 3795858 h 6114381"/>
                  <a:gd name="connsiteX40" fmla="*/ 704946 w 6123903"/>
                  <a:gd name="connsiteY40" fmla="*/ 3674624 h 6114381"/>
                  <a:gd name="connsiteX41" fmla="*/ 0 w 6123903"/>
                  <a:gd name="connsiteY41" fmla="*/ 3427700 h 6114381"/>
                  <a:gd name="connsiteX42" fmla="*/ 0 w 6123903"/>
                  <a:gd name="connsiteY42" fmla="*/ 2691456 h 6114381"/>
                  <a:gd name="connsiteX43" fmla="*/ 710874 w 6123903"/>
                  <a:gd name="connsiteY43" fmla="*/ 2435971 h 6114381"/>
                  <a:gd name="connsiteX44" fmla="*/ 739483 w 6123903"/>
                  <a:gd name="connsiteY44" fmla="*/ 2334920 h 6114381"/>
                  <a:gd name="connsiteX45" fmla="*/ 906871 w 6123903"/>
                  <a:gd name="connsiteY45" fmla="*/ 1934473 h 6114381"/>
                  <a:gd name="connsiteX46" fmla="*/ 966845 w 6123903"/>
                  <a:gd name="connsiteY46" fmla="*/ 1830886 h 6114381"/>
                  <a:gd name="connsiteX47" fmla="*/ 638488 w 6123903"/>
                  <a:gd name="connsiteY47" fmla="*/ 1160565 h 6114381"/>
                  <a:gd name="connsiteX48" fmla="*/ 1155427 w 6123903"/>
                  <a:gd name="connsiteY48" fmla="*/ 636323 h 6114381"/>
                  <a:gd name="connsiteX49" fmla="*/ 1849874 w 6123903"/>
                  <a:gd name="connsiteY49" fmla="*/ 957643 h 6114381"/>
                  <a:gd name="connsiteX50" fmla="*/ 1981186 w 6123903"/>
                  <a:gd name="connsiteY50" fmla="*/ 885803 h 6114381"/>
                  <a:gd name="connsiteX51" fmla="*/ 2339788 w 6123903"/>
                  <a:gd name="connsiteY51" fmla="*/ 741978 h 6114381"/>
                  <a:gd name="connsiteX52" fmla="*/ 2435401 w 6123903"/>
                  <a:gd name="connsiteY52" fmla="*/ 717393 h 611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6123903" h="6114381">
                    <a:moveTo>
                      <a:pt x="3064893" y="1851552"/>
                    </a:moveTo>
                    <a:cubicBezTo>
                      <a:pt x="2391547" y="1851552"/>
                      <a:pt x="1845693" y="2397406"/>
                      <a:pt x="1845693" y="3070752"/>
                    </a:cubicBezTo>
                    <a:cubicBezTo>
                      <a:pt x="1845693" y="3744098"/>
                      <a:pt x="2391547" y="4289952"/>
                      <a:pt x="3064893" y="4289952"/>
                    </a:cubicBezTo>
                    <a:cubicBezTo>
                      <a:pt x="3738239" y="4289952"/>
                      <a:pt x="4284093" y="3744098"/>
                      <a:pt x="4284093" y="3070752"/>
                    </a:cubicBezTo>
                    <a:cubicBezTo>
                      <a:pt x="4284093" y="2397406"/>
                      <a:pt x="3738239" y="1851552"/>
                      <a:pt x="3064893" y="1851552"/>
                    </a:cubicBezTo>
                    <a:close/>
                    <a:moveTo>
                      <a:pt x="2686685" y="0"/>
                    </a:moveTo>
                    <a:lnTo>
                      <a:pt x="3422929" y="0"/>
                    </a:lnTo>
                    <a:lnTo>
                      <a:pt x="3678191" y="710255"/>
                    </a:lnTo>
                    <a:lnTo>
                      <a:pt x="3818556" y="751055"/>
                    </a:lnTo>
                    <a:cubicBezTo>
                      <a:pt x="3960958" y="797289"/>
                      <a:pt x="4097615" y="856271"/>
                      <a:pt x="4227179" y="926655"/>
                    </a:cubicBezTo>
                    <a:lnTo>
                      <a:pt x="4282555" y="960296"/>
                    </a:lnTo>
                    <a:lnTo>
                      <a:pt x="4970765" y="634253"/>
                    </a:lnTo>
                    <a:lnTo>
                      <a:pt x="5488211" y="1157995"/>
                    </a:lnTo>
                    <a:lnTo>
                      <a:pt x="5164247" y="1834816"/>
                    </a:lnTo>
                    <a:lnTo>
                      <a:pt x="5208991" y="1908466"/>
                    </a:lnTo>
                    <a:cubicBezTo>
                      <a:pt x="5279375" y="2038031"/>
                      <a:pt x="5338357" y="2174687"/>
                      <a:pt x="5384591" y="2317090"/>
                    </a:cubicBezTo>
                    <a:lnTo>
                      <a:pt x="5421936" y="2445569"/>
                    </a:lnTo>
                    <a:lnTo>
                      <a:pt x="6123903" y="2691449"/>
                    </a:lnTo>
                    <a:lnTo>
                      <a:pt x="6123903" y="3427693"/>
                    </a:lnTo>
                    <a:lnTo>
                      <a:pt x="5426625" y="3678291"/>
                    </a:lnTo>
                    <a:lnTo>
                      <a:pt x="5390304" y="3806584"/>
                    </a:lnTo>
                    <a:cubicBezTo>
                      <a:pt x="5346264" y="3945892"/>
                      <a:pt x="5290052" y="4079790"/>
                      <a:pt x="5222916" y="4207031"/>
                    </a:cubicBezTo>
                    <a:lnTo>
                      <a:pt x="5171917" y="4295117"/>
                    </a:lnTo>
                    <a:lnTo>
                      <a:pt x="5484219" y="4978630"/>
                    </a:lnTo>
                    <a:lnTo>
                      <a:pt x="4953361" y="5488772"/>
                    </a:lnTo>
                    <a:lnTo>
                      <a:pt x="4307701" y="5168660"/>
                    </a:lnTo>
                    <a:lnTo>
                      <a:pt x="4148601" y="5255702"/>
                    </a:lnTo>
                    <a:cubicBezTo>
                      <a:pt x="4033899" y="5312702"/>
                      <a:pt x="3914073" y="5360936"/>
                      <a:pt x="3789999" y="5399527"/>
                    </a:cubicBezTo>
                    <a:lnTo>
                      <a:pt x="3672243" y="5429805"/>
                    </a:lnTo>
                    <a:lnTo>
                      <a:pt x="3432454" y="6114381"/>
                    </a:lnTo>
                    <a:lnTo>
                      <a:pt x="2696210" y="6114381"/>
                    </a:lnTo>
                    <a:lnTo>
                      <a:pt x="2450436" y="5430525"/>
                    </a:lnTo>
                    <a:lnTo>
                      <a:pt x="2329062" y="5396163"/>
                    </a:lnTo>
                    <a:cubicBezTo>
                      <a:pt x="2189754" y="5352123"/>
                      <a:pt x="2055856" y="5295911"/>
                      <a:pt x="1928614" y="5228775"/>
                    </a:cubicBezTo>
                    <a:lnTo>
                      <a:pt x="1815331" y="5163187"/>
                    </a:lnTo>
                    <a:lnTo>
                      <a:pt x="1167731" y="5490605"/>
                    </a:lnTo>
                    <a:lnTo>
                      <a:pt x="637011" y="4980320"/>
                    </a:lnTo>
                    <a:lnTo>
                      <a:pt x="949593" y="4281769"/>
                    </a:lnTo>
                    <a:lnTo>
                      <a:pt x="879944" y="4154460"/>
                    </a:lnTo>
                    <a:cubicBezTo>
                      <a:pt x="822944" y="4039758"/>
                      <a:pt x="774710" y="3919932"/>
                      <a:pt x="736119" y="3795858"/>
                    </a:cubicBezTo>
                    <a:lnTo>
                      <a:pt x="704946" y="3674624"/>
                    </a:lnTo>
                    <a:lnTo>
                      <a:pt x="0" y="3427700"/>
                    </a:lnTo>
                    <a:lnTo>
                      <a:pt x="0" y="2691456"/>
                    </a:lnTo>
                    <a:lnTo>
                      <a:pt x="710874" y="2435971"/>
                    </a:lnTo>
                    <a:lnTo>
                      <a:pt x="739483" y="2334920"/>
                    </a:lnTo>
                    <a:cubicBezTo>
                      <a:pt x="783523" y="2195614"/>
                      <a:pt x="839735" y="2061715"/>
                      <a:pt x="906871" y="1934473"/>
                    </a:cubicBezTo>
                    <a:lnTo>
                      <a:pt x="966845" y="1830886"/>
                    </a:lnTo>
                    <a:lnTo>
                      <a:pt x="638488" y="1160565"/>
                    </a:lnTo>
                    <a:lnTo>
                      <a:pt x="1155427" y="636323"/>
                    </a:lnTo>
                    <a:lnTo>
                      <a:pt x="1849874" y="957643"/>
                    </a:lnTo>
                    <a:lnTo>
                      <a:pt x="1981186" y="885803"/>
                    </a:lnTo>
                    <a:cubicBezTo>
                      <a:pt x="2095887" y="828803"/>
                      <a:pt x="2215713" y="780570"/>
                      <a:pt x="2339788" y="741978"/>
                    </a:cubicBezTo>
                    <a:lnTo>
                      <a:pt x="2435401" y="717393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31" name="Freeform 30"/>
              <p:cNvSpPr/>
              <p:nvPr/>
            </p:nvSpPr>
            <p:spPr>
              <a:xfrm rot="21290135">
                <a:off x="3172038" y="4372492"/>
                <a:ext cx="968485" cy="966979"/>
              </a:xfrm>
              <a:custGeom>
                <a:avLst/>
                <a:gdLst>
                  <a:gd name="connsiteX0" fmla="*/ 3064893 w 6123903"/>
                  <a:gd name="connsiteY0" fmla="*/ 1851552 h 6114381"/>
                  <a:gd name="connsiteX1" fmla="*/ 1845693 w 6123903"/>
                  <a:gd name="connsiteY1" fmla="*/ 3070752 h 6114381"/>
                  <a:gd name="connsiteX2" fmla="*/ 3064893 w 6123903"/>
                  <a:gd name="connsiteY2" fmla="*/ 4289952 h 6114381"/>
                  <a:gd name="connsiteX3" fmla="*/ 4284093 w 6123903"/>
                  <a:gd name="connsiteY3" fmla="*/ 3070752 h 6114381"/>
                  <a:gd name="connsiteX4" fmla="*/ 3064893 w 6123903"/>
                  <a:gd name="connsiteY4" fmla="*/ 1851552 h 6114381"/>
                  <a:gd name="connsiteX5" fmla="*/ 2686685 w 6123903"/>
                  <a:gd name="connsiteY5" fmla="*/ 0 h 6114381"/>
                  <a:gd name="connsiteX6" fmla="*/ 3422929 w 6123903"/>
                  <a:gd name="connsiteY6" fmla="*/ 0 h 6114381"/>
                  <a:gd name="connsiteX7" fmla="*/ 3678191 w 6123903"/>
                  <a:gd name="connsiteY7" fmla="*/ 710255 h 6114381"/>
                  <a:gd name="connsiteX8" fmla="*/ 3818556 w 6123903"/>
                  <a:gd name="connsiteY8" fmla="*/ 751055 h 6114381"/>
                  <a:gd name="connsiteX9" fmla="*/ 4227179 w 6123903"/>
                  <a:gd name="connsiteY9" fmla="*/ 926655 h 6114381"/>
                  <a:gd name="connsiteX10" fmla="*/ 4282555 w 6123903"/>
                  <a:gd name="connsiteY10" fmla="*/ 960296 h 6114381"/>
                  <a:gd name="connsiteX11" fmla="*/ 4970765 w 6123903"/>
                  <a:gd name="connsiteY11" fmla="*/ 634253 h 6114381"/>
                  <a:gd name="connsiteX12" fmla="*/ 5488211 w 6123903"/>
                  <a:gd name="connsiteY12" fmla="*/ 1157995 h 6114381"/>
                  <a:gd name="connsiteX13" fmla="*/ 5164247 w 6123903"/>
                  <a:gd name="connsiteY13" fmla="*/ 1834816 h 6114381"/>
                  <a:gd name="connsiteX14" fmla="*/ 5208991 w 6123903"/>
                  <a:gd name="connsiteY14" fmla="*/ 1908466 h 6114381"/>
                  <a:gd name="connsiteX15" fmla="*/ 5384591 w 6123903"/>
                  <a:gd name="connsiteY15" fmla="*/ 2317090 h 6114381"/>
                  <a:gd name="connsiteX16" fmla="*/ 5421936 w 6123903"/>
                  <a:gd name="connsiteY16" fmla="*/ 2445569 h 6114381"/>
                  <a:gd name="connsiteX17" fmla="*/ 6123903 w 6123903"/>
                  <a:gd name="connsiteY17" fmla="*/ 2691449 h 6114381"/>
                  <a:gd name="connsiteX18" fmla="*/ 6123903 w 6123903"/>
                  <a:gd name="connsiteY18" fmla="*/ 3427693 h 6114381"/>
                  <a:gd name="connsiteX19" fmla="*/ 5426625 w 6123903"/>
                  <a:gd name="connsiteY19" fmla="*/ 3678291 h 6114381"/>
                  <a:gd name="connsiteX20" fmla="*/ 5390304 w 6123903"/>
                  <a:gd name="connsiteY20" fmla="*/ 3806584 h 6114381"/>
                  <a:gd name="connsiteX21" fmla="*/ 5222916 w 6123903"/>
                  <a:gd name="connsiteY21" fmla="*/ 4207031 h 6114381"/>
                  <a:gd name="connsiteX22" fmla="*/ 5171917 w 6123903"/>
                  <a:gd name="connsiteY22" fmla="*/ 4295117 h 6114381"/>
                  <a:gd name="connsiteX23" fmla="*/ 5484219 w 6123903"/>
                  <a:gd name="connsiteY23" fmla="*/ 4978630 h 6114381"/>
                  <a:gd name="connsiteX24" fmla="*/ 4953361 w 6123903"/>
                  <a:gd name="connsiteY24" fmla="*/ 5488772 h 6114381"/>
                  <a:gd name="connsiteX25" fmla="*/ 4307701 w 6123903"/>
                  <a:gd name="connsiteY25" fmla="*/ 5168660 h 6114381"/>
                  <a:gd name="connsiteX26" fmla="*/ 4148601 w 6123903"/>
                  <a:gd name="connsiteY26" fmla="*/ 5255702 h 6114381"/>
                  <a:gd name="connsiteX27" fmla="*/ 3789999 w 6123903"/>
                  <a:gd name="connsiteY27" fmla="*/ 5399527 h 6114381"/>
                  <a:gd name="connsiteX28" fmla="*/ 3672243 w 6123903"/>
                  <a:gd name="connsiteY28" fmla="*/ 5429805 h 6114381"/>
                  <a:gd name="connsiteX29" fmla="*/ 3432454 w 6123903"/>
                  <a:gd name="connsiteY29" fmla="*/ 6114381 h 6114381"/>
                  <a:gd name="connsiteX30" fmla="*/ 2696210 w 6123903"/>
                  <a:gd name="connsiteY30" fmla="*/ 6114381 h 6114381"/>
                  <a:gd name="connsiteX31" fmla="*/ 2450436 w 6123903"/>
                  <a:gd name="connsiteY31" fmla="*/ 5430525 h 6114381"/>
                  <a:gd name="connsiteX32" fmla="*/ 2329062 w 6123903"/>
                  <a:gd name="connsiteY32" fmla="*/ 5396163 h 6114381"/>
                  <a:gd name="connsiteX33" fmla="*/ 1928614 w 6123903"/>
                  <a:gd name="connsiteY33" fmla="*/ 5228775 h 6114381"/>
                  <a:gd name="connsiteX34" fmla="*/ 1815331 w 6123903"/>
                  <a:gd name="connsiteY34" fmla="*/ 5163187 h 6114381"/>
                  <a:gd name="connsiteX35" fmla="*/ 1167731 w 6123903"/>
                  <a:gd name="connsiteY35" fmla="*/ 5490605 h 6114381"/>
                  <a:gd name="connsiteX36" fmla="*/ 637011 w 6123903"/>
                  <a:gd name="connsiteY36" fmla="*/ 4980320 h 6114381"/>
                  <a:gd name="connsiteX37" fmla="*/ 949593 w 6123903"/>
                  <a:gd name="connsiteY37" fmla="*/ 4281769 h 6114381"/>
                  <a:gd name="connsiteX38" fmla="*/ 879944 w 6123903"/>
                  <a:gd name="connsiteY38" fmla="*/ 4154460 h 6114381"/>
                  <a:gd name="connsiteX39" fmla="*/ 736119 w 6123903"/>
                  <a:gd name="connsiteY39" fmla="*/ 3795858 h 6114381"/>
                  <a:gd name="connsiteX40" fmla="*/ 704946 w 6123903"/>
                  <a:gd name="connsiteY40" fmla="*/ 3674624 h 6114381"/>
                  <a:gd name="connsiteX41" fmla="*/ 0 w 6123903"/>
                  <a:gd name="connsiteY41" fmla="*/ 3427700 h 6114381"/>
                  <a:gd name="connsiteX42" fmla="*/ 0 w 6123903"/>
                  <a:gd name="connsiteY42" fmla="*/ 2691456 h 6114381"/>
                  <a:gd name="connsiteX43" fmla="*/ 710874 w 6123903"/>
                  <a:gd name="connsiteY43" fmla="*/ 2435971 h 6114381"/>
                  <a:gd name="connsiteX44" fmla="*/ 739483 w 6123903"/>
                  <a:gd name="connsiteY44" fmla="*/ 2334920 h 6114381"/>
                  <a:gd name="connsiteX45" fmla="*/ 906871 w 6123903"/>
                  <a:gd name="connsiteY45" fmla="*/ 1934473 h 6114381"/>
                  <a:gd name="connsiteX46" fmla="*/ 966845 w 6123903"/>
                  <a:gd name="connsiteY46" fmla="*/ 1830886 h 6114381"/>
                  <a:gd name="connsiteX47" fmla="*/ 638488 w 6123903"/>
                  <a:gd name="connsiteY47" fmla="*/ 1160565 h 6114381"/>
                  <a:gd name="connsiteX48" fmla="*/ 1155427 w 6123903"/>
                  <a:gd name="connsiteY48" fmla="*/ 636323 h 6114381"/>
                  <a:gd name="connsiteX49" fmla="*/ 1849874 w 6123903"/>
                  <a:gd name="connsiteY49" fmla="*/ 957643 h 6114381"/>
                  <a:gd name="connsiteX50" fmla="*/ 1981186 w 6123903"/>
                  <a:gd name="connsiteY50" fmla="*/ 885803 h 6114381"/>
                  <a:gd name="connsiteX51" fmla="*/ 2339788 w 6123903"/>
                  <a:gd name="connsiteY51" fmla="*/ 741978 h 6114381"/>
                  <a:gd name="connsiteX52" fmla="*/ 2435401 w 6123903"/>
                  <a:gd name="connsiteY52" fmla="*/ 717393 h 611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6123903" h="6114381">
                    <a:moveTo>
                      <a:pt x="3064893" y="1851552"/>
                    </a:moveTo>
                    <a:cubicBezTo>
                      <a:pt x="2391547" y="1851552"/>
                      <a:pt x="1845693" y="2397406"/>
                      <a:pt x="1845693" y="3070752"/>
                    </a:cubicBezTo>
                    <a:cubicBezTo>
                      <a:pt x="1845693" y="3744098"/>
                      <a:pt x="2391547" y="4289952"/>
                      <a:pt x="3064893" y="4289952"/>
                    </a:cubicBezTo>
                    <a:cubicBezTo>
                      <a:pt x="3738239" y="4289952"/>
                      <a:pt x="4284093" y="3744098"/>
                      <a:pt x="4284093" y="3070752"/>
                    </a:cubicBezTo>
                    <a:cubicBezTo>
                      <a:pt x="4284093" y="2397406"/>
                      <a:pt x="3738239" y="1851552"/>
                      <a:pt x="3064893" y="1851552"/>
                    </a:cubicBezTo>
                    <a:close/>
                    <a:moveTo>
                      <a:pt x="2686685" y="0"/>
                    </a:moveTo>
                    <a:lnTo>
                      <a:pt x="3422929" y="0"/>
                    </a:lnTo>
                    <a:lnTo>
                      <a:pt x="3678191" y="710255"/>
                    </a:lnTo>
                    <a:lnTo>
                      <a:pt x="3818556" y="751055"/>
                    </a:lnTo>
                    <a:cubicBezTo>
                      <a:pt x="3960958" y="797289"/>
                      <a:pt x="4097615" y="856271"/>
                      <a:pt x="4227179" y="926655"/>
                    </a:cubicBezTo>
                    <a:lnTo>
                      <a:pt x="4282555" y="960296"/>
                    </a:lnTo>
                    <a:lnTo>
                      <a:pt x="4970765" y="634253"/>
                    </a:lnTo>
                    <a:lnTo>
                      <a:pt x="5488211" y="1157995"/>
                    </a:lnTo>
                    <a:lnTo>
                      <a:pt x="5164247" y="1834816"/>
                    </a:lnTo>
                    <a:lnTo>
                      <a:pt x="5208991" y="1908466"/>
                    </a:lnTo>
                    <a:cubicBezTo>
                      <a:pt x="5279375" y="2038031"/>
                      <a:pt x="5338357" y="2174687"/>
                      <a:pt x="5384591" y="2317090"/>
                    </a:cubicBezTo>
                    <a:lnTo>
                      <a:pt x="5421936" y="2445569"/>
                    </a:lnTo>
                    <a:lnTo>
                      <a:pt x="6123903" y="2691449"/>
                    </a:lnTo>
                    <a:lnTo>
                      <a:pt x="6123903" y="3427693"/>
                    </a:lnTo>
                    <a:lnTo>
                      <a:pt x="5426625" y="3678291"/>
                    </a:lnTo>
                    <a:lnTo>
                      <a:pt x="5390304" y="3806584"/>
                    </a:lnTo>
                    <a:cubicBezTo>
                      <a:pt x="5346264" y="3945892"/>
                      <a:pt x="5290052" y="4079790"/>
                      <a:pt x="5222916" y="4207031"/>
                    </a:cubicBezTo>
                    <a:lnTo>
                      <a:pt x="5171917" y="4295117"/>
                    </a:lnTo>
                    <a:lnTo>
                      <a:pt x="5484219" y="4978630"/>
                    </a:lnTo>
                    <a:lnTo>
                      <a:pt x="4953361" y="5488772"/>
                    </a:lnTo>
                    <a:lnTo>
                      <a:pt x="4307701" y="5168660"/>
                    </a:lnTo>
                    <a:lnTo>
                      <a:pt x="4148601" y="5255702"/>
                    </a:lnTo>
                    <a:cubicBezTo>
                      <a:pt x="4033899" y="5312702"/>
                      <a:pt x="3914073" y="5360936"/>
                      <a:pt x="3789999" y="5399527"/>
                    </a:cubicBezTo>
                    <a:lnTo>
                      <a:pt x="3672243" y="5429805"/>
                    </a:lnTo>
                    <a:lnTo>
                      <a:pt x="3432454" y="6114381"/>
                    </a:lnTo>
                    <a:lnTo>
                      <a:pt x="2696210" y="6114381"/>
                    </a:lnTo>
                    <a:lnTo>
                      <a:pt x="2450436" y="5430525"/>
                    </a:lnTo>
                    <a:lnTo>
                      <a:pt x="2329062" y="5396163"/>
                    </a:lnTo>
                    <a:cubicBezTo>
                      <a:pt x="2189754" y="5352123"/>
                      <a:pt x="2055856" y="5295911"/>
                      <a:pt x="1928614" y="5228775"/>
                    </a:cubicBezTo>
                    <a:lnTo>
                      <a:pt x="1815331" y="5163187"/>
                    </a:lnTo>
                    <a:lnTo>
                      <a:pt x="1167731" y="5490605"/>
                    </a:lnTo>
                    <a:lnTo>
                      <a:pt x="637011" y="4980320"/>
                    </a:lnTo>
                    <a:lnTo>
                      <a:pt x="949593" y="4281769"/>
                    </a:lnTo>
                    <a:lnTo>
                      <a:pt x="879944" y="4154460"/>
                    </a:lnTo>
                    <a:cubicBezTo>
                      <a:pt x="822944" y="4039758"/>
                      <a:pt x="774710" y="3919932"/>
                      <a:pt x="736119" y="3795858"/>
                    </a:cubicBezTo>
                    <a:lnTo>
                      <a:pt x="704946" y="3674624"/>
                    </a:lnTo>
                    <a:lnTo>
                      <a:pt x="0" y="3427700"/>
                    </a:lnTo>
                    <a:lnTo>
                      <a:pt x="0" y="2691456"/>
                    </a:lnTo>
                    <a:lnTo>
                      <a:pt x="710874" y="2435971"/>
                    </a:lnTo>
                    <a:lnTo>
                      <a:pt x="739483" y="2334920"/>
                    </a:lnTo>
                    <a:cubicBezTo>
                      <a:pt x="783523" y="2195614"/>
                      <a:pt x="839735" y="2061715"/>
                      <a:pt x="906871" y="1934473"/>
                    </a:cubicBezTo>
                    <a:lnTo>
                      <a:pt x="966845" y="1830886"/>
                    </a:lnTo>
                    <a:lnTo>
                      <a:pt x="638488" y="1160565"/>
                    </a:lnTo>
                    <a:lnTo>
                      <a:pt x="1155427" y="636323"/>
                    </a:lnTo>
                    <a:lnTo>
                      <a:pt x="1849874" y="957643"/>
                    </a:lnTo>
                    <a:lnTo>
                      <a:pt x="1981186" y="885803"/>
                    </a:lnTo>
                    <a:cubicBezTo>
                      <a:pt x="2095887" y="828803"/>
                      <a:pt x="2215713" y="780570"/>
                      <a:pt x="2339788" y="741978"/>
                    </a:cubicBezTo>
                    <a:lnTo>
                      <a:pt x="2435401" y="717393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grpSp>
        <p:nvGrpSpPr>
          <p:cNvPr id="33" name="Group 4"/>
          <p:cNvGrpSpPr>
            <a:grpSpLocks noChangeAspect="1"/>
          </p:cNvGrpSpPr>
          <p:nvPr/>
        </p:nvGrpSpPr>
        <p:grpSpPr bwMode="auto">
          <a:xfrm>
            <a:off x="10903599" y="5498686"/>
            <a:ext cx="470121" cy="433038"/>
            <a:chOff x="-413" y="1979"/>
            <a:chExt cx="393" cy="362"/>
          </a:xfrm>
          <a:solidFill>
            <a:srgbClr val="26867C"/>
          </a:solidFill>
        </p:grpSpPr>
        <p:sp>
          <p:nvSpPr>
            <p:cNvPr id="36" name="Rectangle 6"/>
            <p:cNvSpPr>
              <a:spLocks noChangeArrowheads="1"/>
            </p:cNvSpPr>
            <p:nvPr/>
          </p:nvSpPr>
          <p:spPr bwMode="auto">
            <a:xfrm>
              <a:off x="-389" y="2104"/>
              <a:ext cx="17" cy="4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7"/>
            <p:cNvSpPr>
              <a:spLocks noChangeArrowheads="1"/>
            </p:cNvSpPr>
            <p:nvPr/>
          </p:nvSpPr>
          <p:spPr bwMode="auto">
            <a:xfrm>
              <a:off x="-389" y="2176"/>
              <a:ext cx="17" cy="4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8"/>
            <p:cNvSpPr>
              <a:spLocks/>
            </p:cNvSpPr>
            <p:nvPr/>
          </p:nvSpPr>
          <p:spPr bwMode="auto">
            <a:xfrm>
              <a:off x="-389" y="1979"/>
              <a:ext cx="305" cy="153"/>
            </a:xfrm>
            <a:custGeom>
              <a:avLst/>
              <a:gdLst>
                <a:gd name="T0" fmla="*/ 2746 w 2746"/>
                <a:gd name="T1" fmla="*/ 942 h 1381"/>
                <a:gd name="T2" fmla="*/ 2746 w 2746"/>
                <a:gd name="T3" fmla="*/ 1225 h 1381"/>
                <a:gd name="T4" fmla="*/ 2589 w 2746"/>
                <a:gd name="T5" fmla="*/ 1381 h 1381"/>
                <a:gd name="T6" fmla="*/ 2589 w 2746"/>
                <a:gd name="T7" fmla="*/ 287 h 1381"/>
                <a:gd name="T8" fmla="*/ 2586 w 2746"/>
                <a:gd name="T9" fmla="*/ 260 h 1381"/>
                <a:gd name="T10" fmla="*/ 2579 w 2746"/>
                <a:gd name="T11" fmla="*/ 236 h 1381"/>
                <a:gd name="T12" fmla="*/ 2567 w 2746"/>
                <a:gd name="T13" fmla="*/ 214 h 1381"/>
                <a:gd name="T14" fmla="*/ 2551 w 2746"/>
                <a:gd name="T15" fmla="*/ 195 h 1381"/>
                <a:gd name="T16" fmla="*/ 2531 w 2746"/>
                <a:gd name="T17" fmla="*/ 179 h 1381"/>
                <a:gd name="T18" fmla="*/ 2509 w 2746"/>
                <a:gd name="T19" fmla="*/ 166 h 1381"/>
                <a:gd name="T20" fmla="*/ 2484 w 2746"/>
                <a:gd name="T21" fmla="*/ 159 h 1381"/>
                <a:gd name="T22" fmla="*/ 2458 w 2746"/>
                <a:gd name="T23" fmla="*/ 156 h 1381"/>
                <a:gd name="T24" fmla="*/ 287 w 2746"/>
                <a:gd name="T25" fmla="*/ 156 h 1381"/>
                <a:gd name="T26" fmla="*/ 261 w 2746"/>
                <a:gd name="T27" fmla="*/ 159 h 1381"/>
                <a:gd name="T28" fmla="*/ 236 w 2746"/>
                <a:gd name="T29" fmla="*/ 166 h 1381"/>
                <a:gd name="T30" fmla="*/ 214 w 2746"/>
                <a:gd name="T31" fmla="*/ 179 h 1381"/>
                <a:gd name="T32" fmla="*/ 194 w 2746"/>
                <a:gd name="T33" fmla="*/ 195 h 1381"/>
                <a:gd name="T34" fmla="*/ 178 w 2746"/>
                <a:gd name="T35" fmla="*/ 214 h 1381"/>
                <a:gd name="T36" fmla="*/ 166 w 2746"/>
                <a:gd name="T37" fmla="*/ 236 h 1381"/>
                <a:gd name="T38" fmla="*/ 159 w 2746"/>
                <a:gd name="T39" fmla="*/ 260 h 1381"/>
                <a:gd name="T40" fmla="*/ 156 w 2746"/>
                <a:gd name="T41" fmla="*/ 287 h 1381"/>
                <a:gd name="T42" fmla="*/ 156 w 2746"/>
                <a:gd name="T43" fmla="*/ 832 h 1381"/>
                <a:gd name="T44" fmla="*/ 0 w 2746"/>
                <a:gd name="T45" fmla="*/ 832 h 1381"/>
                <a:gd name="T46" fmla="*/ 0 w 2746"/>
                <a:gd name="T47" fmla="*/ 287 h 1381"/>
                <a:gd name="T48" fmla="*/ 3 w 2746"/>
                <a:gd name="T49" fmla="*/ 244 h 1381"/>
                <a:gd name="T50" fmla="*/ 12 w 2746"/>
                <a:gd name="T51" fmla="*/ 205 h 1381"/>
                <a:gd name="T52" fmla="*/ 27 w 2746"/>
                <a:gd name="T53" fmla="*/ 166 h 1381"/>
                <a:gd name="T54" fmla="*/ 46 w 2746"/>
                <a:gd name="T55" fmla="*/ 131 h 1381"/>
                <a:gd name="T56" fmla="*/ 70 w 2746"/>
                <a:gd name="T57" fmla="*/ 99 h 1381"/>
                <a:gd name="T58" fmla="*/ 99 w 2746"/>
                <a:gd name="T59" fmla="*/ 71 h 1381"/>
                <a:gd name="T60" fmla="*/ 131 w 2746"/>
                <a:gd name="T61" fmla="*/ 46 h 1381"/>
                <a:gd name="T62" fmla="*/ 165 w 2746"/>
                <a:gd name="T63" fmla="*/ 27 h 1381"/>
                <a:gd name="T64" fmla="*/ 204 w 2746"/>
                <a:gd name="T65" fmla="*/ 13 h 1381"/>
                <a:gd name="T66" fmla="*/ 245 w 2746"/>
                <a:gd name="T67" fmla="*/ 3 h 1381"/>
                <a:gd name="T68" fmla="*/ 287 w 2746"/>
                <a:gd name="T69" fmla="*/ 0 h 1381"/>
                <a:gd name="T70" fmla="*/ 2458 w 2746"/>
                <a:gd name="T71" fmla="*/ 0 h 1381"/>
                <a:gd name="T72" fmla="*/ 2500 w 2746"/>
                <a:gd name="T73" fmla="*/ 3 h 1381"/>
                <a:gd name="T74" fmla="*/ 2541 w 2746"/>
                <a:gd name="T75" fmla="*/ 13 h 1381"/>
                <a:gd name="T76" fmla="*/ 2579 w 2746"/>
                <a:gd name="T77" fmla="*/ 27 h 1381"/>
                <a:gd name="T78" fmla="*/ 2614 w 2746"/>
                <a:gd name="T79" fmla="*/ 46 h 1381"/>
                <a:gd name="T80" fmla="*/ 2646 w 2746"/>
                <a:gd name="T81" fmla="*/ 71 h 1381"/>
                <a:gd name="T82" fmla="*/ 2674 w 2746"/>
                <a:gd name="T83" fmla="*/ 99 h 1381"/>
                <a:gd name="T84" fmla="*/ 2699 w 2746"/>
                <a:gd name="T85" fmla="*/ 131 h 1381"/>
                <a:gd name="T86" fmla="*/ 2718 w 2746"/>
                <a:gd name="T87" fmla="*/ 166 h 1381"/>
                <a:gd name="T88" fmla="*/ 2733 w 2746"/>
                <a:gd name="T89" fmla="*/ 205 h 1381"/>
                <a:gd name="T90" fmla="*/ 2742 w 2746"/>
                <a:gd name="T91" fmla="*/ 244 h 1381"/>
                <a:gd name="T92" fmla="*/ 2745 w 2746"/>
                <a:gd name="T93" fmla="*/ 287 h 1381"/>
                <a:gd name="T94" fmla="*/ 2745 w 2746"/>
                <a:gd name="T95" fmla="*/ 942 h 1381"/>
                <a:gd name="T96" fmla="*/ 2746 w 2746"/>
                <a:gd name="T97" fmla="*/ 942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46" h="1381">
                  <a:moveTo>
                    <a:pt x="2746" y="942"/>
                  </a:moveTo>
                  <a:lnTo>
                    <a:pt x="2746" y="1225"/>
                  </a:lnTo>
                  <a:lnTo>
                    <a:pt x="2589" y="1381"/>
                  </a:lnTo>
                  <a:lnTo>
                    <a:pt x="2589" y="287"/>
                  </a:lnTo>
                  <a:lnTo>
                    <a:pt x="2586" y="260"/>
                  </a:lnTo>
                  <a:lnTo>
                    <a:pt x="2579" y="236"/>
                  </a:lnTo>
                  <a:lnTo>
                    <a:pt x="2567" y="214"/>
                  </a:lnTo>
                  <a:lnTo>
                    <a:pt x="2551" y="195"/>
                  </a:lnTo>
                  <a:lnTo>
                    <a:pt x="2531" y="179"/>
                  </a:lnTo>
                  <a:lnTo>
                    <a:pt x="2509" y="166"/>
                  </a:lnTo>
                  <a:lnTo>
                    <a:pt x="2484" y="159"/>
                  </a:lnTo>
                  <a:lnTo>
                    <a:pt x="2458" y="156"/>
                  </a:lnTo>
                  <a:lnTo>
                    <a:pt x="287" y="156"/>
                  </a:lnTo>
                  <a:lnTo>
                    <a:pt x="261" y="159"/>
                  </a:lnTo>
                  <a:lnTo>
                    <a:pt x="236" y="166"/>
                  </a:lnTo>
                  <a:lnTo>
                    <a:pt x="214" y="179"/>
                  </a:lnTo>
                  <a:lnTo>
                    <a:pt x="194" y="195"/>
                  </a:lnTo>
                  <a:lnTo>
                    <a:pt x="178" y="214"/>
                  </a:lnTo>
                  <a:lnTo>
                    <a:pt x="166" y="236"/>
                  </a:lnTo>
                  <a:lnTo>
                    <a:pt x="159" y="260"/>
                  </a:lnTo>
                  <a:lnTo>
                    <a:pt x="156" y="287"/>
                  </a:lnTo>
                  <a:lnTo>
                    <a:pt x="156" y="832"/>
                  </a:lnTo>
                  <a:lnTo>
                    <a:pt x="0" y="832"/>
                  </a:lnTo>
                  <a:lnTo>
                    <a:pt x="0" y="287"/>
                  </a:lnTo>
                  <a:lnTo>
                    <a:pt x="3" y="244"/>
                  </a:lnTo>
                  <a:lnTo>
                    <a:pt x="12" y="205"/>
                  </a:lnTo>
                  <a:lnTo>
                    <a:pt x="27" y="166"/>
                  </a:lnTo>
                  <a:lnTo>
                    <a:pt x="46" y="131"/>
                  </a:lnTo>
                  <a:lnTo>
                    <a:pt x="70" y="99"/>
                  </a:lnTo>
                  <a:lnTo>
                    <a:pt x="99" y="71"/>
                  </a:lnTo>
                  <a:lnTo>
                    <a:pt x="131" y="46"/>
                  </a:lnTo>
                  <a:lnTo>
                    <a:pt x="165" y="27"/>
                  </a:lnTo>
                  <a:lnTo>
                    <a:pt x="204" y="13"/>
                  </a:lnTo>
                  <a:lnTo>
                    <a:pt x="245" y="3"/>
                  </a:lnTo>
                  <a:lnTo>
                    <a:pt x="287" y="0"/>
                  </a:lnTo>
                  <a:lnTo>
                    <a:pt x="2458" y="0"/>
                  </a:lnTo>
                  <a:lnTo>
                    <a:pt x="2500" y="3"/>
                  </a:lnTo>
                  <a:lnTo>
                    <a:pt x="2541" y="13"/>
                  </a:lnTo>
                  <a:lnTo>
                    <a:pt x="2579" y="27"/>
                  </a:lnTo>
                  <a:lnTo>
                    <a:pt x="2614" y="46"/>
                  </a:lnTo>
                  <a:lnTo>
                    <a:pt x="2646" y="71"/>
                  </a:lnTo>
                  <a:lnTo>
                    <a:pt x="2674" y="99"/>
                  </a:lnTo>
                  <a:lnTo>
                    <a:pt x="2699" y="131"/>
                  </a:lnTo>
                  <a:lnTo>
                    <a:pt x="2718" y="166"/>
                  </a:lnTo>
                  <a:lnTo>
                    <a:pt x="2733" y="205"/>
                  </a:lnTo>
                  <a:lnTo>
                    <a:pt x="2742" y="244"/>
                  </a:lnTo>
                  <a:lnTo>
                    <a:pt x="2745" y="287"/>
                  </a:lnTo>
                  <a:lnTo>
                    <a:pt x="2745" y="942"/>
                  </a:lnTo>
                  <a:lnTo>
                    <a:pt x="2746" y="9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-389" y="2235"/>
              <a:ext cx="305" cy="106"/>
            </a:xfrm>
            <a:custGeom>
              <a:avLst/>
              <a:gdLst>
                <a:gd name="T0" fmla="*/ 2662 w 2746"/>
                <a:gd name="T1" fmla="*/ 53 h 954"/>
                <a:gd name="T2" fmla="*/ 2689 w 2746"/>
                <a:gd name="T3" fmla="*/ 66 h 954"/>
                <a:gd name="T4" fmla="*/ 2717 w 2746"/>
                <a:gd name="T5" fmla="*/ 74 h 954"/>
                <a:gd name="T6" fmla="*/ 2746 w 2746"/>
                <a:gd name="T7" fmla="*/ 78 h 954"/>
                <a:gd name="T8" fmla="*/ 2746 w 2746"/>
                <a:gd name="T9" fmla="*/ 667 h 954"/>
                <a:gd name="T10" fmla="*/ 2743 w 2746"/>
                <a:gd name="T11" fmla="*/ 710 h 954"/>
                <a:gd name="T12" fmla="*/ 2733 w 2746"/>
                <a:gd name="T13" fmla="*/ 749 h 954"/>
                <a:gd name="T14" fmla="*/ 2719 w 2746"/>
                <a:gd name="T15" fmla="*/ 788 h 954"/>
                <a:gd name="T16" fmla="*/ 2699 w 2746"/>
                <a:gd name="T17" fmla="*/ 823 h 954"/>
                <a:gd name="T18" fmla="*/ 2675 w 2746"/>
                <a:gd name="T19" fmla="*/ 854 h 954"/>
                <a:gd name="T20" fmla="*/ 2646 w 2746"/>
                <a:gd name="T21" fmla="*/ 883 h 954"/>
                <a:gd name="T22" fmla="*/ 2614 w 2746"/>
                <a:gd name="T23" fmla="*/ 907 h 954"/>
                <a:gd name="T24" fmla="*/ 2579 w 2746"/>
                <a:gd name="T25" fmla="*/ 927 h 954"/>
                <a:gd name="T26" fmla="*/ 2541 w 2746"/>
                <a:gd name="T27" fmla="*/ 941 h 954"/>
                <a:gd name="T28" fmla="*/ 2500 w 2746"/>
                <a:gd name="T29" fmla="*/ 951 h 954"/>
                <a:gd name="T30" fmla="*/ 2458 w 2746"/>
                <a:gd name="T31" fmla="*/ 954 h 954"/>
                <a:gd name="T32" fmla="*/ 287 w 2746"/>
                <a:gd name="T33" fmla="*/ 954 h 954"/>
                <a:gd name="T34" fmla="*/ 245 w 2746"/>
                <a:gd name="T35" fmla="*/ 951 h 954"/>
                <a:gd name="T36" fmla="*/ 204 w 2746"/>
                <a:gd name="T37" fmla="*/ 941 h 954"/>
                <a:gd name="T38" fmla="*/ 165 w 2746"/>
                <a:gd name="T39" fmla="*/ 927 h 954"/>
                <a:gd name="T40" fmla="*/ 131 w 2746"/>
                <a:gd name="T41" fmla="*/ 907 h 954"/>
                <a:gd name="T42" fmla="*/ 99 w 2746"/>
                <a:gd name="T43" fmla="*/ 883 h 954"/>
                <a:gd name="T44" fmla="*/ 70 w 2746"/>
                <a:gd name="T45" fmla="*/ 854 h 954"/>
                <a:gd name="T46" fmla="*/ 46 w 2746"/>
                <a:gd name="T47" fmla="*/ 823 h 954"/>
                <a:gd name="T48" fmla="*/ 27 w 2746"/>
                <a:gd name="T49" fmla="*/ 788 h 954"/>
                <a:gd name="T50" fmla="*/ 12 w 2746"/>
                <a:gd name="T51" fmla="*/ 749 h 954"/>
                <a:gd name="T52" fmla="*/ 3 w 2746"/>
                <a:gd name="T53" fmla="*/ 710 h 954"/>
                <a:gd name="T54" fmla="*/ 0 w 2746"/>
                <a:gd name="T55" fmla="*/ 667 h 954"/>
                <a:gd name="T56" fmla="*/ 0 w 2746"/>
                <a:gd name="T57" fmla="*/ 123 h 954"/>
                <a:gd name="T58" fmla="*/ 156 w 2746"/>
                <a:gd name="T59" fmla="*/ 123 h 954"/>
                <a:gd name="T60" fmla="*/ 156 w 2746"/>
                <a:gd name="T61" fmla="*/ 667 h 954"/>
                <a:gd name="T62" fmla="*/ 159 w 2746"/>
                <a:gd name="T63" fmla="*/ 694 h 954"/>
                <a:gd name="T64" fmla="*/ 166 w 2746"/>
                <a:gd name="T65" fmla="*/ 718 h 954"/>
                <a:gd name="T66" fmla="*/ 178 w 2746"/>
                <a:gd name="T67" fmla="*/ 740 h 954"/>
                <a:gd name="T68" fmla="*/ 194 w 2746"/>
                <a:gd name="T69" fmla="*/ 759 h 954"/>
                <a:gd name="T70" fmla="*/ 214 w 2746"/>
                <a:gd name="T71" fmla="*/ 775 h 954"/>
                <a:gd name="T72" fmla="*/ 236 w 2746"/>
                <a:gd name="T73" fmla="*/ 788 h 954"/>
                <a:gd name="T74" fmla="*/ 261 w 2746"/>
                <a:gd name="T75" fmla="*/ 795 h 954"/>
                <a:gd name="T76" fmla="*/ 287 w 2746"/>
                <a:gd name="T77" fmla="*/ 798 h 954"/>
                <a:gd name="T78" fmla="*/ 2458 w 2746"/>
                <a:gd name="T79" fmla="*/ 798 h 954"/>
                <a:gd name="T80" fmla="*/ 2484 w 2746"/>
                <a:gd name="T81" fmla="*/ 795 h 954"/>
                <a:gd name="T82" fmla="*/ 2509 w 2746"/>
                <a:gd name="T83" fmla="*/ 788 h 954"/>
                <a:gd name="T84" fmla="*/ 2531 w 2746"/>
                <a:gd name="T85" fmla="*/ 775 h 954"/>
                <a:gd name="T86" fmla="*/ 2551 w 2746"/>
                <a:gd name="T87" fmla="*/ 759 h 954"/>
                <a:gd name="T88" fmla="*/ 2567 w 2746"/>
                <a:gd name="T89" fmla="*/ 740 h 954"/>
                <a:gd name="T90" fmla="*/ 2579 w 2746"/>
                <a:gd name="T91" fmla="*/ 718 h 954"/>
                <a:gd name="T92" fmla="*/ 2587 w 2746"/>
                <a:gd name="T93" fmla="*/ 694 h 954"/>
                <a:gd name="T94" fmla="*/ 2589 w 2746"/>
                <a:gd name="T95" fmla="*/ 667 h 954"/>
                <a:gd name="T96" fmla="*/ 2589 w 2746"/>
                <a:gd name="T97" fmla="*/ 181 h 954"/>
                <a:gd name="T98" fmla="*/ 2589 w 2746"/>
                <a:gd name="T99" fmla="*/ 181 h 954"/>
                <a:gd name="T100" fmla="*/ 2589 w 2746"/>
                <a:gd name="T101" fmla="*/ 9 h 954"/>
                <a:gd name="T102" fmla="*/ 2599 w 2746"/>
                <a:gd name="T103" fmla="*/ 0 h 954"/>
                <a:gd name="T104" fmla="*/ 2617 w 2746"/>
                <a:gd name="T105" fmla="*/ 20 h 954"/>
                <a:gd name="T106" fmla="*/ 2639 w 2746"/>
                <a:gd name="T107" fmla="*/ 38 h 954"/>
                <a:gd name="T108" fmla="*/ 2662 w 2746"/>
                <a:gd name="T109" fmla="*/ 53 h 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46" h="954">
                  <a:moveTo>
                    <a:pt x="2662" y="53"/>
                  </a:moveTo>
                  <a:lnTo>
                    <a:pt x="2689" y="66"/>
                  </a:lnTo>
                  <a:lnTo>
                    <a:pt x="2717" y="74"/>
                  </a:lnTo>
                  <a:lnTo>
                    <a:pt x="2746" y="78"/>
                  </a:lnTo>
                  <a:lnTo>
                    <a:pt x="2746" y="667"/>
                  </a:lnTo>
                  <a:lnTo>
                    <a:pt x="2743" y="710"/>
                  </a:lnTo>
                  <a:lnTo>
                    <a:pt x="2733" y="749"/>
                  </a:lnTo>
                  <a:lnTo>
                    <a:pt x="2719" y="788"/>
                  </a:lnTo>
                  <a:lnTo>
                    <a:pt x="2699" y="823"/>
                  </a:lnTo>
                  <a:lnTo>
                    <a:pt x="2675" y="854"/>
                  </a:lnTo>
                  <a:lnTo>
                    <a:pt x="2646" y="883"/>
                  </a:lnTo>
                  <a:lnTo>
                    <a:pt x="2614" y="907"/>
                  </a:lnTo>
                  <a:lnTo>
                    <a:pt x="2579" y="927"/>
                  </a:lnTo>
                  <a:lnTo>
                    <a:pt x="2541" y="941"/>
                  </a:lnTo>
                  <a:lnTo>
                    <a:pt x="2500" y="951"/>
                  </a:lnTo>
                  <a:lnTo>
                    <a:pt x="2458" y="954"/>
                  </a:lnTo>
                  <a:lnTo>
                    <a:pt x="287" y="954"/>
                  </a:lnTo>
                  <a:lnTo>
                    <a:pt x="245" y="951"/>
                  </a:lnTo>
                  <a:lnTo>
                    <a:pt x="204" y="941"/>
                  </a:lnTo>
                  <a:lnTo>
                    <a:pt x="165" y="927"/>
                  </a:lnTo>
                  <a:lnTo>
                    <a:pt x="131" y="907"/>
                  </a:lnTo>
                  <a:lnTo>
                    <a:pt x="99" y="883"/>
                  </a:lnTo>
                  <a:lnTo>
                    <a:pt x="70" y="854"/>
                  </a:lnTo>
                  <a:lnTo>
                    <a:pt x="46" y="823"/>
                  </a:lnTo>
                  <a:lnTo>
                    <a:pt x="27" y="788"/>
                  </a:lnTo>
                  <a:lnTo>
                    <a:pt x="12" y="749"/>
                  </a:lnTo>
                  <a:lnTo>
                    <a:pt x="3" y="710"/>
                  </a:lnTo>
                  <a:lnTo>
                    <a:pt x="0" y="667"/>
                  </a:lnTo>
                  <a:lnTo>
                    <a:pt x="0" y="123"/>
                  </a:lnTo>
                  <a:lnTo>
                    <a:pt x="156" y="123"/>
                  </a:lnTo>
                  <a:lnTo>
                    <a:pt x="156" y="667"/>
                  </a:lnTo>
                  <a:lnTo>
                    <a:pt x="159" y="694"/>
                  </a:lnTo>
                  <a:lnTo>
                    <a:pt x="166" y="718"/>
                  </a:lnTo>
                  <a:lnTo>
                    <a:pt x="178" y="740"/>
                  </a:lnTo>
                  <a:lnTo>
                    <a:pt x="194" y="759"/>
                  </a:lnTo>
                  <a:lnTo>
                    <a:pt x="214" y="775"/>
                  </a:lnTo>
                  <a:lnTo>
                    <a:pt x="236" y="788"/>
                  </a:lnTo>
                  <a:lnTo>
                    <a:pt x="261" y="795"/>
                  </a:lnTo>
                  <a:lnTo>
                    <a:pt x="287" y="798"/>
                  </a:lnTo>
                  <a:lnTo>
                    <a:pt x="2458" y="798"/>
                  </a:lnTo>
                  <a:lnTo>
                    <a:pt x="2484" y="795"/>
                  </a:lnTo>
                  <a:lnTo>
                    <a:pt x="2509" y="788"/>
                  </a:lnTo>
                  <a:lnTo>
                    <a:pt x="2531" y="775"/>
                  </a:lnTo>
                  <a:lnTo>
                    <a:pt x="2551" y="759"/>
                  </a:lnTo>
                  <a:lnTo>
                    <a:pt x="2567" y="740"/>
                  </a:lnTo>
                  <a:lnTo>
                    <a:pt x="2579" y="718"/>
                  </a:lnTo>
                  <a:lnTo>
                    <a:pt x="2587" y="694"/>
                  </a:lnTo>
                  <a:lnTo>
                    <a:pt x="2589" y="667"/>
                  </a:lnTo>
                  <a:lnTo>
                    <a:pt x="2589" y="181"/>
                  </a:lnTo>
                  <a:lnTo>
                    <a:pt x="2589" y="181"/>
                  </a:lnTo>
                  <a:lnTo>
                    <a:pt x="2589" y="9"/>
                  </a:lnTo>
                  <a:lnTo>
                    <a:pt x="2599" y="0"/>
                  </a:lnTo>
                  <a:lnTo>
                    <a:pt x="2617" y="20"/>
                  </a:lnTo>
                  <a:lnTo>
                    <a:pt x="2639" y="38"/>
                  </a:lnTo>
                  <a:lnTo>
                    <a:pt x="2662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0"/>
            <p:cNvSpPr>
              <a:spLocks/>
            </p:cNvSpPr>
            <p:nvPr/>
          </p:nvSpPr>
          <p:spPr bwMode="auto">
            <a:xfrm>
              <a:off x="-413" y="2218"/>
              <a:ext cx="72" cy="29"/>
            </a:xfrm>
            <a:custGeom>
              <a:avLst/>
              <a:gdLst>
                <a:gd name="T0" fmla="*/ 400 w 647"/>
                <a:gd name="T1" fmla="*/ 64 h 264"/>
                <a:gd name="T2" fmla="*/ 68 w 647"/>
                <a:gd name="T3" fmla="*/ 64 h 264"/>
                <a:gd name="T4" fmla="*/ 51 w 647"/>
                <a:gd name="T5" fmla="*/ 67 h 264"/>
                <a:gd name="T6" fmla="*/ 35 w 647"/>
                <a:gd name="T7" fmla="*/ 73 h 264"/>
                <a:gd name="T8" fmla="*/ 21 w 647"/>
                <a:gd name="T9" fmla="*/ 84 h 264"/>
                <a:gd name="T10" fmla="*/ 10 w 647"/>
                <a:gd name="T11" fmla="*/ 97 h 264"/>
                <a:gd name="T12" fmla="*/ 4 w 647"/>
                <a:gd name="T13" fmla="*/ 114 h 264"/>
                <a:gd name="T14" fmla="*/ 0 w 647"/>
                <a:gd name="T15" fmla="*/ 131 h 264"/>
                <a:gd name="T16" fmla="*/ 4 w 647"/>
                <a:gd name="T17" fmla="*/ 149 h 264"/>
                <a:gd name="T18" fmla="*/ 10 w 647"/>
                <a:gd name="T19" fmla="*/ 166 h 264"/>
                <a:gd name="T20" fmla="*/ 21 w 647"/>
                <a:gd name="T21" fmla="*/ 179 h 264"/>
                <a:gd name="T22" fmla="*/ 35 w 647"/>
                <a:gd name="T23" fmla="*/ 190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0 h 264"/>
                <a:gd name="T32" fmla="*/ 437 w 647"/>
                <a:gd name="T33" fmla="*/ 238 h 264"/>
                <a:gd name="T34" fmla="*/ 459 w 647"/>
                <a:gd name="T35" fmla="*/ 252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1 h 264"/>
                <a:gd name="T42" fmla="*/ 566 w 647"/>
                <a:gd name="T43" fmla="*/ 253 h 264"/>
                <a:gd name="T44" fmla="*/ 588 w 647"/>
                <a:gd name="T45" fmla="*/ 242 h 264"/>
                <a:gd name="T46" fmla="*/ 607 w 647"/>
                <a:gd name="T47" fmla="*/ 224 h 264"/>
                <a:gd name="T48" fmla="*/ 624 w 647"/>
                <a:gd name="T49" fmla="*/ 205 h 264"/>
                <a:gd name="T50" fmla="*/ 636 w 647"/>
                <a:gd name="T51" fmla="*/ 183 h 264"/>
                <a:gd name="T52" fmla="*/ 644 w 647"/>
                <a:gd name="T53" fmla="*/ 158 h 264"/>
                <a:gd name="T54" fmla="*/ 647 w 647"/>
                <a:gd name="T55" fmla="*/ 131 h 264"/>
                <a:gd name="T56" fmla="*/ 644 w 647"/>
                <a:gd name="T57" fmla="*/ 104 h 264"/>
                <a:gd name="T58" fmla="*/ 636 w 647"/>
                <a:gd name="T59" fmla="*/ 80 h 264"/>
                <a:gd name="T60" fmla="*/ 624 w 647"/>
                <a:gd name="T61" fmla="*/ 57 h 264"/>
                <a:gd name="T62" fmla="*/ 607 w 647"/>
                <a:gd name="T63" fmla="*/ 38 h 264"/>
                <a:gd name="T64" fmla="*/ 588 w 647"/>
                <a:gd name="T65" fmla="*/ 22 h 264"/>
                <a:gd name="T66" fmla="*/ 566 w 647"/>
                <a:gd name="T67" fmla="*/ 9 h 264"/>
                <a:gd name="T68" fmla="*/ 541 w 647"/>
                <a:gd name="T69" fmla="*/ 2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1 h 264"/>
                <a:gd name="T76" fmla="*/ 437 w 647"/>
                <a:gd name="T77" fmla="*/ 24 h 264"/>
                <a:gd name="T78" fmla="*/ 416 w 647"/>
                <a:gd name="T79" fmla="*/ 42 h 264"/>
                <a:gd name="T80" fmla="*/ 400 w 647"/>
                <a:gd name="T81" fmla="*/ 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4"/>
                  </a:moveTo>
                  <a:lnTo>
                    <a:pt x="68" y="64"/>
                  </a:lnTo>
                  <a:lnTo>
                    <a:pt x="51" y="67"/>
                  </a:lnTo>
                  <a:lnTo>
                    <a:pt x="35" y="73"/>
                  </a:lnTo>
                  <a:lnTo>
                    <a:pt x="21" y="84"/>
                  </a:lnTo>
                  <a:lnTo>
                    <a:pt x="10" y="97"/>
                  </a:lnTo>
                  <a:lnTo>
                    <a:pt x="4" y="114"/>
                  </a:lnTo>
                  <a:lnTo>
                    <a:pt x="0" y="131"/>
                  </a:lnTo>
                  <a:lnTo>
                    <a:pt x="4" y="149"/>
                  </a:lnTo>
                  <a:lnTo>
                    <a:pt x="10" y="166"/>
                  </a:lnTo>
                  <a:lnTo>
                    <a:pt x="21" y="179"/>
                  </a:lnTo>
                  <a:lnTo>
                    <a:pt x="35" y="190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0"/>
                  </a:lnTo>
                  <a:lnTo>
                    <a:pt x="437" y="238"/>
                  </a:lnTo>
                  <a:lnTo>
                    <a:pt x="459" y="252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1"/>
                  </a:lnTo>
                  <a:lnTo>
                    <a:pt x="566" y="253"/>
                  </a:lnTo>
                  <a:lnTo>
                    <a:pt x="588" y="242"/>
                  </a:lnTo>
                  <a:lnTo>
                    <a:pt x="607" y="224"/>
                  </a:lnTo>
                  <a:lnTo>
                    <a:pt x="624" y="205"/>
                  </a:lnTo>
                  <a:lnTo>
                    <a:pt x="636" y="183"/>
                  </a:lnTo>
                  <a:lnTo>
                    <a:pt x="644" y="158"/>
                  </a:lnTo>
                  <a:lnTo>
                    <a:pt x="647" y="131"/>
                  </a:lnTo>
                  <a:lnTo>
                    <a:pt x="644" y="104"/>
                  </a:lnTo>
                  <a:lnTo>
                    <a:pt x="636" y="80"/>
                  </a:lnTo>
                  <a:lnTo>
                    <a:pt x="624" y="57"/>
                  </a:lnTo>
                  <a:lnTo>
                    <a:pt x="607" y="38"/>
                  </a:lnTo>
                  <a:lnTo>
                    <a:pt x="588" y="22"/>
                  </a:lnTo>
                  <a:lnTo>
                    <a:pt x="566" y="9"/>
                  </a:lnTo>
                  <a:lnTo>
                    <a:pt x="541" y="2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1"/>
                  </a:lnTo>
                  <a:lnTo>
                    <a:pt x="437" y="24"/>
                  </a:lnTo>
                  <a:lnTo>
                    <a:pt x="416" y="42"/>
                  </a:lnTo>
                  <a:lnTo>
                    <a:pt x="400" y="6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1"/>
            <p:cNvSpPr>
              <a:spLocks/>
            </p:cNvSpPr>
            <p:nvPr/>
          </p:nvSpPr>
          <p:spPr bwMode="auto">
            <a:xfrm>
              <a:off x="-413" y="2145"/>
              <a:ext cx="72" cy="30"/>
            </a:xfrm>
            <a:custGeom>
              <a:avLst/>
              <a:gdLst>
                <a:gd name="T0" fmla="*/ 400 w 647"/>
                <a:gd name="T1" fmla="*/ 66 h 265"/>
                <a:gd name="T2" fmla="*/ 68 w 647"/>
                <a:gd name="T3" fmla="*/ 66 h 265"/>
                <a:gd name="T4" fmla="*/ 51 w 647"/>
                <a:gd name="T5" fmla="*/ 68 h 265"/>
                <a:gd name="T6" fmla="*/ 35 w 647"/>
                <a:gd name="T7" fmla="*/ 74 h 265"/>
                <a:gd name="T8" fmla="*/ 21 w 647"/>
                <a:gd name="T9" fmla="*/ 85 h 265"/>
                <a:gd name="T10" fmla="*/ 10 w 647"/>
                <a:gd name="T11" fmla="*/ 99 h 265"/>
                <a:gd name="T12" fmla="*/ 4 w 647"/>
                <a:gd name="T13" fmla="*/ 115 h 265"/>
                <a:gd name="T14" fmla="*/ 0 w 647"/>
                <a:gd name="T15" fmla="*/ 132 h 265"/>
                <a:gd name="T16" fmla="*/ 4 w 647"/>
                <a:gd name="T17" fmla="*/ 151 h 265"/>
                <a:gd name="T18" fmla="*/ 10 w 647"/>
                <a:gd name="T19" fmla="*/ 167 h 265"/>
                <a:gd name="T20" fmla="*/ 21 w 647"/>
                <a:gd name="T21" fmla="*/ 181 h 265"/>
                <a:gd name="T22" fmla="*/ 35 w 647"/>
                <a:gd name="T23" fmla="*/ 191 h 265"/>
                <a:gd name="T24" fmla="*/ 51 w 647"/>
                <a:gd name="T25" fmla="*/ 198 h 265"/>
                <a:gd name="T26" fmla="*/ 68 w 647"/>
                <a:gd name="T27" fmla="*/ 200 h 265"/>
                <a:gd name="T28" fmla="*/ 400 w 647"/>
                <a:gd name="T29" fmla="*/ 200 h 265"/>
                <a:gd name="T30" fmla="*/ 416 w 647"/>
                <a:gd name="T31" fmla="*/ 222 h 265"/>
                <a:gd name="T32" fmla="*/ 437 w 647"/>
                <a:gd name="T33" fmla="*/ 240 h 265"/>
                <a:gd name="T34" fmla="*/ 460 w 647"/>
                <a:gd name="T35" fmla="*/ 253 h 265"/>
                <a:gd name="T36" fmla="*/ 486 w 647"/>
                <a:gd name="T37" fmla="*/ 262 h 265"/>
                <a:gd name="T38" fmla="*/ 514 w 647"/>
                <a:gd name="T39" fmla="*/ 265 h 265"/>
                <a:gd name="T40" fmla="*/ 541 w 647"/>
                <a:gd name="T41" fmla="*/ 263 h 265"/>
                <a:gd name="T42" fmla="*/ 566 w 647"/>
                <a:gd name="T43" fmla="*/ 255 h 265"/>
                <a:gd name="T44" fmla="*/ 588 w 647"/>
                <a:gd name="T45" fmla="*/ 242 h 265"/>
                <a:gd name="T46" fmla="*/ 607 w 647"/>
                <a:gd name="T47" fmla="*/ 226 h 265"/>
                <a:gd name="T48" fmla="*/ 624 w 647"/>
                <a:gd name="T49" fmla="*/ 207 h 265"/>
                <a:gd name="T50" fmla="*/ 636 w 647"/>
                <a:gd name="T51" fmla="*/ 184 h 265"/>
                <a:gd name="T52" fmla="*/ 644 w 647"/>
                <a:gd name="T53" fmla="*/ 160 h 265"/>
                <a:gd name="T54" fmla="*/ 647 w 647"/>
                <a:gd name="T55" fmla="*/ 132 h 265"/>
                <a:gd name="T56" fmla="*/ 644 w 647"/>
                <a:gd name="T57" fmla="*/ 106 h 265"/>
                <a:gd name="T58" fmla="*/ 636 w 647"/>
                <a:gd name="T59" fmla="*/ 82 h 265"/>
                <a:gd name="T60" fmla="*/ 624 w 647"/>
                <a:gd name="T61" fmla="*/ 59 h 265"/>
                <a:gd name="T62" fmla="*/ 607 w 647"/>
                <a:gd name="T63" fmla="*/ 40 h 265"/>
                <a:gd name="T64" fmla="*/ 588 w 647"/>
                <a:gd name="T65" fmla="*/ 24 h 265"/>
                <a:gd name="T66" fmla="*/ 566 w 647"/>
                <a:gd name="T67" fmla="*/ 11 h 265"/>
                <a:gd name="T68" fmla="*/ 541 w 647"/>
                <a:gd name="T69" fmla="*/ 3 h 265"/>
                <a:gd name="T70" fmla="*/ 514 w 647"/>
                <a:gd name="T71" fmla="*/ 0 h 265"/>
                <a:gd name="T72" fmla="*/ 486 w 647"/>
                <a:gd name="T73" fmla="*/ 3 h 265"/>
                <a:gd name="T74" fmla="*/ 460 w 647"/>
                <a:gd name="T75" fmla="*/ 12 h 265"/>
                <a:gd name="T76" fmla="*/ 437 w 647"/>
                <a:gd name="T77" fmla="*/ 26 h 265"/>
                <a:gd name="T78" fmla="*/ 416 w 647"/>
                <a:gd name="T79" fmla="*/ 44 h 265"/>
                <a:gd name="T80" fmla="*/ 400 w 647"/>
                <a:gd name="T81" fmla="*/ 66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5">
                  <a:moveTo>
                    <a:pt x="400" y="66"/>
                  </a:moveTo>
                  <a:lnTo>
                    <a:pt x="68" y="66"/>
                  </a:lnTo>
                  <a:lnTo>
                    <a:pt x="51" y="68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9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1"/>
                  </a:lnTo>
                  <a:lnTo>
                    <a:pt x="10" y="167"/>
                  </a:lnTo>
                  <a:lnTo>
                    <a:pt x="21" y="181"/>
                  </a:lnTo>
                  <a:lnTo>
                    <a:pt x="35" y="191"/>
                  </a:lnTo>
                  <a:lnTo>
                    <a:pt x="51" y="198"/>
                  </a:lnTo>
                  <a:lnTo>
                    <a:pt x="68" y="200"/>
                  </a:lnTo>
                  <a:lnTo>
                    <a:pt x="400" y="200"/>
                  </a:lnTo>
                  <a:lnTo>
                    <a:pt x="416" y="222"/>
                  </a:lnTo>
                  <a:lnTo>
                    <a:pt x="437" y="240"/>
                  </a:lnTo>
                  <a:lnTo>
                    <a:pt x="460" y="253"/>
                  </a:lnTo>
                  <a:lnTo>
                    <a:pt x="486" y="262"/>
                  </a:lnTo>
                  <a:lnTo>
                    <a:pt x="514" y="265"/>
                  </a:lnTo>
                  <a:lnTo>
                    <a:pt x="541" y="263"/>
                  </a:lnTo>
                  <a:lnTo>
                    <a:pt x="566" y="255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2"/>
                  </a:lnTo>
                  <a:lnTo>
                    <a:pt x="644" y="106"/>
                  </a:lnTo>
                  <a:lnTo>
                    <a:pt x="636" y="82"/>
                  </a:lnTo>
                  <a:lnTo>
                    <a:pt x="624" y="59"/>
                  </a:lnTo>
                  <a:lnTo>
                    <a:pt x="607" y="40"/>
                  </a:lnTo>
                  <a:lnTo>
                    <a:pt x="588" y="24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60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2"/>
            <p:cNvSpPr>
              <a:spLocks/>
            </p:cNvSpPr>
            <p:nvPr/>
          </p:nvSpPr>
          <p:spPr bwMode="auto">
            <a:xfrm>
              <a:off x="-413" y="2073"/>
              <a:ext cx="72" cy="29"/>
            </a:xfrm>
            <a:custGeom>
              <a:avLst/>
              <a:gdLst>
                <a:gd name="T0" fmla="*/ 400 w 647"/>
                <a:gd name="T1" fmla="*/ 65 h 264"/>
                <a:gd name="T2" fmla="*/ 68 w 647"/>
                <a:gd name="T3" fmla="*/ 65 h 264"/>
                <a:gd name="T4" fmla="*/ 51 w 647"/>
                <a:gd name="T5" fmla="*/ 67 h 264"/>
                <a:gd name="T6" fmla="*/ 35 w 647"/>
                <a:gd name="T7" fmla="*/ 74 h 264"/>
                <a:gd name="T8" fmla="*/ 21 w 647"/>
                <a:gd name="T9" fmla="*/ 85 h 264"/>
                <a:gd name="T10" fmla="*/ 10 w 647"/>
                <a:gd name="T11" fmla="*/ 98 h 264"/>
                <a:gd name="T12" fmla="*/ 4 w 647"/>
                <a:gd name="T13" fmla="*/ 115 h 264"/>
                <a:gd name="T14" fmla="*/ 0 w 647"/>
                <a:gd name="T15" fmla="*/ 132 h 264"/>
                <a:gd name="T16" fmla="*/ 4 w 647"/>
                <a:gd name="T17" fmla="*/ 150 h 264"/>
                <a:gd name="T18" fmla="*/ 10 w 647"/>
                <a:gd name="T19" fmla="*/ 166 h 264"/>
                <a:gd name="T20" fmla="*/ 21 w 647"/>
                <a:gd name="T21" fmla="*/ 180 h 264"/>
                <a:gd name="T22" fmla="*/ 35 w 647"/>
                <a:gd name="T23" fmla="*/ 191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2 h 264"/>
                <a:gd name="T32" fmla="*/ 437 w 647"/>
                <a:gd name="T33" fmla="*/ 239 h 264"/>
                <a:gd name="T34" fmla="*/ 459 w 647"/>
                <a:gd name="T35" fmla="*/ 253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2 h 264"/>
                <a:gd name="T42" fmla="*/ 566 w 647"/>
                <a:gd name="T43" fmla="*/ 254 h 264"/>
                <a:gd name="T44" fmla="*/ 588 w 647"/>
                <a:gd name="T45" fmla="*/ 242 h 264"/>
                <a:gd name="T46" fmla="*/ 607 w 647"/>
                <a:gd name="T47" fmla="*/ 226 h 264"/>
                <a:gd name="T48" fmla="*/ 624 w 647"/>
                <a:gd name="T49" fmla="*/ 207 h 264"/>
                <a:gd name="T50" fmla="*/ 636 w 647"/>
                <a:gd name="T51" fmla="*/ 184 h 264"/>
                <a:gd name="T52" fmla="*/ 644 w 647"/>
                <a:gd name="T53" fmla="*/ 160 h 264"/>
                <a:gd name="T54" fmla="*/ 647 w 647"/>
                <a:gd name="T55" fmla="*/ 133 h 264"/>
                <a:gd name="T56" fmla="*/ 644 w 647"/>
                <a:gd name="T57" fmla="*/ 106 h 264"/>
                <a:gd name="T58" fmla="*/ 636 w 647"/>
                <a:gd name="T59" fmla="*/ 81 h 264"/>
                <a:gd name="T60" fmla="*/ 624 w 647"/>
                <a:gd name="T61" fmla="*/ 59 h 264"/>
                <a:gd name="T62" fmla="*/ 607 w 647"/>
                <a:gd name="T63" fmla="*/ 39 h 264"/>
                <a:gd name="T64" fmla="*/ 588 w 647"/>
                <a:gd name="T65" fmla="*/ 22 h 264"/>
                <a:gd name="T66" fmla="*/ 566 w 647"/>
                <a:gd name="T67" fmla="*/ 11 h 264"/>
                <a:gd name="T68" fmla="*/ 541 w 647"/>
                <a:gd name="T69" fmla="*/ 3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2 h 264"/>
                <a:gd name="T76" fmla="*/ 437 w 647"/>
                <a:gd name="T77" fmla="*/ 26 h 264"/>
                <a:gd name="T78" fmla="*/ 416 w 647"/>
                <a:gd name="T79" fmla="*/ 44 h 264"/>
                <a:gd name="T80" fmla="*/ 400 w 647"/>
                <a:gd name="T81" fmla="*/ 65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5"/>
                  </a:moveTo>
                  <a:lnTo>
                    <a:pt x="68" y="65"/>
                  </a:lnTo>
                  <a:lnTo>
                    <a:pt x="51" y="67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8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0"/>
                  </a:lnTo>
                  <a:lnTo>
                    <a:pt x="10" y="166"/>
                  </a:lnTo>
                  <a:lnTo>
                    <a:pt x="21" y="180"/>
                  </a:lnTo>
                  <a:lnTo>
                    <a:pt x="35" y="191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2"/>
                  </a:lnTo>
                  <a:lnTo>
                    <a:pt x="437" y="239"/>
                  </a:lnTo>
                  <a:lnTo>
                    <a:pt x="459" y="253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2"/>
                  </a:lnTo>
                  <a:lnTo>
                    <a:pt x="566" y="254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3"/>
                  </a:lnTo>
                  <a:lnTo>
                    <a:pt x="644" y="106"/>
                  </a:lnTo>
                  <a:lnTo>
                    <a:pt x="636" y="81"/>
                  </a:lnTo>
                  <a:lnTo>
                    <a:pt x="624" y="59"/>
                  </a:lnTo>
                  <a:lnTo>
                    <a:pt x="607" y="39"/>
                  </a:lnTo>
                  <a:lnTo>
                    <a:pt x="588" y="22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3"/>
            <p:cNvSpPr>
              <a:spLocks/>
            </p:cNvSpPr>
            <p:nvPr/>
          </p:nvSpPr>
          <p:spPr bwMode="auto">
            <a:xfrm>
              <a:off x="-118" y="2110"/>
              <a:ext cx="91" cy="90"/>
            </a:xfrm>
            <a:custGeom>
              <a:avLst/>
              <a:gdLst>
                <a:gd name="T0" fmla="*/ 537 w 816"/>
                <a:gd name="T1" fmla="*/ 547 h 805"/>
                <a:gd name="T2" fmla="*/ 497 w 816"/>
                <a:gd name="T3" fmla="*/ 587 h 805"/>
                <a:gd name="T4" fmla="*/ 468 w 816"/>
                <a:gd name="T5" fmla="*/ 616 h 805"/>
                <a:gd name="T6" fmla="*/ 447 w 816"/>
                <a:gd name="T7" fmla="*/ 636 h 805"/>
                <a:gd name="T8" fmla="*/ 433 w 816"/>
                <a:gd name="T9" fmla="*/ 650 h 805"/>
                <a:gd name="T10" fmla="*/ 421 w 816"/>
                <a:gd name="T11" fmla="*/ 662 h 805"/>
                <a:gd name="T12" fmla="*/ 410 w 816"/>
                <a:gd name="T13" fmla="*/ 673 h 805"/>
                <a:gd name="T14" fmla="*/ 395 w 816"/>
                <a:gd name="T15" fmla="*/ 688 h 805"/>
                <a:gd name="T16" fmla="*/ 374 w 816"/>
                <a:gd name="T17" fmla="*/ 708 h 805"/>
                <a:gd name="T18" fmla="*/ 345 w 816"/>
                <a:gd name="T19" fmla="*/ 737 h 805"/>
                <a:gd name="T20" fmla="*/ 303 w 816"/>
                <a:gd name="T21" fmla="*/ 779 h 805"/>
                <a:gd name="T22" fmla="*/ 208 w 816"/>
                <a:gd name="T23" fmla="*/ 736 h 805"/>
                <a:gd name="T24" fmla="*/ 68 w 816"/>
                <a:gd name="T25" fmla="*/ 607 h 805"/>
                <a:gd name="T26" fmla="*/ 0 w 816"/>
                <a:gd name="T27" fmla="*/ 538 h 805"/>
                <a:gd name="T28" fmla="*/ 2 w 816"/>
                <a:gd name="T29" fmla="*/ 535 h 805"/>
                <a:gd name="T30" fmla="*/ 37 w 816"/>
                <a:gd name="T31" fmla="*/ 499 h 805"/>
                <a:gd name="T32" fmla="*/ 92 w 816"/>
                <a:gd name="T33" fmla="*/ 446 h 805"/>
                <a:gd name="T34" fmla="*/ 135 w 816"/>
                <a:gd name="T35" fmla="*/ 403 h 805"/>
                <a:gd name="T36" fmla="*/ 169 w 816"/>
                <a:gd name="T37" fmla="*/ 369 h 805"/>
                <a:gd name="T38" fmla="*/ 197 w 816"/>
                <a:gd name="T39" fmla="*/ 341 h 805"/>
                <a:gd name="T40" fmla="*/ 223 w 816"/>
                <a:gd name="T41" fmla="*/ 315 h 805"/>
                <a:gd name="T42" fmla="*/ 248 w 816"/>
                <a:gd name="T43" fmla="*/ 291 h 805"/>
                <a:gd name="T44" fmla="*/ 277 w 816"/>
                <a:gd name="T45" fmla="*/ 263 h 805"/>
                <a:gd name="T46" fmla="*/ 312 w 816"/>
                <a:gd name="T47" fmla="*/ 228 h 805"/>
                <a:gd name="T48" fmla="*/ 356 w 816"/>
                <a:gd name="T49" fmla="*/ 187 h 805"/>
                <a:gd name="T50" fmla="*/ 411 w 816"/>
                <a:gd name="T51" fmla="*/ 133 h 805"/>
                <a:gd name="T52" fmla="*/ 473 w 816"/>
                <a:gd name="T53" fmla="*/ 75 h 805"/>
                <a:gd name="T54" fmla="*/ 540 w 816"/>
                <a:gd name="T55" fmla="*/ 31 h 805"/>
                <a:gd name="T56" fmla="*/ 602 w 816"/>
                <a:gd name="T57" fmla="*/ 4 h 805"/>
                <a:gd name="T58" fmla="*/ 657 w 816"/>
                <a:gd name="T59" fmla="*/ 1 h 805"/>
                <a:gd name="T60" fmla="*/ 709 w 816"/>
                <a:gd name="T61" fmla="*/ 22 h 805"/>
                <a:gd name="T62" fmla="*/ 759 w 816"/>
                <a:gd name="T63" fmla="*/ 60 h 805"/>
                <a:gd name="T64" fmla="*/ 796 w 816"/>
                <a:gd name="T65" fmla="*/ 108 h 805"/>
                <a:gd name="T66" fmla="*/ 815 w 816"/>
                <a:gd name="T67" fmla="*/ 161 h 805"/>
                <a:gd name="T68" fmla="*/ 810 w 816"/>
                <a:gd name="T69" fmla="*/ 217 h 805"/>
                <a:gd name="T70" fmla="*/ 773 w 816"/>
                <a:gd name="T71" fmla="*/ 283 h 805"/>
                <a:gd name="T72" fmla="*/ 717 w 816"/>
                <a:gd name="T73" fmla="*/ 354 h 805"/>
                <a:gd name="T74" fmla="*/ 681 w 816"/>
                <a:gd name="T75" fmla="*/ 398 h 805"/>
                <a:gd name="T76" fmla="*/ 656 w 816"/>
                <a:gd name="T77" fmla="*/ 424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6" h="805">
                  <a:moveTo>
                    <a:pt x="563" y="521"/>
                  </a:moveTo>
                  <a:lnTo>
                    <a:pt x="537" y="547"/>
                  </a:lnTo>
                  <a:lnTo>
                    <a:pt x="516" y="569"/>
                  </a:lnTo>
                  <a:lnTo>
                    <a:pt x="497" y="587"/>
                  </a:lnTo>
                  <a:lnTo>
                    <a:pt x="482" y="603"/>
                  </a:lnTo>
                  <a:lnTo>
                    <a:pt x="468" y="616"/>
                  </a:lnTo>
                  <a:lnTo>
                    <a:pt x="457" y="627"/>
                  </a:lnTo>
                  <a:lnTo>
                    <a:pt x="447" y="636"/>
                  </a:lnTo>
                  <a:lnTo>
                    <a:pt x="440" y="644"/>
                  </a:lnTo>
                  <a:lnTo>
                    <a:pt x="433" y="650"/>
                  </a:lnTo>
                  <a:lnTo>
                    <a:pt x="427" y="657"/>
                  </a:lnTo>
                  <a:lnTo>
                    <a:pt x="421" y="662"/>
                  </a:lnTo>
                  <a:lnTo>
                    <a:pt x="416" y="668"/>
                  </a:lnTo>
                  <a:lnTo>
                    <a:pt x="410" y="673"/>
                  </a:lnTo>
                  <a:lnTo>
                    <a:pt x="403" y="679"/>
                  </a:lnTo>
                  <a:lnTo>
                    <a:pt x="395" y="688"/>
                  </a:lnTo>
                  <a:lnTo>
                    <a:pt x="386" y="696"/>
                  </a:lnTo>
                  <a:lnTo>
                    <a:pt x="374" y="708"/>
                  </a:lnTo>
                  <a:lnTo>
                    <a:pt x="361" y="721"/>
                  </a:lnTo>
                  <a:lnTo>
                    <a:pt x="345" y="737"/>
                  </a:lnTo>
                  <a:lnTo>
                    <a:pt x="326" y="756"/>
                  </a:lnTo>
                  <a:lnTo>
                    <a:pt x="303" y="779"/>
                  </a:lnTo>
                  <a:lnTo>
                    <a:pt x="277" y="805"/>
                  </a:lnTo>
                  <a:lnTo>
                    <a:pt x="208" y="736"/>
                  </a:lnTo>
                  <a:lnTo>
                    <a:pt x="138" y="671"/>
                  </a:lnTo>
                  <a:lnTo>
                    <a:pt x="68" y="607"/>
                  </a:lnTo>
                  <a:lnTo>
                    <a:pt x="0" y="539"/>
                  </a:lnTo>
                  <a:lnTo>
                    <a:pt x="0" y="538"/>
                  </a:lnTo>
                  <a:lnTo>
                    <a:pt x="1" y="537"/>
                  </a:lnTo>
                  <a:lnTo>
                    <a:pt x="2" y="535"/>
                  </a:lnTo>
                  <a:lnTo>
                    <a:pt x="3" y="533"/>
                  </a:lnTo>
                  <a:lnTo>
                    <a:pt x="37" y="499"/>
                  </a:lnTo>
                  <a:lnTo>
                    <a:pt x="66" y="472"/>
                  </a:lnTo>
                  <a:lnTo>
                    <a:pt x="92" y="446"/>
                  </a:lnTo>
                  <a:lnTo>
                    <a:pt x="114" y="423"/>
                  </a:lnTo>
                  <a:lnTo>
                    <a:pt x="135" y="403"/>
                  </a:lnTo>
                  <a:lnTo>
                    <a:pt x="152" y="385"/>
                  </a:lnTo>
                  <a:lnTo>
                    <a:pt x="169" y="369"/>
                  </a:lnTo>
                  <a:lnTo>
                    <a:pt x="183" y="355"/>
                  </a:lnTo>
                  <a:lnTo>
                    <a:pt x="197" y="341"/>
                  </a:lnTo>
                  <a:lnTo>
                    <a:pt x="210" y="328"/>
                  </a:lnTo>
                  <a:lnTo>
                    <a:pt x="223" y="315"/>
                  </a:lnTo>
                  <a:lnTo>
                    <a:pt x="236" y="303"/>
                  </a:lnTo>
                  <a:lnTo>
                    <a:pt x="248" y="291"/>
                  </a:lnTo>
                  <a:lnTo>
                    <a:pt x="262" y="277"/>
                  </a:lnTo>
                  <a:lnTo>
                    <a:pt x="277" y="263"/>
                  </a:lnTo>
                  <a:lnTo>
                    <a:pt x="294" y="247"/>
                  </a:lnTo>
                  <a:lnTo>
                    <a:pt x="312" y="228"/>
                  </a:lnTo>
                  <a:lnTo>
                    <a:pt x="332" y="209"/>
                  </a:lnTo>
                  <a:lnTo>
                    <a:pt x="356" y="187"/>
                  </a:lnTo>
                  <a:lnTo>
                    <a:pt x="382" y="161"/>
                  </a:lnTo>
                  <a:lnTo>
                    <a:pt x="411" y="133"/>
                  </a:lnTo>
                  <a:lnTo>
                    <a:pt x="443" y="101"/>
                  </a:lnTo>
                  <a:lnTo>
                    <a:pt x="473" y="75"/>
                  </a:lnTo>
                  <a:lnTo>
                    <a:pt x="505" y="52"/>
                  </a:lnTo>
                  <a:lnTo>
                    <a:pt x="540" y="31"/>
                  </a:lnTo>
                  <a:lnTo>
                    <a:pt x="574" y="14"/>
                  </a:lnTo>
                  <a:lnTo>
                    <a:pt x="602" y="4"/>
                  </a:lnTo>
                  <a:lnTo>
                    <a:pt x="630" y="0"/>
                  </a:lnTo>
                  <a:lnTo>
                    <a:pt x="657" y="1"/>
                  </a:lnTo>
                  <a:lnTo>
                    <a:pt x="684" y="9"/>
                  </a:lnTo>
                  <a:lnTo>
                    <a:pt x="709" y="22"/>
                  </a:lnTo>
                  <a:lnTo>
                    <a:pt x="734" y="39"/>
                  </a:lnTo>
                  <a:lnTo>
                    <a:pt x="759" y="60"/>
                  </a:lnTo>
                  <a:lnTo>
                    <a:pt x="780" y="84"/>
                  </a:lnTo>
                  <a:lnTo>
                    <a:pt x="796" y="108"/>
                  </a:lnTo>
                  <a:lnTo>
                    <a:pt x="808" y="134"/>
                  </a:lnTo>
                  <a:lnTo>
                    <a:pt x="815" y="161"/>
                  </a:lnTo>
                  <a:lnTo>
                    <a:pt x="816" y="188"/>
                  </a:lnTo>
                  <a:lnTo>
                    <a:pt x="810" y="217"/>
                  </a:lnTo>
                  <a:lnTo>
                    <a:pt x="798" y="246"/>
                  </a:lnTo>
                  <a:lnTo>
                    <a:pt x="773" y="283"/>
                  </a:lnTo>
                  <a:lnTo>
                    <a:pt x="746" y="319"/>
                  </a:lnTo>
                  <a:lnTo>
                    <a:pt x="717" y="354"/>
                  </a:lnTo>
                  <a:lnTo>
                    <a:pt x="689" y="389"/>
                  </a:lnTo>
                  <a:lnTo>
                    <a:pt x="681" y="398"/>
                  </a:lnTo>
                  <a:lnTo>
                    <a:pt x="674" y="407"/>
                  </a:lnTo>
                  <a:lnTo>
                    <a:pt x="656" y="424"/>
                  </a:lnTo>
                  <a:lnTo>
                    <a:pt x="563" y="52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4"/>
            <p:cNvSpPr>
              <a:spLocks/>
            </p:cNvSpPr>
            <p:nvPr/>
          </p:nvSpPr>
          <p:spPr bwMode="auto">
            <a:xfrm>
              <a:off x="-89" y="2158"/>
              <a:ext cx="69" cy="70"/>
            </a:xfrm>
            <a:custGeom>
              <a:avLst/>
              <a:gdLst>
                <a:gd name="T0" fmla="*/ 606 w 629"/>
                <a:gd name="T1" fmla="*/ 105 h 630"/>
                <a:gd name="T2" fmla="*/ 517 w 629"/>
                <a:gd name="T3" fmla="*/ 196 h 630"/>
                <a:gd name="T4" fmla="*/ 427 w 629"/>
                <a:gd name="T5" fmla="*/ 286 h 630"/>
                <a:gd name="T6" fmla="*/ 106 w 629"/>
                <a:gd name="T7" fmla="*/ 605 h 630"/>
                <a:gd name="T8" fmla="*/ 94 w 629"/>
                <a:gd name="T9" fmla="*/ 618 h 630"/>
                <a:gd name="T10" fmla="*/ 78 w 629"/>
                <a:gd name="T11" fmla="*/ 625 h 630"/>
                <a:gd name="T12" fmla="*/ 63 w 629"/>
                <a:gd name="T13" fmla="*/ 630 h 630"/>
                <a:gd name="T14" fmla="*/ 47 w 629"/>
                <a:gd name="T15" fmla="*/ 630 h 630"/>
                <a:gd name="T16" fmla="*/ 30 w 629"/>
                <a:gd name="T17" fmla="*/ 622 h 630"/>
                <a:gd name="T18" fmla="*/ 16 w 629"/>
                <a:gd name="T19" fmla="*/ 613 h 630"/>
                <a:gd name="T20" fmla="*/ 6 w 629"/>
                <a:gd name="T21" fmla="*/ 601 h 630"/>
                <a:gd name="T22" fmla="*/ 1 w 629"/>
                <a:gd name="T23" fmla="*/ 588 h 630"/>
                <a:gd name="T24" fmla="*/ 0 w 629"/>
                <a:gd name="T25" fmla="*/ 573 h 630"/>
                <a:gd name="T26" fmla="*/ 3 w 629"/>
                <a:gd name="T27" fmla="*/ 557 h 630"/>
                <a:gd name="T28" fmla="*/ 10 w 629"/>
                <a:gd name="T29" fmla="*/ 543 h 630"/>
                <a:gd name="T30" fmla="*/ 20 w 629"/>
                <a:gd name="T31" fmla="*/ 530 h 630"/>
                <a:gd name="T32" fmla="*/ 32 w 629"/>
                <a:gd name="T33" fmla="*/ 517 h 630"/>
                <a:gd name="T34" fmla="*/ 48 w 629"/>
                <a:gd name="T35" fmla="*/ 501 h 630"/>
                <a:gd name="T36" fmla="*/ 68 w 629"/>
                <a:gd name="T37" fmla="*/ 482 h 630"/>
                <a:gd name="T38" fmla="*/ 88 w 629"/>
                <a:gd name="T39" fmla="*/ 461 h 630"/>
                <a:gd name="T40" fmla="*/ 112 w 629"/>
                <a:gd name="T41" fmla="*/ 438 h 630"/>
                <a:gd name="T42" fmla="*/ 136 w 629"/>
                <a:gd name="T43" fmla="*/ 413 h 630"/>
                <a:gd name="T44" fmla="*/ 162 w 629"/>
                <a:gd name="T45" fmla="*/ 387 h 630"/>
                <a:gd name="T46" fmla="*/ 189 w 629"/>
                <a:gd name="T47" fmla="*/ 360 h 630"/>
                <a:gd name="T48" fmla="*/ 217 w 629"/>
                <a:gd name="T49" fmla="*/ 332 h 630"/>
                <a:gd name="T50" fmla="*/ 246 w 629"/>
                <a:gd name="T51" fmla="*/ 303 h 630"/>
                <a:gd name="T52" fmla="*/ 275 w 629"/>
                <a:gd name="T53" fmla="*/ 274 h 630"/>
                <a:gd name="T54" fmla="*/ 303 w 629"/>
                <a:gd name="T55" fmla="*/ 246 h 630"/>
                <a:gd name="T56" fmla="*/ 331 w 629"/>
                <a:gd name="T57" fmla="*/ 217 h 630"/>
                <a:gd name="T58" fmla="*/ 359 w 629"/>
                <a:gd name="T59" fmla="*/ 191 h 630"/>
                <a:gd name="T60" fmla="*/ 385 w 629"/>
                <a:gd name="T61" fmla="*/ 164 h 630"/>
                <a:gd name="T62" fmla="*/ 409 w 629"/>
                <a:gd name="T63" fmla="*/ 139 h 630"/>
                <a:gd name="T64" fmla="*/ 433 w 629"/>
                <a:gd name="T65" fmla="*/ 116 h 630"/>
                <a:gd name="T66" fmla="*/ 455 w 629"/>
                <a:gd name="T67" fmla="*/ 94 h 630"/>
                <a:gd name="T68" fmla="*/ 474 w 629"/>
                <a:gd name="T69" fmla="*/ 75 h 630"/>
                <a:gd name="T70" fmla="*/ 491 w 629"/>
                <a:gd name="T71" fmla="*/ 59 h 630"/>
                <a:gd name="T72" fmla="*/ 505 w 629"/>
                <a:gd name="T73" fmla="*/ 45 h 630"/>
                <a:gd name="T74" fmla="*/ 516 w 629"/>
                <a:gd name="T75" fmla="*/ 34 h 630"/>
                <a:gd name="T76" fmla="*/ 523 w 629"/>
                <a:gd name="T77" fmla="*/ 27 h 630"/>
                <a:gd name="T78" fmla="*/ 527 w 629"/>
                <a:gd name="T79" fmla="*/ 22 h 630"/>
                <a:gd name="T80" fmla="*/ 546 w 629"/>
                <a:gd name="T81" fmla="*/ 9 h 630"/>
                <a:gd name="T82" fmla="*/ 564 w 629"/>
                <a:gd name="T83" fmla="*/ 1 h 630"/>
                <a:gd name="T84" fmla="*/ 581 w 629"/>
                <a:gd name="T85" fmla="*/ 0 h 630"/>
                <a:gd name="T86" fmla="*/ 599 w 629"/>
                <a:gd name="T87" fmla="*/ 6 h 630"/>
                <a:gd name="T88" fmla="*/ 615 w 629"/>
                <a:gd name="T89" fmla="*/ 19 h 630"/>
                <a:gd name="T90" fmla="*/ 623 w 629"/>
                <a:gd name="T91" fmla="*/ 31 h 630"/>
                <a:gd name="T92" fmla="*/ 629 w 629"/>
                <a:gd name="T93" fmla="*/ 45 h 630"/>
                <a:gd name="T94" fmla="*/ 629 w 629"/>
                <a:gd name="T95" fmla="*/ 60 h 630"/>
                <a:gd name="T96" fmla="*/ 625 w 629"/>
                <a:gd name="T97" fmla="*/ 75 h 630"/>
                <a:gd name="T98" fmla="*/ 618 w 629"/>
                <a:gd name="T99" fmla="*/ 90 h 630"/>
                <a:gd name="T100" fmla="*/ 606 w 629"/>
                <a:gd name="T101" fmla="*/ 105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9" h="630">
                  <a:moveTo>
                    <a:pt x="606" y="105"/>
                  </a:moveTo>
                  <a:lnTo>
                    <a:pt x="517" y="196"/>
                  </a:lnTo>
                  <a:lnTo>
                    <a:pt x="427" y="286"/>
                  </a:lnTo>
                  <a:lnTo>
                    <a:pt x="106" y="605"/>
                  </a:lnTo>
                  <a:lnTo>
                    <a:pt x="94" y="618"/>
                  </a:lnTo>
                  <a:lnTo>
                    <a:pt x="78" y="625"/>
                  </a:lnTo>
                  <a:lnTo>
                    <a:pt x="63" y="630"/>
                  </a:lnTo>
                  <a:lnTo>
                    <a:pt x="47" y="630"/>
                  </a:lnTo>
                  <a:lnTo>
                    <a:pt x="30" y="622"/>
                  </a:lnTo>
                  <a:lnTo>
                    <a:pt x="16" y="613"/>
                  </a:lnTo>
                  <a:lnTo>
                    <a:pt x="6" y="601"/>
                  </a:lnTo>
                  <a:lnTo>
                    <a:pt x="1" y="588"/>
                  </a:lnTo>
                  <a:lnTo>
                    <a:pt x="0" y="573"/>
                  </a:lnTo>
                  <a:lnTo>
                    <a:pt x="3" y="557"/>
                  </a:lnTo>
                  <a:lnTo>
                    <a:pt x="10" y="543"/>
                  </a:lnTo>
                  <a:lnTo>
                    <a:pt x="20" y="530"/>
                  </a:lnTo>
                  <a:lnTo>
                    <a:pt x="32" y="517"/>
                  </a:lnTo>
                  <a:lnTo>
                    <a:pt x="48" y="501"/>
                  </a:lnTo>
                  <a:lnTo>
                    <a:pt x="68" y="482"/>
                  </a:lnTo>
                  <a:lnTo>
                    <a:pt x="88" y="461"/>
                  </a:lnTo>
                  <a:lnTo>
                    <a:pt x="112" y="438"/>
                  </a:lnTo>
                  <a:lnTo>
                    <a:pt x="136" y="413"/>
                  </a:lnTo>
                  <a:lnTo>
                    <a:pt x="162" y="387"/>
                  </a:lnTo>
                  <a:lnTo>
                    <a:pt x="189" y="360"/>
                  </a:lnTo>
                  <a:lnTo>
                    <a:pt x="217" y="332"/>
                  </a:lnTo>
                  <a:lnTo>
                    <a:pt x="246" y="303"/>
                  </a:lnTo>
                  <a:lnTo>
                    <a:pt x="275" y="274"/>
                  </a:lnTo>
                  <a:lnTo>
                    <a:pt x="303" y="246"/>
                  </a:lnTo>
                  <a:lnTo>
                    <a:pt x="331" y="217"/>
                  </a:lnTo>
                  <a:lnTo>
                    <a:pt x="359" y="191"/>
                  </a:lnTo>
                  <a:lnTo>
                    <a:pt x="385" y="164"/>
                  </a:lnTo>
                  <a:lnTo>
                    <a:pt x="409" y="139"/>
                  </a:lnTo>
                  <a:lnTo>
                    <a:pt x="433" y="116"/>
                  </a:lnTo>
                  <a:lnTo>
                    <a:pt x="455" y="94"/>
                  </a:lnTo>
                  <a:lnTo>
                    <a:pt x="474" y="75"/>
                  </a:lnTo>
                  <a:lnTo>
                    <a:pt x="491" y="59"/>
                  </a:lnTo>
                  <a:lnTo>
                    <a:pt x="505" y="45"/>
                  </a:lnTo>
                  <a:lnTo>
                    <a:pt x="516" y="34"/>
                  </a:lnTo>
                  <a:lnTo>
                    <a:pt x="523" y="27"/>
                  </a:lnTo>
                  <a:lnTo>
                    <a:pt x="527" y="22"/>
                  </a:lnTo>
                  <a:lnTo>
                    <a:pt x="546" y="9"/>
                  </a:lnTo>
                  <a:lnTo>
                    <a:pt x="564" y="1"/>
                  </a:lnTo>
                  <a:lnTo>
                    <a:pt x="581" y="0"/>
                  </a:lnTo>
                  <a:lnTo>
                    <a:pt x="599" y="6"/>
                  </a:lnTo>
                  <a:lnTo>
                    <a:pt x="615" y="19"/>
                  </a:lnTo>
                  <a:lnTo>
                    <a:pt x="623" y="31"/>
                  </a:lnTo>
                  <a:lnTo>
                    <a:pt x="629" y="45"/>
                  </a:lnTo>
                  <a:lnTo>
                    <a:pt x="629" y="60"/>
                  </a:lnTo>
                  <a:lnTo>
                    <a:pt x="625" y="75"/>
                  </a:lnTo>
                  <a:lnTo>
                    <a:pt x="618" y="90"/>
                  </a:lnTo>
                  <a:lnTo>
                    <a:pt x="606" y="1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5"/>
            <p:cNvSpPr>
              <a:spLocks/>
            </p:cNvSpPr>
            <p:nvPr/>
          </p:nvSpPr>
          <p:spPr bwMode="auto">
            <a:xfrm>
              <a:off x="-312" y="2031"/>
              <a:ext cx="180" cy="13"/>
            </a:xfrm>
            <a:custGeom>
              <a:avLst/>
              <a:gdLst>
                <a:gd name="T0" fmla="*/ 1615 w 1615"/>
                <a:gd name="T1" fmla="*/ 61 h 123"/>
                <a:gd name="T2" fmla="*/ 1612 w 1615"/>
                <a:gd name="T3" fmla="*/ 81 h 123"/>
                <a:gd name="T4" fmla="*/ 1603 w 1615"/>
                <a:gd name="T5" fmla="*/ 98 h 123"/>
                <a:gd name="T6" fmla="*/ 1590 w 1615"/>
                <a:gd name="T7" fmla="*/ 111 h 123"/>
                <a:gd name="T8" fmla="*/ 1573 w 1615"/>
                <a:gd name="T9" fmla="*/ 120 h 123"/>
                <a:gd name="T10" fmla="*/ 1554 w 1615"/>
                <a:gd name="T11" fmla="*/ 123 h 123"/>
                <a:gd name="T12" fmla="*/ 61 w 1615"/>
                <a:gd name="T13" fmla="*/ 123 h 123"/>
                <a:gd name="T14" fmla="*/ 42 w 1615"/>
                <a:gd name="T15" fmla="*/ 120 h 123"/>
                <a:gd name="T16" fmla="*/ 25 w 1615"/>
                <a:gd name="T17" fmla="*/ 111 h 123"/>
                <a:gd name="T18" fmla="*/ 12 w 1615"/>
                <a:gd name="T19" fmla="*/ 98 h 123"/>
                <a:gd name="T20" fmla="*/ 3 w 1615"/>
                <a:gd name="T21" fmla="*/ 81 h 123"/>
                <a:gd name="T22" fmla="*/ 0 w 1615"/>
                <a:gd name="T23" fmla="*/ 61 h 123"/>
                <a:gd name="T24" fmla="*/ 3 w 1615"/>
                <a:gd name="T25" fmla="*/ 42 h 123"/>
                <a:gd name="T26" fmla="*/ 12 w 1615"/>
                <a:gd name="T27" fmla="*/ 25 h 123"/>
                <a:gd name="T28" fmla="*/ 25 w 1615"/>
                <a:gd name="T29" fmla="*/ 12 h 123"/>
                <a:gd name="T30" fmla="*/ 42 w 1615"/>
                <a:gd name="T31" fmla="*/ 3 h 123"/>
                <a:gd name="T32" fmla="*/ 61 w 1615"/>
                <a:gd name="T33" fmla="*/ 0 h 123"/>
                <a:gd name="T34" fmla="*/ 1554 w 1615"/>
                <a:gd name="T35" fmla="*/ 0 h 123"/>
                <a:gd name="T36" fmla="*/ 1573 w 1615"/>
                <a:gd name="T37" fmla="*/ 3 h 123"/>
                <a:gd name="T38" fmla="*/ 1590 w 1615"/>
                <a:gd name="T39" fmla="*/ 12 h 123"/>
                <a:gd name="T40" fmla="*/ 1603 w 1615"/>
                <a:gd name="T41" fmla="*/ 25 h 123"/>
                <a:gd name="T42" fmla="*/ 1612 w 1615"/>
                <a:gd name="T43" fmla="*/ 42 h 123"/>
                <a:gd name="T44" fmla="*/ 1615 w 1615"/>
                <a:gd name="T45" fmla="*/ 6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3">
                  <a:moveTo>
                    <a:pt x="1615" y="61"/>
                  </a:moveTo>
                  <a:lnTo>
                    <a:pt x="1612" y="81"/>
                  </a:lnTo>
                  <a:lnTo>
                    <a:pt x="1603" y="98"/>
                  </a:lnTo>
                  <a:lnTo>
                    <a:pt x="1590" y="111"/>
                  </a:lnTo>
                  <a:lnTo>
                    <a:pt x="1573" y="120"/>
                  </a:lnTo>
                  <a:lnTo>
                    <a:pt x="1554" y="123"/>
                  </a:lnTo>
                  <a:lnTo>
                    <a:pt x="61" y="123"/>
                  </a:lnTo>
                  <a:lnTo>
                    <a:pt x="42" y="120"/>
                  </a:lnTo>
                  <a:lnTo>
                    <a:pt x="25" y="111"/>
                  </a:lnTo>
                  <a:lnTo>
                    <a:pt x="12" y="98"/>
                  </a:lnTo>
                  <a:lnTo>
                    <a:pt x="3" y="81"/>
                  </a:lnTo>
                  <a:lnTo>
                    <a:pt x="0" y="61"/>
                  </a:lnTo>
                  <a:lnTo>
                    <a:pt x="3" y="42"/>
                  </a:lnTo>
                  <a:lnTo>
                    <a:pt x="12" y="25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3"/>
                  </a:lnTo>
                  <a:lnTo>
                    <a:pt x="1590" y="12"/>
                  </a:lnTo>
                  <a:lnTo>
                    <a:pt x="1603" y="25"/>
                  </a:lnTo>
                  <a:lnTo>
                    <a:pt x="1612" y="42"/>
                  </a:lnTo>
                  <a:lnTo>
                    <a:pt x="161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6"/>
            <p:cNvSpPr>
              <a:spLocks/>
            </p:cNvSpPr>
            <p:nvPr/>
          </p:nvSpPr>
          <p:spPr bwMode="auto">
            <a:xfrm>
              <a:off x="-312" y="2092"/>
              <a:ext cx="180" cy="14"/>
            </a:xfrm>
            <a:custGeom>
              <a:avLst/>
              <a:gdLst>
                <a:gd name="T0" fmla="*/ 1615 w 1615"/>
                <a:gd name="T1" fmla="*/ 63 h 124"/>
                <a:gd name="T2" fmla="*/ 1612 w 1615"/>
                <a:gd name="T3" fmla="*/ 82 h 124"/>
                <a:gd name="T4" fmla="*/ 1603 w 1615"/>
                <a:gd name="T5" fmla="*/ 99 h 124"/>
                <a:gd name="T6" fmla="*/ 1590 w 1615"/>
                <a:gd name="T7" fmla="*/ 112 h 124"/>
                <a:gd name="T8" fmla="*/ 1573 w 1615"/>
                <a:gd name="T9" fmla="*/ 120 h 124"/>
                <a:gd name="T10" fmla="*/ 1554 w 1615"/>
                <a:gd name="T11" fmla="*/ 124 h 124"/>
                <a:gd name="T12" fmla="*/ 61 w 1615"/>
                <a:gd name="T13" fmla="*/ 124 h 124"/>
                <a:gd name="T14" fmla="*/ 42 w 1615"/>
                <a:gd name="T15" fmla="*/ 120 h 124"/>
                <a:gd name="T16" fmla="*/ 25 w 1615"/>
                <a:gd name="T17" fmla="*/ 112 h 124"/>
                <a:gd name="T18" fmla="*/ 12 w 1615"/>
                <a:gd name="T19" fmla="*/ 99 h 124"/>
                <a:gd name="T20" fmla="*/ 3 w 1615"/>
                <a:gd name="T21" fmla="*/ 82 h 124"/>
                <a:gd name="T22" fmla="*/ 0 w 1615"/>
                <a:gd name="T23" fmla="*/ 63 h 124"/>
                <a:gd name="T24" fmla="*/ 3 w 1615"/>
                <a:gd name="T25" fmla="*/ 43 h 124"/>
                <a:gd name="T26" fmla="*/ 12 w 1615"/>
                <a:gd name="T27" fmla="*/ 26 h 124"/>
                <a:gd name="T28" fmla="*/ 25 w 1615"/>
                <a:gd name="T29" fmla="*/ 12 h 124"/>
                <a:gd name="T30" fmla="*/ 42 w 1615"/>
                <a:gd name="T31" fmla="*/ 4 h 124"/>
                <a:gd name="T32" fmla="*/ 61 w 1615"/>
                <a:gd name="T33" fmla="*/ 0 h 124"/>
                <a:gd name="T34" fmla="*/ 1554 w 1615"/>
                <a:gd name="T35" fmla="*/ 0 h 124"/>
                <a:gd name="T36" fmla="*/ 1573 w 1615"/>
                <a:gd name="T37" fmla="*/ 4 h 124"/>
                <a:gd name="T38" fmla="*/ 1590 w 1615"/>
                <a:gd name="T39" fmla="*/ 12 h 124"/>
                <a:gd name="T40" fmla="*/ 1603 w 1615"/>
                <a:gd name="T41" fmla="*/ 26 h 124"/>
                <a:gd name="T42" fmla="*/ 1612 w 1615"/>
                <a:gd name="T43" fmla="*/ 43 h 124"/>
                <a:gd name="T44" fmla="*/ 1615 w 1615"/>
                <a:gd name="T45" fmla="*/ 6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4">
                  <a:moveTo>
                    <a:pt x="1615" y="63"/>
                  </a:moveTo>
                  <a:lnTo>
                    <a:pt x="1612" y="82"/>
                  </a:lnTo>
                  <a:lnTo>
                    <a:pt x="1603" y="99"/>
                  </a:lnTo>
                  <a:lnTo>
                    <a:pt x="1590" y="112"/>
                  </a:lnTo>
                  <a:lnTo>
                    <a:pt x="1573" y="120"/>
                  </a:lnTo>
                  <a:lnTo>
                    <a:pt x="1554" y="124"/>
                  </a:lnTo>
                  <a:lnTo>
                    <a:pt x="61" y="124"/>
                  </a:lnTo>
                  <a:lnTo>
                    <a:pt x="42" y="120"/>
                  </a:lnTo>
                  <a:lnTo>
                    <a:pt x="25" y="112"/>
                  </a:lnTo>
                  <a:lnTo>
                    <a:pt x="12" y="99"/>
                  </a:lnTo>
                  <a:lnTo>
                    <a:pt x="3" y="82"/>
                  </a:lnTo>
                  <a:lnTo>
                    <a:pt x="0" y="63"/>
                  </a:lnTo>
                  <a:lnTo>
                    <a:pt x="3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4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4"/>
                  </a:lnTo>
                  <a:lnTo>
                    <a:pt x="1590" y="12"/>
                  </a:lnTo>
                  <a:lnTo>
                    <a:pt x="1603" y="26"/>
                  </a:lnTo>
                  <a:lnTo>
                    <a:pt x="1612" y="43"/>
                  </a:lnTo>
                  <a:lnTo>
                    <a:pt x="1615" y="6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7"/>
            <p:cNvSpPr>
              <a:spLocks/>
            </p:cNvSpPr>
            <p:nvPr/>
          </p:nvSpPr>
          <p:spPr bwMode="auto">
            <a:xfrm>
              <a:off x="-312" y="2153"/>
              <a:ext cx="179" cy="14"/>
            </a:xfrm>
            <a:custGeom>
              <a:avLst/>
              <a:gdLst>
                <a:gd name="T0" fmla="*/ 1614 w 1614"/>
                <a:gd name="T1" fmla="*/ 49 h 124"/>
                <a:gd name="T2" fmla="*/ 1540 w 1614"/>
                <a:gd name="T3" fmla="*/ 124 h 124"/>
                <a:gd name="T4" fmla="*/ 61 w 1614"/>
                <a:gd name="T5" fmla="*/ 124 h 124"/>
                <a:gd name="T6" fmla="*/ 42 w 1614"/>
                <a:gd name="T7" fmla="*/ 121 h 124"/>
                <a:gd name="T8" fmla="*/ 25 w 1614"/>
                <a:gd name="T9" fmla="*/ 112 h 124"/>
                <a:gd name="T10" fmla="*/ 12 w 1614"/>
                <a:gd name="T11" fmla="*/ 98 h 124"/>
                <a:gd name="T12" fmla="*/ 2 w 1614"/>
                <a:gd name="T13" fmla="*/ 81 h 124"/>
                <a:gd name="T14" fmla="*/ 0 w 1614"/>
                <a:gd name="T15" fmla="*/ 62 h 124"/>
                <a:gd name="T16" fmla="*/ 2 w 1614"/>
                <a:gd name="T17" fmla="*/ 43 h 124"/>
                <a:gd name="T18" fmla="*/ 12 w 1614"/>
                <a:gd name="T19" fmla="*/ 26 h 124"/>
                <a:gd name="T20" fmla="*/ 25 w 1614"/>
                <a:gd name="T21" fmla="*/ 12 h 124"/>
                <a:gd name="T22" fmla="*/ 42 w 1614"/>
                <a:gd name="T23" fmla="*/ 3 h 124"/>
                <a:gd name="T24" fmla="*/ 61 w 1614"/>
                <a:gd name="T25" fmla="*/ 0 h 124"/>
                <a:gd name="T26" fmla="*/ 1554 w 1614"/>
                <a:gd name="T27" fmla="*/ 0 h 124"/>
                <a:gd name="T28" fmla="*/ 1571 w 1614"/>
                <a:gd name="T29" fmla="*/ 3 h 124"/>
                <a:gd name="T30" fmla="*/ 1586 w 1614"/>
                <a:gd name="T31" fmla="*/ 10 h 124"/>
                <a:gd name="T32" fmla="*/ 1599 w 1614"/>
                <a:gd name="T33" fmla="*/ 20 h 124"/>
                <a:gd name="T34" fmla="*/ 1609 w 1614"/>
                <a:gd name="T35" fmla="*/ 33 h 124"/>
                <a:gd name="T36" fmla="*/ 1614 w 1614"/>
                <a:gd name="T37" fmla="*/ 49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14" h="124">
                  <a:moveTo>
                    <a:pt x="1614" y="49"/>
                  </a:moveTo>
                  <a:lnTo>
                    <a:pt x="1540" y="124"/>
                  </a:lnTo>
                  <a:lnTo>
                    <a:pt x="61" y="124"/>
                  </a:lnTo>
                  <a:lnTo>
                    <a:pt x="42" y="121"/>
                  </a:lnTo>
                  <a:lnTo>
                    <a:pt x="25" y="112"/>
                  </a:lnTo>
                  <a:lnTo>
                    <a:pt x="12" y="98"/>
                  </a:lnTo>
                  <a:lnTo>
                    <a:pt x="2" y="81"/>
                  </a:lnTo>
                  <a:lnTo>
                    <a:pt x="0" y="62"/>
                  </a:lnTo>
                  <a:lnTo>
                    <a:pt x="2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1" y="3"/>
                  </a:lnTo>
                  <a:lnTo>
                    <a:pt x="1586" y="10"/>
                  </a:lnTo>
                  <a:lnTo>
                    <a:pt x="1599" y="20"/>
                  </a:lnTo>
                  <a:lnTo>
                    <a:pt x="1609" y="33"/>
                  </a:lnTo>
                  <a:lnTo>
                    <a:pt x="1614" y="4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8"/>
            <p:cNvSpPr>
              <a:spLocks/>
            </p:cNvSpPr>
            <p:nvPr/>
          </p:nvSpPr>
          <p:spPr bwMode="auto">
            <a:xfrm>
              <a:off x="-224" y="2177"/>
              <a:ext cx="129" cy="132"/>
            </a:xfrm>
            <a:custGeom>
              <a:avLst/>
              <a:gdLst>
                <a:gd name="T0" fmla="*/ 1155 w 1157"/>
                <a:gd name="T1" fmla="*/ 280 h 1183"/>
                <a:gd name="T2" fmla="*/ 1140 w 1157"/>
                <a:gd name="T3" fmla="*/ 296 h 1183"/>
                <a:gd name="T4" fmla="*/ 1111 w 1157"/>
                <a:gd name="T5" fmla="*/ 325 h 1183"/>
                <a:gd name="T6" fmla="*/ 1070 w 1157"/>
                <a:gd name="T7" fmla="*/ 367 h 1183"/>
                <a:gd name="T8" fmla="*/ 1020 w 1157"/>
                <a:gd name="T9" fmla="*/ 417 h 1183"/>
                <a:gd name="T10" fmla="*/ 963 w 1157"/>
                <a:gd name="T11" fmla="*/ 475 h 1183"/>
                <a:gd name="T12" fmla="*/ 899 w 1157"/>
                <a:gd name="T13" fmla="*/ 537 h 1183"/>
                <a:gd name="T14" fmla="*/ 833 w 1157"/>
                <a:gd name="T15" fmla="*/ 603 h 1183"/>
                <a:gd name="T16" fmla="*/ 765 w 1157"/>
                <a:gd name="T17" fmla="*/ 670 h 1183"/>
                <a:gd name="T18" fmla="*/ 697 w 1157"/>
                <a:gd name="T19" fmla="*/ 736 h 1183"/>
                <a:gd name="T20" fmla="*/ 633 w 1157"/>
                <a:gd name="T21" fmla="*/ 798 h 1183"/>
                <a:gd name="T22" fmla="*/ 573 w 1157"/>
                <a:gd name="T23" fmla="*/ 855 h 1183"/>
                <a:gd name="T24" fmla="*/ 520 w 1157"/>
                <a:gd name="T25" fmla="*/ 904 h 1183"/>
                <a:gd name="T26" fmla="*/ 475 w 1157"/>
                <a:gd name="T27" fmla="*/ 945 h 1183"/>
                <a:gd name="T28" fmla="*/ 442 w 1157"/>
                <a:gd name="T29" fmla="*/ 973 h 1183"/>
                <a:gd name="T30" fmla="*/ 427 w 1157"/>
                <a:gd name="T31" fmla="*/ 983 h 1183"/>
                <a:gd name="T32" fmla="*/ 409 w 1157"/>
                <a:gd name="T33" fmla="*/ 995 h 1183"/>
                <a:gd name="T34" fmla="*/ 378 w 1157"/>
                <a:gd name="T35" fmla="*/ 1017 h 1183"/>
                <a:gd name="T36" fmla="*/ 336 w 1157"/>
                <a:gd name="T37" fmla="*/ 1042 h 1183"/>
                <a:gd name="T38" fmla="*/ 287 w 1157"/>
                <a:gd name="T39" fmla="*/ 1071 h 1183"/>
                <a:gd name="T40" fmla="*/ 234 w 1157"/>
                <a:gd name="T41" fmla="*/ 1099 h 1183"/>
                <a:gd name="T42" fmla="*/ 181 w 1157"/>
                <a:gd name="T43" fmla="*/ 1123 h 1183"/>
                <a:gd name="T44" fmla="*/ 129 w 1157"/>
                <a:gd name="T45" fmla="*/ 1139 h 1183"/>
                <a:gd name="T46" fmla="*/ 84 w 1157"/>
                <a:gd name="T47" fmla="*/ 1143 h 1183"/>
                <a:gd name="T48" fmla="*/ 78 w 1157"/>
                <a:gd name="T49" fmla="*/ 1144 h 1183"/>
                <a:gd name="T50" fmla="*/ 47 w 1157"/>
                <a:gd name="T51" fmla="*/ 1174 h 1183"/>
                <a:gd name="T52" fmla="*/ 27 w 1157"/>
                <a:gd name="T53" fmla="*/ 1183 h 1183"/>
                <a:gd name="T54" fmla="*/ 9 w 1157"/>
                <a:gd name="T55" fmla="*/ 1176 h 1183"/>
                <a:gd name="T56" fmla="*/ 0 w 1157"/>
                <a:gd name="T57" fmla="*/ 1157 h 1183"/>
                <a:gd name="T58" fmla="*/ 6 w 1157"/>
                <a:gd name="T59" fmla="*/ 1137 h 1183"/>
                <a:gd name="T60" fmla="*/ 29 w 1157"/>
                <a:gd name="T61" fmla="*/ 1091 h 1183"/>
                <a:gd name="T62" fmla="*/ 32 w 1157"/>
                <a:gd name="T63" fmla="*/ 1046 h 1183"/>
                <a:gd name="T64" fmla="*/ 46 w 1157"/>
                <a:gd name="T65" fmla="*/ 994 h 1183"/>
                <a:gd name="T66" fmla="*/ 68 w 1157"/>
                <a:gd name="T67" fmla="*/ 941 h 1183"/>
                <a:gd name="T68" fmla="*/ 93 w 1157"/>
                <a:gd name="T69" fmla="*/ 886 h 1183"/>
                <a:gd name="T70" fmla="*/ 120 w 1157"/>
                <a:gd name="T71" fmla="*/ 837 h 1183"/>
                <a:gd name="T72" fmla="*/ 146 w 1157"/>
                <a:gd name="T73" fmla="*/ 794 h 1183"/>
                <a:gd name="T74" fmla="*/ 167 w 1157"/>
                <a:gd name="T75" fmla="*/ 762 h 1183"/>
                <a:gd name="T76" fmla="*/ 177 w 1157"/>
                <a:gd name="T77" fmla="*/ 745 h 1183"/>
                <a:gd name="T78" fmla="*/ 188 w 1157"/>
                <a:gd name="T79" fmla="*/ 730 h 1183"/>
                <a:gd name="T80" fmla="*/ 215 w 1157"/>
                <a:gd name="T81" fmla="*/ 695 h 1183"/>
                <a:gd name="T82" fmla="*/ 254 w 1157"/>
                <a:gd name="T83" fmla="*/ 650 h 1183"/>
                <a:gd name="T84" fmla="*/ 302 w 1157"/>
                <a:gd name="T85" fmla="*/ 596 h 1183"/>
                <a:gd name="T86" fmla="*/ 358 w 1157"/>
                <a:gd name="T87" fmla="*/ 535 h 1183"/>
                <a:gd name="T88" fmla="*/ 419 w 1157"/>
                <a:gd name="T89" fmla="*/ 469 h 1183"/>
                <a:gd name="T90" fmla="*/ 484 w 1157"/>
                <a:gd name="T91" fmla="*/ 400 h 1183"/>
                <a:gd name="T92" fmla="*/ 549 w 1157"/>
                <a:gd name="T93" fmla="*/ 331 h 1183"/>
                <a:gd name="T94" fmla="*/ 614 w 1157"/>
                <a:gd name="T95" fmla="*/ 264 h 1183"/>
                <a:gd name="T96" fmla="*/ 675 w 1157"/>
                <a:gd name="T97" fmla="*/ 199 h 1183"/>
                <a:gd name="T98" fmla="*/ 732 w 1157"/>
                <a:gd name="T99" fmla="*/ 141 h 1183"/>
                <a:gd name="T100" fmla="*/ 781 w 1157"/>
                <a:gd name="T101" fmla="*/ 89 h 1183"/>
                <a:gd name="T102" fmla="*/ 821 w 1157"/>
                <a:gd name="T103" fmla="*/ 47 h 1183"/>
                <a:gd name="T104" fmla="*/ 850 w 1157"/>
                <a:gd name="T105" fmla="*/ 18 h 1183"/>
                <a:gd name="T106" fmla="*/ 865 w 1157"/>
                <a:gd name="T107" fmla="*/ 2 h 1183"/>
                <a:gd name="T108" fmla="*/ 1012 w 1157"/>
                <a:gd name="T109" fmla="*/ 137 h 1183"/>
                <a:gd name="T110" fmla="*/ 1020 w 1157"/>
                <a:gd name="T111" fmla="*/ 145 h 1183"/>
                <a:gd name="T112" fmla="*/ 1039 w 1157"/>
                <a:gd name="T113" fmla="*/ 162 h 1183"/>
                <a:gd name="T114" fmla="*/ 1064 w 1157"/>
                <a:gd name="T115" fmla="*/ 187 h 1183"/>
                <a:gd name="T116" fmla="*/ 1093 w 1157"/>
                <a:gd name="T117" fmla="*/ 214 h 1183"/>
                <a:gd name="T118" fmla="*/ 1121 w 1157"/>
                <a:gd name="T119" fmla="*/ 241 h 1183"/>
                <a:gd name="T120" fmla="*/ 1142 w 1157"/>
                <a:gd name="T121" fmla="*/ 264 h 1183"/>
                <a:gd name="T122" fmla="*/ 1155 w 1157"/>
                <a:gd name="T123" fmla="*/ 277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57" h="1183">
                  <a:moveTo>
                    <a:pt x="1157" y="278"/>
                  </a:moveTo>
                  <a:lnTo>
                    <a:pt x="1155" y="280"/>
                  </a:lnTo>
                  <a:lnTo>
                    <a:pt x="1150" y="286"/>
                  </a:lnTo>
                  <a:lnTo>
                    <a:pt x="1140" y="296"/>
                  </a:lnTo>
                  <a:lnTo>
                    <a:pt x="1127" y="309"/>
                  </a:lnTo>
                  <a:lnTo>
                    <a:pt x="1111" y="325"/>
                  </a:lnTo>
                  <a:lnTo>
                    <a:pt x="1092" y="344"/>
                  </a:lnTo>
                  <a:lnTo>
                    <a:pt x="1070" y="367"/>
                  </a:lnTo>
                  <a:lnTo>
                    <a:pt x="1047" y="390"/>
                  </a:lnTo>
                  <a:lnTo>
                    <a:pt x="1020" y="417"/>
                  </a:lnTo>
                  <a:lnTo>
                    <a:pt x="992" y="445"/>
                  </a:lnTo>
                  <a:lnTo>
                    <a:pt x="963" y="475"/>
                  </a:lnTo>
                  <a:lnTo>
                    <a:pt x="932" y="505"/>
                  </a:lnTo>
                  <a:lnTo>
                    <a:pt x="899" y="537"/>
                  </a:lnTo>
                  <a:lnTo>
                    <a:pt x="866" y="570"/>
                  </a:lnTo>
                  <a:lnTo>
                    <a:pt x="833" y="603"/>
                  </a:lnTo>
                  <a:lnTo>
                    <a:pt x="799" y="636"/>
                  </a:lnTo>
                  <a:lnTo>
                    <a:pt x="765" y="670"/>
                  </a:lnTo>
                  <a:lnTo>
                    <a:pt x="731" y="703"/>
                  </a:lnTo>
                  <a:lnTo>
                    <a:pt x="697" y="736"/>
                  </a:lnTo>
                  <a:lnTo>
                    <a:pt x="665" y="767"/>
                  </a:lnTo>
                  <a:lnTo>
                    <a:pt x="633" y="798"/>
                  </a:lnTo>
                  <a:lnTo>
                    <a:pt x="603" y="827"/>
                  </a:lnTo>
                  <a:lnTo>
                    <a:pt x="573" y="855"/>
                  </a:lnTo>
                  <a:lnTo>
                    <a:pt x="546" y="881"/>
                  </a:lnTo>
                  <a:lnTo>
                    <a:pt x="520" y="904"/>
                  </a:lnTo>
                  <a:lnTo>
                    <a:pt x="496" y="926"/>
                  </a:lnTo>
                  <a:lnTo>
                    <a:pt x="475" y="945"/>
                  </a:lnTo>
                  <a:lnTo>
                    <a:pt x="457" y="960"/>
                  </a:lnTo>
                  <a:lnTo>
                    <a:pt x="442" y="973"/>
                  </a:lnTo>
                  <a:lnTo>
                    <a:pt x="429" y="981"/>
                  </a:lnTo>
                  <a:lnTo>
                    <a:pt x="427" y="983"/>
                  </a:lnTo>
                  <a:lnTo>
                    <a:pt x="420" y="988"/>
                  </a:lnTo>
                  <a:lnTo>
                    <a:pt x="409" y="995"/>
                  </a:lnTo>
                  <a:lnTo>
                    <a:pt x="395" y="1005"/>
                  </a:lnTo>
                  <a:lnTo>
                    <a:pt x="378" y="1017"/>
                  </a:lnTo>
                  <a:lnTo>
                    <a:pt x="359" y="1029"/>
                  </a:lnTo>
                  <a:lnTo>
                    <a:pt x="336" y="1042"/>
                  </a:lnTo>
                  <a:lnTo>
                    <a:pt x="313" y="1057"/>
                  </a:lnTo>
                  <a:lnTo>
                    <a:pt x="287" y="1071"/>
                  </a:lnTo>
                  <a:lnTo>
                    <a:pt x="261" y="1086"/>
                  </a:lnTo>
                  <a:lnTo>
                    <a:pt x="234" y="1099"/>
                  </a:lnTo>
                  <a:lnTo>
                    <a:pt x="207" y="1112"/>
                  </a:lnTo>
                  <a:lnTo>
                    <a:pt x="181" y="1123"/>
                  </a:lnTo>
                  <a:lnTo>
                    <a:pt x="155" y="1131"/>
                  </a:lnTo>
                  <a:lnTo>
                    <a:pt x="129" y="1139"/>
                  </a:lnTo>
                  <a:lnTo>
                    <a:pt x="105" y="1142"/>
                  </a:lnTo>
                  <a:lnTo>
                    <a:pt x="84" y="1143"/>
                  </a:lnTo>
                  <a:lnTo>
                    <a:pt x="82" y="1144"/>
                  </a:lnTo>
                  <a:lnTo>
                    <a:pt x="78" y="1144"/>
                  </a:lnTo>
                  <a:lnTo>
                    <a:pt x="76" y="1144"/>
                  </a:lnTo>
                  <a:lnTo>
                    <a:pt x="47" y="1174"/>
                  </a:lnTo>
                  <a:lnTo>
                    <a:pt x="38" y="1180"/>
                  </a:lnTo>
                  <a:lnTo>
                    <a:pt x="27" y="1183"/>
                  </a:lnTo>
                  <a:lnTo>
                    <a:pt x="17" y="1182"/>
                  </a:lnTo>
                  <a:lnTo>
                    <a:pt x="9" y="1176"/>
                  </a:lnTo>
                  <a:lnTo>
                    <a:pt x="2" y="1167"/>
                  </a:lnTo>
                  <a:lnTo>
                    <a:pt x="0" y="1157"/>
                  </a:lnTo>
                  <a:lnTo>
                    <a:pt x="1" y="1146"/>
                  </a:lnTo>
                  <a:lnTo>
                    <a:pt x="6" y="1137"/>
                  </a:lnTo>
                  <a:lnTo>
                    <a:pt x="33" y="1109"/>
                  </a:lnTo>
                  <a:lnTo>
                    <a:pt x="29" y="1091"/>
                  </a:lnTo>
                  <a:lnTo>
                    <a:pt x="29" y="1069"/>
                  </a:lnTo>
                  <a:lnTo>
                    <a:pt x="32" y="1046"/>
                  </a:lnTo>
                  <a:lnTo>
                    <a:pt x="38" y="1021"/>
                  </a:lnTo>
                  <a:lnTo>
                    <a:pt x="46" y="994"/>
                  </a:lnTo>
                  <a:lnTo>
                    <a:pt x="56" y="967"/>
                  </a:lnTo>
                  <a:lnTo>
                    <a:pt x="68" y="941"/>
                  </a:lnTo>
                  <a:lnTo>
                    <a:pt x="81" y="913"/>
                  </a:lnTo>
                  <a:lnTo>
                    <a:pt x="93" y="886"/>
                  </a:lnTo>
                  <a:lnTo>
                    <a:pt x="107" y="860"/>
                  </a:lnTo>
                  <a:lnTo>
                    <a:pt x="120" y="837"/>
                  </a:lnTo>
                  <a:lnTo>
                    <a:pt x="134" y="814"/>
                  </a:lnTo>
                  <a:lnTo>
                    <a:pt x="146" y="794"/>
                  </a:lnTo>
                  <a:lnTo>
                    <a:pt x="157" y="777"/>
                  </a:lnTo>
                  <a:lnTo>
                    <a:pt x="167" y="762"/>
                  </a:lnTo>
                  <a:lnTo>
                    <a:pt x="173" y="751"/>
                  </a:lnTo>
                  <a:lnTo>
                    <a:pt x="177" y="745"/>
                  </a:lnTo>
                  <a:lnTo>
                    <a:pt x="179" y="742"/>
                  </a:lnTo>
                  <a:lnTo>
                    <a:pt x="188" y="730"/>
                  </a:lnTo>
                  <a:lnTo>
                    <a:pt x="200" y="715"/>
                  </a:lnTo>
                  <a:lnTo>
                    <a:pt x="215" y="695"/>
                  </a:lnTo>
                  <a:lnTo>
                    <a:pt x="233" y="674"/>
                  </a:lnTo>
                  <a:lnTo>
                    <a:pt x="254" y="650"/>
                  </a:lnTo>
                  <a:lnTo>
                    <a:pt x="277" y="624"/>
                  </a:lnTo>
                  <a:lnTo>
                    <a:pt x="302" y="596"/>
                  </a:lnTo>
                  <a:lnTo>
                    <a:pt x="329" y="566"/>
                  </a:lnTo>
                  <a:lnTo>
                    <a:pt x="358" y="535"/>
                  </a:lnTo>
                  <a:lnTo>
                    <a:pt x="388" y="503"/>
                  </a:lnTo>
                  <a:lnTo>
                    <a:pt x="419" y="469"/>
                  </a:lnTo>
                  <a:lnTo>
                    <a:pt x="451" y="435"/>
                  </a:lnTo>
                  <a:lnTo>
                    <a:pt x="484" y="400"/>
                  </a:lnTo>
                  <a:lnTo>
                    <a:pt x="516" y="365"/>
                  </a:lnTo>
                  <a:lnTo>
                    <a:pt x="549" y="331"/>
                  </a:lnTo>
                  <a:lnTo>
                    <a:pt x="581" y="297"/>
                  </a:lnTo>
                  <a:lnTo>
                    <a:pt x="614" y="264"/>
                  </a:lnTo>
                  <a:lnTo>
                    <a:pt x="645" y="230"/>
                  </a:lnTo>
                  <a:lnTo>
                    <a:pt x="675" y="199"/>
                  </a:lnTo>
                  <a:lnTo>
                    <a:pt x="704" y="168"/>
                  </a:lnTo>
                  <a:lnTo>
                    <a:pt x="732" y="141"/>
                  </a:lnTo>
                  <a:lnTo>
                    <a:pt x="758" y="114"/>
                  </a:lnTo>
                  <a:lnTo>
                    <a:pt x="781" y="89"/>
                  </a:lnTo>
                  <a:lnTo>
                    <a:pt x="803" y="68"/>
                  </a:lnTo>
                  <a:lnTo>
                    <a:pt x="821" y="47"/>
                  </a:lnTo>
                  <a:lnTo>
                    <a:pt x="837" y="31"/>
                  </a:lnTo>
                  <a:lnTo>
                    <a:pt x="850" y="18"/>
                  </a:lnTo>
                  <a:lnTo>
                    <a:pt x="860" y="9"/>
                  </a:lnTo>
                  <a:lnTo>
                    <a:pt x="865" y="2"/>
                  </a:lnTo>
                  <a:lnTo>
                    <a:pt x="867" y="0"/>
                  </a:lnTo>
                  <a:lnTo>
                    <a:pt x="1012" y="137"/>
                  </a:lnTo>
                  <a:lnTo>
                    <a:pt x="1014" y="139"/>
                  </a:lnTo>
                  <a:lnTo>
                    <a:pt x="1020" y="145"/>
                  </a:lnTo>
                  <a:lnTo>
                    <a:pt x="1028" y="152"/>
                  </a:lnTo>
                  <a:lnTo>
                    <a:pt x="1039" y="162"/>
                  </a:lnTo>
                  <a:lnTo>
                    <a:pt x="1051" y="174"/>
                  </a:lnTo>
                  <a:lnTo>
                    <a:pt x="1064" y="187"/>
                  </a:lnTo>
                  <a:lnTo>
                    <a:pt x="1079" y="201"/>
                  </a:lnTo>
                  <a:lnTo>
                    <a:pt x="1093" y="214"/>
                  </a:lnTo>
                  <a:lnTo>
                    <a:pt x="1107" y="228"/>
                  </a:lnTo>
                  <a:lnTo>
                    <a:pt x="1121" y="241"/>
                  </a:lnTo>
                  <a:lnTo>
                    <a:pt x="1133" y="253"/>
                  </a:lnTo>
                  <a:lnTo>
                    <a:pt x="1142" y="264"/>
                  </a:lnTo>
                  <a:lnTo>
                    <a:pt x="1151" y="271"/>
                  </a:lnTo>
                  <a:lnTo>
                    <a:pt x="1155" y="277"/>
                  </a:lnTo>
                  <a:lnTo>
                    <a:pt x="1157" y="2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10873427" y="4569335"/>
            <a:ext cx="530465" cy="356173"/>
            <a:chOff x="1721801" y="2853410"/>
            <a:chExt cx="2101707" cy="1411170"/>
          </a:xfrm>
          <a:solidFill>
            <a:srgbClr val="26867C"/>
          </a:solidFill>
        </p:grpSpPr>
        <p:sp>
          <p:nvSpPr>
            <p:cNvPr id="50" name="Freeform 49"/>
            <p:cNvSpPr/>
            <p:nvPr/>
          </p:nvSpPr>
          <p:spPr>
            <a:xfrm rot="18045015">
              <a:off x="2182878" y="3021177"/>
              <a:ext cx="911102" cy="1297454"/>
            </a:xfrm>
            <a:custGeom>
              <a:avLst/>
              <a:gdLst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745536 w 911102"/>
                <a:gd name="connsiteY3" fmla="*/ 8370 h 1297454"/>
                <a:gd name="connsiteX4" fmla="*/ 824005 w 911102"/>
                <a:gd name="connsiteY4" fmla="*/ 195660 h 1297454"/>
                <a:gd name="connsiteX5" fmla="*/ 911102 w 911102"/>
                <a:gd name="connsiteY5" fmla="*/ 379668 h 1297454"/>
                <a:gd name="connsiteX6" fmla="*/ 907221 w 911102"/>
                <a:gd name="connsiteY6" fmla="*/ 382118 h 1297454"/>
                <a:gd name="connsiteX7" fmla="*/ 876660 w 911102"/>
                <a:gd name="connsiteY7" fmla="*/ 399710 h 1297454"/>
                <a:gd name="connsiteX8" fmla="*/ 490066 w 911102"/>
                <a:gd name="connsiteY8" fmla="*/ 297988 h 1297454"/>
                <a:gd name="connsiteX9" fmla="*/ 716083 w 911102"/>
                <a:gd name="connsiteY9" fmla="*/ 598865 h 1297454"/>
                <a:gd name="connsiteX10" fmla="*/ 777233 w 911102"/>
                <a:gd name="connsiteY10" fmla="*/ 615788 h 1297454"/>
                <a:gd name="connsiteX11" fmla="*/ 770153 w 911102"/>
                <a:gd name="connsiteY11" fmla="*/ 639019 h 1297454"/>
                <a:gd name="connsiteX12" fmla="*/ 753784 w 911102"/>
                <a:gd name="connsiteY12" fmla="*/ 665322 h 1297454"/>
                <a:gd name="connsiteX13" fmla="*/ 710088 w 911102"/>
                <a:gd name="connsiteY13" fmla="*/ 1078153 h 1297454"/>
                <a:gd name="connsiteX14" fmla="*/ 710501 w 911102"/>
                <a:gd name="connsiteY14" fmla="*/ 1086412 h 1297454"/>
                <a:gd name="connsiteX15" fmla="*/ 710454 w 911102"/>
                <a:gd name="connsiteY15" fmla="*/ 1087719 h 1297454"/>
                <a:gd name="connsiteX16" fmla="*/ 714164 w 911102"/>
                <a:gd name="connsiteY16" fmla="*/ 1201144 h 1297454"/>
                <a:gd name="connsiteX17" fmla="*/ 723293 w 911102"/>
                <a:gd name="connsiteY17" fmla="*/ 1277540 h 1297454"/>
                <a:gd name="connsiteX18" fmla="*/ 723407 w 911102"/>
                <a:gd name="connsiteY18" fmla="*/ 1278872 h 1297454"/>
                <a:gd name="connsiteX19" fmla="*/ 724025 w 911102"/>
                <a:gd name="connsiteY19" fmla="*/ 1283671 h 1297454"/>
                <a:gd name="connsiteX20" fmla="*/ 724876 w 911102"/>
                <a:gd name="connsiteY20" fmla="*/ 1290789 h 1297454"/>
                <a:gd name="connsiteX21" fmla="*/ 568039 w 911102"/>
                <a:gd name="connsiteY21" fmla="*/ 1230080 h 1297454"/>
                <a:gd name="connsiteX22" fmla="*/ 364868 w 911102"/>
                <a:gd name="connsiteY22" fmla="*/ 1184795 h 1297454"/>
                <a:gd name="connsiteX23" fmla="*/ 178811 w 911102"/>
                <a:gd name="connsiteY23" fmla="*/ 1123147 h 1297454"/>
                <a:gd name="connsiteX24" fmla="*/ 28040 w 911102"/>
                <a:gd name="connsiteY24" fmla="*/ 1036282 h 1297454"/>
                <a:gd name="connsiteX25" fmla="*/ 26077 w 911102"/>
                <a:gd name="connsiteY25" fmla="*/ 1027345 h 1297454"/>
                <a:gd name="connsiteX26" fmla="*/ 152633 w 911102"/>
                <a:gd name="connsiteY26" fmla="*/ 1035076 h 1297454"/>
                <a:gd name="connsiteX27" fmla="*/ 255738 w 911102"/>
                <a:gd name="connsiteY27" fmla="*/ 943843 h 1297454"/>
                <a:gd name="connsiteX28" fmla="*/ 231475 w 911102"/>
                <a:gd name="connsiteY28" fmla="*/ 873395 h 1297454"/>
                <a:gd name="connsiteX29" fmla="*/ 213502 w 911102"/>
                <a:gd name="connsiteY29" fmla="*/ 859613 h 1297454"/>
                <a:gd name="connsiteX30" fmla="*/ 216878 w 911102"/>
                <a:gd name="connsiteY30" fmla="*/ 859143 h 1297454"/>
                <a:gd name="connsiteX31" fmla="*/ 281693 w 911102"/>
                <a:gd name="connsiteY31" fmla="*/ 773235 h 1297454"/>
                <a:gd name="connsiteX32" fmla="*/ 227816 w 911102"/>
                <a:gd name="connsiteY32" fmla="*/ 680077 h 1297454"/>
                <a:gd name="connsiteX33" fmla="*/ 217008 w 911102"/>
                <a:gd name="connsiteY33" fmla="*/ 677199 h 1297454"/>
                <a:gd name="connsiteX34" fmla="*/ 226953 w 911102"/>
                <a:gd name="connsiteY34" fmla="*/ 675817 h 1297454"/>
                <a:gd name="connsiteX35" fmla="*/ 291768 w 911102"/>
                <a:gd name="connsiteY35" fmla="*/ 589909 h 1297454"/>
                <a:gd name="connsiteX36" fmla="*/ 237891 w 911102"/>
                <a:gd name="connsiteY36" fmla="*/ 496751 h 1297454"/>
                <a:gd name="connsiteX37" fmla="*/ 221568 w 911102"/>
                <a:gd name="connsiteY37" fmla="*/ 492404 h 1297454"/>
                <a:gd name="connsiteX38" fmla="*/ 249567 w 911102"/>
                <a:gd name="connsiteY38" fmla="*/ 475916 h 1297454"/>
                <a:gd name="connsiteX39" fmla="*/ 281129 w 911102"/>
                <a:gd name="connsiteY39" fmla="*/ 411193 h 1297454"/>
                <a:gd name="connsiteX40" fmla="*/ 281130 w 911102"/>
                <a:gd name="connsiteY40" fmla="*/ 411193 h 1297454"/>
                <a:gd name="connsiteX41" fmla="*/ 257681 w 911102"/>
                <a:gd name="connsiteY41" fmla="*/ 343108 h 1297454"/>
                <a:gd name="connsiteX42" fmla="*/ 192957 w 911102"/>
                <a:gd name="connsiteY42" fmla="*/ 311547 h 1297454"/>
                <a:gd name="connsiteX43" fmla="*/ 65424 w 911102"/>
                <a:gd name="connsiteY43" fmla="*/ 303757 h 1297454"/>
                <a:gd name="connsiteX44" fmla="*/ 41901 w 911102"/>
                <a:gd name="connsiteY44" fmla="*/ 309400 h 1297454"/>
                <a:gd name="connsiteX45" fmla="*/ 56412 w 911102"/>
                <a:gd name="connsiteY45" fmla="*/ 232310 h 1297454"/>
                <a:gd name="connsiteX46" fmla="*/ 127609 w 911102"/>
                <a:gd name="connsiteY46" fmla="*/ 8370 h 1297454"/>
                <a:gd name="connsiteX47" fmla="*/ 135979 w 911102"/>
                <a:gd name="connsiteY47" fmla="*/ 0 h 1297454"/>
                <a:gd name="connsiteX48" fmla="*/ 737166 w 911102"/>
                <a:gd name="connsiteY48" fmla="*/ 0 h 1297454"/>
                <a:gd name="connsiteX49" fmla="*/ 745536 w 911102"/>
                <a:gd name="connsiteY4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824005 w 911102"/>
                <a:gd name="connsiteY5" fmla="*/ 195660 h 1297454"/>
                <a:gd name="connsiteX6" fmla="*/ 911102 w 911102"/>
                <a:gd name="connsiteY6" fmla="*/ 379668 h 1297454"/>
                <a:gd name="connsiteX7" fmla="*/ 876660 w 911102"/>
                <a:gd name="connsiteY7" fmla="*/ 399710 h 1297454"/>
                <a:gd name="connsiteX8" fmla="*/ 490066 w 911102"/>
                <a:gd name="connsiteY8" fmla="*/ 297988 h 1297454"/>
                <a:gd name="connsiteX9" fmla="*/ 716083 w 911102"/>
                <a:gd name="connsiteY9" fmla="*/ 598865 h 1297454"/>
                <a:gd name="connsiteX10" fmla="*/ 777233 w 911102"/>
                <a:gd name="connsiteY10" fmla="*/ 615788 h 1297454"/>
                <a:gd name="connsiteX11" fmla="*/ 770153 w 911102"/>
                <a:gd name="connsiteY11" fmla="*/ 639019 h 1297454"/>
                <a:gd name="connsiteX12" fmla="*/ 753784 w 911102"/>
                <a:gd name="connsiteY12" fmla="*/ 665322 h 1297454"/>
                <a:gd name="connsiteX13" fmla="*/ 710088 w 911102"/>
                <a:gd name="connsiteY13" fmla="*/ 1078153 h 1297454"/>
                <a:gd name="connsiteX14" fmla="*/ 710501 w 911102"/>
                <a:gd name="connsiteY14" fmla="*/ 1086412 h 1297454"/>
                <a:gd name="connsiteX15" fmla="*/ 710454 w 911102"/>
                <a:gd name="connsiteY15" fmla="*/ 1087719 h 1297454"/>
                <a:gd name="connsiteX16" fmla="*/ 714164 w 911102"/>
                <a:gd name="connsiteY16" fmla="*/ 1201144 h 1297454"/>
                <a:gd name="connsiteX17" fmla="*/ 723293 w 911102"/>
                <a:gd name="connsiteY17" fmla="*/ 1277540 h 1297454"/>
                <a:gd name="connsiteX18" fmla="*/ 723407 w 911102"/>
                <a:gd name="connsiteY18" fmla="*/ 1278872 h 1297454"/>
                <a:gd name="connsiteX19" fmla="*/ 724025 w 911102"/>
                <a:gd name="connsiteY19" fmla="*/ 1283671 h 1297454"/>
                <a:gd name="connsiteX20" fmla="*/ 724876 w 911102"/>
                <a:gd name="connsiteY20" fmla="*/ 1290789 h 1297454"/>
                <a:gd name="connsiteX21" fmla="*/ 568039 w 911102"/>
                <a:gd name="connsiteY21" fmla="*/ 1230080 h 1297454"/>
                <a:gd name="connsiteX22" fmla="*/ 364868 w 911102"/>
                <a:gd name="connsiteY22" fmla="*/ 1184795 h 1297454"/>
                <a:gd name="connsiteX23" fmla="*/ 178811 w 911102"/>
                <a:gd name="connsiteY23" fmla="*/ 1123147 h 1297454"/>
                <a:gd name="connsiteX24" fmla="*/ 28040 w 911102"/>
                <a:gd name="connsiteY24" fmla="*/ 1036282 h 1297454"/>
                <a:gd name="connsiteX25" fmla="*/ 26077 w 911102"/>
                <a:gd name="connsiteY25" fmla="*/ 1027345 h 1297454"/>
                <a:gd name="connsiteX26" fmla="*/ 152633 w 911102"/>
                <a:gd name="connsiteY26" fmla="*/ 1035076 h 1297454"/>
                <a:gd name="connsiteX27" fmla="*/ 255738 w 911102"/>
                <a:gd name="connsiteY27" fmla="*/ 943843 h 1297454"/>
                <a:gd name="connsiteX28" fmla="*/ 231475 w 911102"/>
                <a:gd name="connsiteY28" fmla="*/ 873395 h 1297454"/>
                <a:gd name="connsiteX29" fmla="*/ 213502 w 911102"/>
                <a:gd name="connsiteY29" fmla="*/ 859613 h 1297454"/>
                <a:gd name="connsiteX30" fmla="*/ 216878 w 911102"/>
                <a:gd name="connsiteY30" fmla="*/ 859143 h 1297454"/>
                <a:gd name="connsiteX31" fmla="*/ 281693 w 911102"/>
                <a:gd name="connsiteY31" fmla="*/ 773235 h 1297454"/>
                <a:gd name="connsiteX32" fmla="*/ 227816 w 911102"/>
                <a:gd name="connsiteY32" fmla="*/ 680077 h 1297454"/>
                <a:gd name="connsiteX33" fmla="*/ 217008 w 911102"/>
                <a:gd name="connsiteY33" fmla="*/ 677199 h 1297454"/>
                <a:gd name="connsiteX34" fmla="*/ 226953 w 911102"/>
                <a:gd name="connsiteY34" fmla="*/ 675817 h 1297454"/>
                <a:gd name="connsiteX35" fmla="*/ 291768 w 911102"/>
                <a:gd name="connsiteY35" fmla="*/ 589909 h 1297454"/>
                <a:gd name="connsiteX36" fmla="*/ 237891 w 911102"/>
                <a:gd name="connsiteY36" fmla="*/ 496751 h 1297454"/>
                <a:gd name="connsiteX37" fmla="*/ 221568 w 911102"/>
                <a:gd name="connsiteY37" fmla="*/ 492404 h 1297454"/>
                <a:gd name="connsiteX38" fmla="*/ 249567 w 911102"/>
                <a:gd name="connsiteY38" fmla="*/ 475916 h 1297454"/>
                <a:gd name="connsiteX39" fmla="*/ 281129 w 911102"/>
                <a:gd name="connsiteY39" fmla="*/ 411193 h 1297454"/>
                <a:gd name="connsiteX40" fmla="*/ 281130 w 911102"/>
                <a:gd name="connsiteY40" fmla="*/ 411193 h 1297454"/>
                <a:gd name="connsiteX41" fmla="*/ 257681 w 911102"/>
                <a:gd name="connsiteY41" fmla="*/ 343108 h 1297454"/>
                <a:gd name="connsiteX42" fmla="*/ 192957 w 911102"/>
                <a:gd name="connsiteY42" fmla="*/ 311547 h 1297454"/>
                <a:gd name="connsiteX43" fmla="*/ 65424 w 911102"/>
                <a:gd name="connsiteY43" fmla="*/ 303757 h 1297454"/>
                <a:gd name="connsiteX44" fmla="*/ 41901 w 911102"/>
                <a:gd name="connsiteY44" fmla="*/ 309400 h 1297454"/>
                <a:gd name="connsiteX45" fmla="*/ 56412 w 911102"/>
                <a:gd name="connsiteY45" fmla="*/ 232310 h 1297454"/>
                <a:gd name="connsiteX46" fmla="*/ 127609 w 911102"/>
                <a:gd name="connsiteY46" fmla="*/ 8370 h 1297454"/>
                <a:gd name="connsiteX47" fmla="*/ 135979 w 911102"/>
                <a:gd name="connsiteY47" fmla="*/ 0 h 1297454"/>
                <a:gd name="connsiteX48" fmla="*/ 737166 w 911102"/>
                <a:gd name="connsiteY48" fmla="*/ 0 h 1297454"/>
                <a:gd name="connsiteX49" fmla="*/ 745536 w 911102"/>
                <a:gd name="connsiteY4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660 w 911102"/>
                <a:gd name="connsiteY6" fmla="*/ 399710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660 w 911102"/>
                <a:gd name="connsiteY6" fmla="*/ 399710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660 w 911102"/>
                <a:gd name="connsiteY6" fmla="*/ 399710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7099 w 911102"/>
                <a:gd name="connsiteY6" fmla="*/ 391135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7099 w 911102"/>
                <a:gd name="connsiteY6" fmla="*/ 391135 h 1297454"/>
                <a:gd name="connsiteX7" fmla="*/ 495765 w 911102"/>
                <a:gd name="connsiteY7" fmla="*/ 302911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7099 w 911102"/>
                <a:gd name="connsiteY6" fmla="*/ 39113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53784 w 911102"/>
                <a:gd name="connsiteY10" fmla="*/ 665322 h 1297454"/>
                <a:gd name="connsiteX11" fmla="*/ 710088 w 911102"/>
                <a:gd name="connsiteY11" fmla="*/ 1078153 h 1297454"/>
                <a:gd name="connsiteX12" fmla="*/ 710501 w 911102"/>
                <a:gd name="connsiteY12" fmla="*/ 1086412 h 1297454"/>
                <a:gd name="connsiteX13" fmla="*/ 710454 w 911102"/>
                <a:gd name="connsiteY13" fmla="*/ 1087719 h 1297454"/>
                <a:gd name="connsiteX14" fmla="*/ 714164 w 911102"/>
                <a:gd name="connsiteY14" fmla="*/ 1201144 h 1297454"/>
                <a:gd name="connsiteX15" fmla="*/ 723293 w 911102"/>
                <a:gd name="connsiteY15" fmla="*/ 1277540 h 1297454"/>
                <a:gd name="connsiteX16" fmla="*/ 723407 w 911102"/>
                <a:gd name="connsiteY16" fmla="*/ 1278872 h 1297454"/>
                <a:gd name="connsiteX17" fmla="*/ 724025 w 911102"/>
                <a:gd name="connsiteY17" fmla="*/ 1283671 h 1297454"/>
                <a:gd name="connsiteX18" fmla="*/ 724876 w 911102"/>
                <a:gd name="connsiteY18" fmla="*/ 1290789 h 1297454"/>
                <a:gd name="connsiteX19" fmla="*/ 568039 w 911102"/>
                <a:gd name="connsiteY19" fmla="*/ 1230080 h 1297454"/>
                <a:gd name="connsiteX20" fmla="*/ 364868 w 911102"/>
                <a:gd name="connsiteY20" fmla="*/ 1184795 h 1297454"/>
                <a:gd name="connsiteX21" fmla="*/ 178811 w 911102"/>
                <a:gd name="connsiteY21" fmla="*/ 1123147 h 1297454"/>
                <a:gd name="connsiteX22" fmla="*/ 28040 w 911102"/>
                <a:gd name="connsiteY22" fmla="*/ 1036282 h 1297454"/>
                <a:gd name="connsiteX23" fmla="*/ 26077 w 911102"/>
                <a:gd name="connsiteY23" fmla="*/ 1027345 h 1297454"/>
                <a:gd name="connsiteX24" fmla="*/ 152633 w 911102"/>
                <a:gd name="connsiteY24" fmla="*/ 1035076 h 1297454"/>
                <a:gd name="connsiteX25" fmla="*/ 255738 w 911102"/>
                <a:gd name="connsiteY25" fmla="*/ 943843 h 1297454"/>
                <a:gd name="connsiteX26" fmla="*/ 231475 w 911102"/>
                <a:gd name="connsiteY26" fmla="*/ 873395 h 1297454"/>
                <a:gd name="connsiteX27" fmla="*/ 213502 w 911102"/>
                <a:gd name="connsiteY27" fmla="*/ 859613 h 1297454"/>
                <a:gd name="connsiteX28" fmla="*/ 216878 w 911102"/>
                <a:gd name="connsiteY28" fmla="*/ 859143 h 1297454"/>
                <a:gd name="connsiteX29" fmla="*/ 281693 w 911102"/>
                <a:gd name="connsiteY29" fmla="*/ 773235 h 1297454"/>
                <a:gd name="connsiteX30" fmla="*/ 227816 w 911102"/>
                <a:gd name="connsiteY30" fmla="*/ 680077 h 1297454"/>
                <a:gd name="connsiteX31" fmla="*/ 217008 w 911102"/>
                <a:gd name="connsiteY31" fmla="*/ 677199 h 1297454"/>
                <a:gd name="connsiteX32" fmla="*/ 226953 w 911102"/>
                <a:gd name="connsiteY32" fmla="*/ 675817 h 1297454"/>
                <a:gd name="connsiteX33" fmla="*/ 291768 w 911102"/>
                <a:gd name="connsiteY33" fmla="*/ 589909 h 1297454"/>
                <a:gd name="connsiteX34" fmla="*/ 237891 w 911102"/>
                <a:gd name="connsiteY34" fmla="*/ 496751 h 1297454"/>
                <a:gd name="connsiteX35" fmla="*/ 221568 w 911102"/>
                <a:gd name="connsiteY35" fmla="*/ 492404 h 1297454"/>
                <a:gd name="connsiteX36" fmla="*/ 249567 w 911102"/>
                <a:gd name="connsiteY36" fmla="*/ 475916 h 1297454"/>
                <a:gd name="connsiteX37" fmla="*/ 281129 w 911102"/>
                <a:gd name="connsiteY37" fmla="*/ 411193 h 1297454"/>
                <a:gd name="connsiteX38" fmla="*/ 281130 w 911102"/>
                <a:gd name="connsiteY38" fmla="*/ 411193 h 1297454"/>
                <a:gd name="connsiteX39" fmla="*/ 257681 w 911102"/>
                <a:gd name="connsiteY39" fmla="*/ 343108 h 1297454"/>
                <a:gd name="connsiteX40" fmla="*/ 192957 w 911102"/>
                <a:gd name="connsiteY40" fmla="*/ 311547 h 1297454"/>
                <a:gd name="connsiteX41" fmla="*/ 65424 w 911102"/>
                <a:gd name="connsiteY41" fmla="*/ 303757 h 1297454"/>
                <a:gd name="connsiteX42" fmla="*/ 41901 w 911102"/>
                <a:gd name="connsiteY42" fmla="*/ 309400 h 1297454"/>
                <a:gd name="connsiteX43" fmla="*/ 56412 w 911102"/>
                <a:gd name="connsiteY43" fmla="*/ 232310 h 1297454"/>
                <a:gd name="connsiteX44" fmla="*/ 127609 w 911102"/>
                <a:gd name="connsiteY44" fmla="*/ 8370 h 1297454"/>
                <a:gd name="connsiteX45" fmla="*/ 135979 w 911102"/>
                <a:gd name="connsiteY45" fmla="*/ 0 h 1297454"/>
                <a:gd name="connsiteX46" fmla="*/ 737166 w 911102"/>
                <a:gd name="connsiteY46" fmla="*/ 0 h 1297454"/>
                <a:gd name="connsiteX47" fmla="*/ 745536 w 911102"/>
                <a:gd name="connsiteY47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4164 w 911102"/>
                <a:gd name="connsiteY12" fmla="*/ 1201144 h 1297454"/>
                <a:gd name="connsiteX13" fmla="*/ 723293 w 911102"/>
                <a:gd name="connsiteY13" fmla="*/ 1277540 h 1297454"/>
                <a:gd name="connsiteX14" fmla="*/ 723407 w 911102"/>
                <a:gd name="connsiteY14" fmla="*/ 1278872 h 1297454"/>
                <a:gd name="connsiteX15" fmla="*/ 724025 w 911102"/>
                <a:gd name="connsiteY15" fmla="*/ 1283671 h 1297454"/>
                <a:gd name="connsiteX16" fmla="*/ 724876 w 911102"/>
                <a:gd name="connsiteY16" fmla="*/ 1290789 h 1297454"/>
                <a:gd name="connsiteX17" fmla="*/ 568039 w 911102"/>
                <a:gd name="connsiteY17" fmla="*/ 1230080 h 1297454"/>
                <a:gd name="connsiteX18" fmla="*/ 364868 w 911102"/>
                <a:gd name="connsiteY18" fmla="*/ 1184795 h 1297454"/>
                <a:gd name="connsiteX19" fmla="*/ 178811 w 911102"/>
                <a:gd name="connsiteY19" fmla="*/ 1123147 h 1297454"/>
                <a:gd name="connsiteX20" fmla="*/ 28040 w 911102"/>
                <a:gd name="connsiteY20" fmla="*/ 1036282 h 1297454"/>
                <a:gd name="connsiteX21" fmla="*/ 26077 w 911102"/>
                <a:gd name="connsiteY21" fmla="*/ 1027345 h 1297454"/>
                <a:gd name="connsiteX22" fmla="*/ 152633 w 911102"/>
                <a:gd name="connsiteY22" fmla="*/ 1035076 h 1297454"/>
                <a:gd name="connsiteX23" fmla="*/ 255738 w 911102"/>
                <a:gd name="connsiteY23" fmla="*/ 943843 h 1297454"/>
                <a:gd name="connsiteX24" fmla="*/ 231475 w 911102"/>
                <a:gd name="connsiteY24" fmla="*/ 873395 h 1297454"/>
                <a:gd name="connsiteX25" fmla="*/ 213502 w 911102"/>
                <a:gd name="connsiteY25" fmla="*/ 859613 h 1297454"/>
                <a:gd name="connsiteX26" fmla="*/ 216878 w 911102"/>
                <a:gd name="connsiteY26" fmla="*/ 859143 h 1297454"/>
                <a:gd name="connsiteX27" fmla="*/ 281693 w 911102"/>
                <a:gd name="connsiteY27" fmla="*/ 773235 h 1297454"/>
                <a:gd name="connsiteX28" fmla="*/ 227816 w 911102"/>
                <a:gd name="connsiteY28" fmla="*/ 680077 h 1297454"/>
                <a:gd name="connsiteX29" fmla="*/ 217008 w 911102"/>
                <a:gd name="connsiteY29" fmla="*/ 677199 h 1297454"/>
                <a:gd name="connsiteX30" fmla="*/ 226953 w 911102"/>
                <a:gd name="connsiteY30" fmla="*/ 675817 h 1297454"/>
                <a:gd name="connsiteX31" fmla="*/ 291768 w 911102"/>
                <a:gd name="connsiteY31" fmla="*/ 589909 h 1297454"/>
                <a:gd name="connsiteX32" fmla="*/ 237891 w 911102"/>
                <a:gd name="connsiteY32" fmla="*/ 496751 h 1297454"/>
                <a:gd name="connsiteX33" fmla="*/ 221568 w 911102"/>
                <a:gd name="connsiteY33" fmla="*/ 492404 h 1297454"/>
                <a:gd name="connsiteX34" fmla="*/ 249567 w 911102"/>
                <a:gd name="connsiteY34" fmla="*/ 475916 h 1297454"/>
                <a:gd name="connsiteX35" fmla="*/ 281129 w 911102"/>
                <a:gd name="connsiteY35" fmla="*/ 411193 h 1297454"/>
                <a:gd name="connsiteX36" fmla="*/ 281130 w 911102"/>
                <a:gd name="connsiteY36" fmla="*/ 411193 h 1297454"/>
                <a:gd name="connsiteX37" fmla="*/ 257681 w 911102"/>
                <a:gd name="connsiteY37" fmla="*/ 343108 h 1297454"/>
                <a:gd name="connsiteX38" fmla="*/ 192957 w 911102"/>
                <a:gd name="connsiteY38" fmla="*/ 311547 h 1297454"/>
                <a:gd name="connsiteX39" fmla="*/ 65424 w 911102"/>
                <a:gd name="connsiteY39" fmla="*/ 303757 h 1297454"/>
                <a:gd name="connsiteX40" fmla="*/ 41901 w 911102"/>
                <a:gd name="connsiteY40" fmla="*/ 309400 h 1297454"/>
                <a:gd name="connsiteX41" fmla="*/ 56412 w 911102"/>
                <a:gd name="connsiteY41" fmla="*/ 232310 h 1297454"/>
                <a:gd name="connsiteX42" fmla="*/ 127609 w 911102"/>
                <a:gd name="connsiteY42" fmla="*/ 8370 h 1297454"/>
                <a:gd name="connsiteX43" fmla="*/ 135979 w 911102"/>
                <a:gd name="connsiteY43" fmla="*/ 0 h 1297454"/>
                <a:gd name="connsiteX44" fmla="*/ 737166 w 911102"/>
                <a:gd name="connsiteY44" fmla="*/ 0 h 1297454"/>
                <a:gd name="connsiteX45" fmla="*/ 745536 w 911102"/>
                <a:gd name="connsiteY45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4164 w 911102"/>
                <a:gd name="connsiteY11" fmla="*/ 1201144 h 1297454"/>
                <a:gd name="connsiteX12" fmla="*/ 723293 w 911102"/>
                <a:gd name="connsiteY12" fmla="*/ 1277540 h 1297454"/>
                <a:gd name="connsiteX13" fmla="*/ 723407 w 911102"/>
                <a:gd name="connsiteY13" fmla="*/ 1278872 h 1297454"/>
                <a:gd name="connsiteX14" fmla="*/ 724025 w 911102"/>
                <a:gd name="connsiteY14" fmla="*/ 1283671 h 1297454"/>
                <a:gd name="connsiteX15" fmla="*/ 724876 w 911102"/>
                <a:gd name="connsiteY15" fmla="*/ 1290789 h 1297454"/>
                <a:gd name="connsiteX16" fmla="*/ 568039 w 911102"/>
                <a:gd name="connsiteY16" fmla="*/ 1230080 h 1297454"/>
                <a:gd name="connsiteX17" fmla="*/ 364868 w 911102"/>
                <a:gd name="connsiteY17" fmla="*/ 1184795 h 1297454"/>
                <a:gd name="connsiteX18" fmla="*/ 178811 w 911102"/>
                <a:gd name="connsiteY18" fmla="*/ 1123147 h 1297454"/>
                <a:gd name="connsiteX19" fmla="*/ 28040 w 911102"/>
                <a:gd name="connsiteY19" fmla="*/ 1036282 h 1297454"/>
                <a:gd name="connsiteX20" fmla="*/ 26077 w 911102"/>
                <a:gd name="connsiteY20" fmla="*/ 1027345 h 1297454"/>
                <a:gd name="connsiteX21" fmla="*/ 152633 w 911102"/>
                <a:gd name="connsiteY21" fmla="*/ 1035076 h 1297454"/>
                <a:gd name="connsiteX22" fmla="*/ 255738 w 911102"/>
                <a:gd name="connsiteY22" fmla="*/ 943843 h 1297454"/>
                <a:gd name="connsiteX23" fmla="*/ 231475 w 911102"/>
                <a:gd name="connsiteY23" fmla="*/ 873395 h 1297454"/>
                <a:gd name="connsiteX24" fmla="*/ 213502 w 911102"/>
                <a:gd name="connsiteY24" fmla="*/ 859613 h 1297454"/>
                <a:gd name="connsiteX25" fmla="*/ 216878 w 911102"/>
                <a:gd name="connsiteY25" fmla="*/ 859143 h 1297454"/>
                <a:gd name="connsiteX26" fmla="*/ 281693 w 911102"/>
                <a:gd name="connsiteY26" fmla="*/ 773235 h 1297454"/>
                <a:gd name="connsiteX27" fmla="*/ 227816 w 911102"/>
                <a:gd name="connsiteY27" fmla="*/ 680077 h 1297454"/>
                <a:gd name="connsiteX28" fmla="*/ 217008 w 911102"/>
                <a:gd name="connsiteY28" fmla="*/ 677199 h 1297454"/>
                <a:gd name="connsiteX29" fmla="*/ 226953 w 911102"/>
                <a:gd name="connsiteY29" fmla="*/ 675817 h 1297454"/>
                <a:gd name="connsiteX30" fmla="*/ 291768 w 911102"/>
                <a:gd name="connsiteY30" fmla="*/ 589909 h 1297454"/>
                <a:gd name="connsiteX31" fmla="*/ 237891 w 911102"/>
                <a:gd name="connsiteY31" fmla="*/ 496751 h 1297454"/>
                <a:gd name="connsiteX32" fmla="*/ 221568 w 911102"/>
                <a:gd name="connsiteY32" fmla="*/ 492404 h 1297454"/>
                <a:gd name="connsiteX33" fmla="*/ 249567 w 911102"/>
                <a:gd name="connsiteY33" fmla="*/ 475916 h 1297454"/>
                <a:gd name="connsiteX34" fmla="*/ 281129 w 911102"/>
                <a:gd name="connsiteY34" fmla="*/ 411193 h 1297454"/>
                <a:gd name="connsiteX35" fmla="*/ 281130 w 911102"/>
                <a:gd name="connsiteY35" fmla="*/ 411193 h 1297454"/>
                <a:gd name="connsiteX36" fmla="*/ 257681 w 911102"/>
                <a:gd name="connsiteY36" fmla="*/ 343108 h 1297454"/>
                <a:gd name="connsiteX37" fmla="*/ 192957 w 911102"/>
                <a:gd name="connsiteY37" fmla="*/ 311547 h 1297454"/>
                <a:gd name="connsiteX38" fmla="*/ 65424 w 911102"/>
                <a:gd name="connsiteY38" fmla="*/ 303757 h 1297454"/>
                <a:gd name="connsiteX39" fmla="*/ 41901 w 911102"/>
                <a:gd name="connsiteY39" fmla="*/ 309400 h 1297454"/>
                <a:gd name="connsiteX40" fmla="*/ 56412 w 911102"/>
                <a:gd name="connsiteY40" fmla="*/ 232310 h 1297454"/>
                <a:gd name="connsiteX41" fmla="*/ 127609 w 911102"/>
                <a:gd name="connsiteY41" fmla="*/ 8370 h 1297454"/>
                <a:gd name="connsiteX42" fmla="*/ 135979 w 911102"/>
                <a:gd name="connsiteY42" fmla="*/ 0 h 1297454"/>
                <a:gd name="connsiteX43" fmla="*/ 737166 w 911102"/>
                <a:gd name="connsiteY43" fmla="*/ 0 h 1297454"/>
                <a:gd name="connsiteX44" fmla="*/ 745536 w 911102"/>
                <a:gd name="connsiteY44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4164 w 911102"/>
                <a:gd name="connsiteY10" fmla="*/ 1201144 h 1297454"/>
                <a:gd name="connsiteX11" fmla="*/ 723293 w 911102"/>
                <a:gd name="connsiteY11" fmla="*/ 1277540 h 1297454"/>
                <a:gd name="connsiteX12" fmla="*/ 723407 w 911102"/>
                <a:gd name="connsiteY12" fmla="*/ 1278872 h 1297454"/>
                <a:gd name="connsiteX13" fmla="*/ 724025 w 911102"/>
                <a:gd name="connsiteY13" fmla="*/ 1283671 h 1297454"/>
                <a:gd name="connsiteX14" fmla="*/ 724876 w 911102"/>
                <a:gd name="connsiteY14" fmla="*/ 1290789 h 1297454"/>
                <a:gd name="connsiteX15" fmla="*/ 568039 w 911102"/>
                <a:gd name="connsiteY15" fmla="*/ 1230080 h 1297454"/>
                <a:gd name="connsiteX16" fmla="*/ 364868 w 911102"/>
                <a:gd name="connsiteY16" fmla="*/ 1184795 h 1297454"/>
                <a:gd name="connsiteX17" fmla="*/ 178811 w 911102"/>
                <a:gd name="connsiteY17" fmla="*/ 1123147 h 1297454"/>
                <a:gd name="connsiteX18" fmla="*/ 28040 w 911102"/>
                <a:gd name="connsiteY18" fmla="*/ 1036282 h 1297454"/>
                <a:gd name="connsiteX19" fmla="*/ 26077 w 911102"/>
                <a:gd name="connsiteY19" fmla="*/ 1027345 h 1297454"/>
                <a:gd name="connsiteX20" fmla="*/ 152633 w 911102"/>
                <a:gd name="connsiteY20" fmla="*/ 1035076 h 1297454"/>
                <a:gd name="connsiteX21" fmla="*/ 255738 w 911102"/>
                <a:gd name="connsiteY21" fmla="*/ 943843 h 1297454"/>
                <a:gd name="connsiteX22" fmla="*/ 231475 w 911102"/>
                <a:gd name="connsiteY22" fmla="*/ 873395 h 1297454"/>
                <a:gd name="connsiteX23" fmla="*/ 213502 w 911102"/>
                <a:gd name="connsiteY23" fmla="*/ 859613 h 1297454"/>
                <a:gd name="connsiteX24" fmla="*/ 216878 w 911102"/>
                <a:gd name="connsiteY24" fmla="*/ 859143 h 1297454"/>
                <a:gd name="connsiteX25" fmla="*/ 281693 w 911102"/>
                <a:gd name="connsiteY25" fmla="*/ 773235 h 1297454"/>
                <a:gd name="connsiteX26" fmla="*/ 227816 w 911102"/>
                <a:gd name="connsiteY26" fmla="*/ 680077 h 1297454"/>
                <a:gd name="connsiteX27" fmla="*/ 217008 w 911102"/>
                <a:gd name="connsiteY27" fmla="*/ 677199 h 1297454"/>
                <a:gd name="connsiteX28" fmla="*/ 226953 w 911102"/>
                <a:gd name="connsiteY28" fmla="*/ 675817 h 1297454"/>
                <a:gd name="connsiteX29" fmla="*/ 291768 w 911102"/>
                <a:gd name="connsiteY29" fmla="*/ 589909 h 1297454"/>
                <a:gd name="connsiteX30" fmla="*/ 237891 w 911102"/>
                <a:gd name="connsiteY30" fmla="*/ 496751 h 1297454"/>
                <a:gd name="connsiteX31" fmla="*/ 221568 w 911102"/>
                <a:gd name="connsiteY31" fmla="*/ 492404 h 1297454"/>
                <a:gd name="connsiteX32" fmla="*/ 249567 w 911102"/>
                <a:gd name="connsiteY32" fmla="*/ 475916 h 1297454"/>
                <a:gd name="connsiteX33" fmla="*/ 281129 w 911102"/>
                <a:gd name="connsiteY33" fmla="*/ 411193 h 1297454"/>
                <a:gd name="connsiteX34" fmla="*/ 281130 w 911102"/>
                <a:gd name="connsiteY34" fmla="*/ 411193 h 1297454"/>
                <a:gd name="connsiteX35" fmla="*/ 257681 w 911102"/>
                <a:gd name="connsiteY35" fmla="*/ 343108 h 1297454"/>
                <a:gd name="connsiteX36" fmla="*/ 192957 w 911102"/>
                <a:gd name="connsiteY36" fmla="*/ 311547 h 1297454"/>
                <a:gd name="connsiteX37" fmla="*/ 65424 w 911102"/>
                <a:gd name="connsiteY37" fmla="*/ 303757 h 1297454"/>
                <a:gd name="connsiteX38" fmla="*/ 41901 w 911102"/>
                <a:gd name="connsiteY38" fmla="*/ 309400 h 1297454"/>
                <a:gd name="connsiteX39" fmla="*/ 56412 w 911102"/>
                <a:gd name="connsiteY39" fmla="*/ 232310 h 1297454"/>
                <a:gd name="connsiteX40" fmla="*/ 127609 w 911102"/>
                <a:gd name="connsiteY40" fmla="*/ 8370 h 1297454"/>
                <a:gd name="connsiteX41" fmla="*/ 135979 w 911102"/>
                <a:gd name="connsiteY41" fmla="*/ 0 h 1297454"/>
                <a:gd name="connsiteX42" fmla="*/ 737166 w 911102"/>
                <a:gd name="connsiteY42" fmla="*/ 0 h 1297454"/>
                <a:gd name="connsiteX43" fmla="*/ 745536 w 911102"/>
                <a:gd name="connsiteY43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3293 w 911102"/>
                <a:gd name="connsiteY10" fmla="*/ 1277540 h 1297454"/>
                <a:gd name="connsiteX11" fmla="*/ 723407 w 911102"/>
                <a:gd name="connsiteY11" fmla="*/ 1278872 h 1297454"/>
                <a:gd name="connsiteX12" fmla="*/ 724025 w 911102"/>
                <a:gd name="connsiteY12" fmla="*/ 1283671 h 1297454"/>
                <a:gd name="connsiteX13" fmla="*/ 724876 w 911102"/>
                <a:gd name="connsiteY13" fmla="*/ 1290789 h 1297454"/>
                <a:gd name="connsiteX14" fmla="*/ 568039 w 911102"/>
                <a:gd name="connsiteY14" fmla="*/ 1230080 h 1297454"/>
                <a:gd name="connsiteX15" fmla="*/ 364868 w 911102"/>
                <a:gd name="connsiteY15" fmla="*/ 1184795 h 1297454"/>
                <a:gd name="connsiteX16" fmla="*/ 178811 w 911102"/>
                <a:gd name="connsiteY16" fmla="*/ 1123147 h 1297454"/>
                <a:gd name="connsiteX17" fmla="*/ 28040 w 911102"/>
                <a:gd name="connsiteY17" fmla="*/ 1036282 h 1297454"/>
                <a:gd name="connsiteX18" fmla="*/ 26077 w 911102"/>
                <a:gd name="connsiteY18" fmla="*/ 1027345 h 1297454"/>
                <a:gd name="connsiteX19" fmla="*/ 152633 w 911102"/>
                <a:gd name="connsiteY19" fmla="*/ 1035076 h 1297454"/>
                <a:gd name="connsiteX20" fmla="*/ 255738 w 911102"/>
                <a:gd name="connsiteY20" fmla="*/ 943843 h 1297454"/>
                <a:gd name="connsiteX21" fmla="*/ 231475 w 911102"/>
                <a:gd name="connsiteY21" fmla="*/ 873395 h 1297454"/>
                <a:gd name="connsiteX22" fmla="*/ 213502 w 911102"/>
                <a:gd name="connsiteY22" fmla="*/ 859613 h 1297454"/>
                <a:gd name="connsiteX23" fmla="*/ 216878 w 911102"/>
                <a:gd name="connsiteY23" fmla="*/ 859143 h 1297454"/>
                <a:gd name="connsiteX24" fmla="*/ 281693 w 911102"/>
                <a:gd name="connsiteY24" fmla="*/ 773235 h 1297454"/>
                <a:gd name="connsiteX25" fmla="*/ 227816 w 911102"/>
                <a:gd name="connsiteY25" fmla="*/ 680077 h 1297454"/>
                <a:gd name="connsiteX26" fmla="*/ 217008 w 911102"/>
                <a:gd name="connsiteY26" fmla="*/ 677199 h 1297454"/>
                <a:gd name="connsiteX27" fmla="*/ 226953 w 911102"/>
                <a:gd name="connsiteY27" fmla="*/ 675817 h 1297454"/>
                <a:gd name="connsiteX28" fmla="*/ 291768 w 911102"/>
                <a:gd name="connsiteY28" fmla="*/ 589909 h 1297454"/>
                <a:gd name="connsiteX29" fmla="*/ 237891 w 911102"/>
                <a:gd name="connsiteY29" fmla="*/ 496751 h 1297454"/>
                <a:gd name="connsiteX30" fmla="*/ 221568 w 911102"/>
                <a:gd name="connsiteY30" fmla="*/ 492404 h 1297454"/>
                <a:gd name="connsiteX31" fmla="*/ 249567 w 911102"/>
                <a:gd name="connsiteY31" fmla="*/ 475916 h 1297454"/>
                <a:gd name="connsiteX32" fmla="*/ 281129 w 911102"/>
                <a:gd name="connsiteY32" fmla="*/ 411193 h 1297454"/>
                <a:gd name="connsiteX33" fmla="*/ 281130 w 911102"/>
                <a:gd name="connsiteY33" fmla="*/ 411193 h 1297454"/>
                <a:gd name="connsiteX34" fmla="*/ 257681 w 911102"/>
                <a:gd name="connsiteY34" fmla="*/ 343108 h 1297454"/>
                <a:gd name="connsiteX35" fmla="*/ 192957 w 911102"/>
                <a:gd name="connsiteY35" fmla="*/ 311547 h 1297454"/>
                <a:gd name="connsiteX36" fmla="*/ 65424 w 911102"/>
                <a:gd name="connsiteY36" fmla="*/ 303757 h 1297454"/>
                <a:gd name="connsiteX37" fmla="*/ 41901 w 911102"/>
                <a:gd name="connsiteY37" fmla="*/ 309400 h 1297454"/>
                <a:gd name="connsiteX38" fmla="*/ 56412 w 911102"/>
                <a:gd name="connsiteY38" fmla="*/ 232310 h 1297454"/>
                <a:gd name="connsiteX39" fmla="*/ 127609 w 911102"/>
                <a:gd name="connsiteY39" fmla="*/ 8370 h 1297454"/>
                <a:gd name="connsiteX40" fmla="*/ 135979 w 911102"/>
                <a:gd name="connsiteY40" fmla="*/ 0 h 1297454"/>
                <a:gd name="connsiteX41" fmla="*/ 737166 w 911102"/>
                <a:gd name="connsiteY41" fmla="*/ 0 h 1297454"/>
                <a:gd name="connsiteX42" fmla="*/ 745536 w 911102"/>
                <a:gd name="connsiteY42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3293 w 911102"/>
                <a:gd name="connsiteY10" fmla="*/ 1277540 h 1297454"/>
                <a:gd name="connsiteX11" fmla="*/ 723407 w 911102"/>
                <a:gd name="connsiteY11" fmla="*/ 1278872 h 1297454"/>
                <a:gd name="connsiteX12" fmla="*/ 724876 w 911102"/>
                <a:gd name="connsiteY12" fmla="*/ 1290789 h 1297454"/>
                <a:gd name="connsiteX13" fmla="*/ 568039 w 911102"/>
                <a:gd name="connsiteY13" fmla="*/ 1230080 h 1297454"/>
                <a:gd name="connsiteX14" fmla="*/ 364868 w 911102"/>
                <a:gd name="connsiteY14" fmla="*/ 1184795 h 1297454"/>
                <a:gd name="connsiteX15" fmla="*/ 178811 w 911102"/>
                <a:gd name="connsiteY15" fmla="*/ 1123147 h 1297454"/>
                <a:gd name="connsiteX16" fmla="*/ 28040 w 911102"/>
                <a:gd name="connsiteY16" fmla="*/ 1036282 h 1297454"/>
                <a:gd name="connsiteX17" fmla="*/ 26077 w 911102"/>
                <a:gd name="connsiteY17" fmla="*/ 1027345 h 1297454"/>
                <a:gd name="connsiteX18" fmla="*/ 152633 w 911102"/>
                <a:gd name="connsiteY18" fmla="*/ 1035076 h 1297454"/>
                <a:gd name="connsiteX19" fmla="*/ 255738 w 911102"/>
                <a:gd name="connsiteY19" fmla="*/ 943843 h 1297454"/>
                <a:gd name="connsiteX20" fmla="*/ 231475 w 911102"/>
                <a:gd name="connsiteY20" fmla="*/ 873395 h 1297454"/>
                <a:gd name="connsiteX21" fmla="*/ 213502 w 911102"/>
                <a:gd name="connsiteY21" fmla="*/ 859613 h 1297454"/>
                <a:gd name="connsiteX22" fmla="*/ 216878 w 911102"/>
                <a:gd name="connsiteY22" fmla="*/ 859143 h 1297454"/>
                <a:gd name="connsiteX23" fmla="*/ 281693 w 911102"/>
                <a:gd name="connsiteY23" fmla="*/ 773235 h 1297454"/>
                <a:gd name="connsiteX24" fmla="*/ 227816 w 911102"/>
                <a:gd name="connsiteY24" fmla="*/ 680077 h 1297454"/>
                <a:gd name="connsiteX25" fmla="*/ 217008 w 911102"/>
                <a:gd name="connsiteY25" fmla="*/ 677199 h 1297454"/>
                <a:gd name="connsiteX26" fmla="*/ 226953 w 911102"/>
                <a:gd name="connsiteY26" fmla="*/ 675817 h 1297454"/>
                <a:gd name="connsiteX27" fmla="*/ 291768 w 911102"/>
                <a:gd name="connsiteY27" fmla="*/ 589909 h 1297454"/>
                <a:gd name="connsiteX28" fmla="*/ 237891 w 911102"/>
                <a:gd name="connsiteY28" fmla="*/ 496751 h 1297454"/>
                <a:gd name="connsiteX29" fmla="*/ 221568 w 911102"/>
                <a:gd name="connsiteY29" fmla="*/ 492404 h 1297454"/>
                <a:gd name="connsiteX30" fmla="*/ 249567 w 911102"/>
                <a:gd name="connsiteY30" fmla="*/ 475916 h 1297454"/>
                <a:gd name="connsiteX31" fmla="*/ 281129 w 911102"/>
                <a:gd name="connsiteY31" fmla="*/ 411193 h 1297454"/>
                <a:gd name="connsiteX32" fmla="*/ 281130 w 911102"/>
                <a:gd name="connsiteY32" fmla="*/ 411193 h 1297454"/>
                <a:gd name="connsiteX33" fmla="*/ 257681 w 911102"/>
                <a:gd name="connsiteY33" fmla="*/ 343108 h 1297454"/>
                <a:gd name="connsiteX34" fmla="*/ 192957 w 911102"/>
                <a:gd name="connsiteY34" fmla="*/ 311547 h 1297454"/>
                <a:gd name="connsiteX35" fmla="*/ 65424 w 911102"/>
                <a:gd name="connsiteY35" fmla="*/ 303757 h 1297454"/>
                <a:gd name="connsiteX36" fmla="*/ 41901 w 911102"/>
                <a:gd name="connsiteY36" fmla="*/ 309400 h 1297454"/>
                <a:gd name="connsiteX37" fmla="*/ 56412 w 911102"/>
                <a:gd name="connsiteY37" fmla="*/ 232310 h 1297454"/>
                <a:gd name="connsiteX38" fmla="*/ 127609 w 911102"/>
                <a:gd name="connsiteY38" fmla="*/ 8370 h 1297454"/>
                <a:gd name="connsiteX39" fmla="*/ 135979 w 911102"/>
                <a:gd name="connsiteY39" fmla="*/ 0 h 1297454"/>
                <a:gd name="connsiteX40" fmla="*/ 737166 w 911102"/>
                <a:gd name="connsiteY40" fmla="*/ 0 h 1297454"/>
                <a:gd name="connsiteX41" fmla="*/ 745536 w 911102"/>
                <a:gd name="connsiteY41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3293 w 911102"/>
                <a:gd name="connsiteY10" fmla="*/ 1277540 h 1297454"/>
                <a:gd name="connsiteX11" fmla="*/ 724876 w 911102"/>
                <a:gd name="connsiteY11" fmla="*/ 1290789 h 1297454"/>
                <a:gd name="connsiteX12" fmla="*/ 568039 w 911102"/>
                <a:gd name="connsiteY12" fmla="*/ 1230080 h 1297454"/>
                <a:gd name="connsiteX13" fmla="*/ 364868 w 911102"/>
                <a:gd name="connsiteY13" fmla="*/ 1184795 h 1297454"/>
                <a:gd name="connsiteX14" fmla="*/ 178811 w 911102"/>
                <a:gd name="connsiteY14" fmla="*/ 1123147 h 1297454"/>
                <a:gd name="connsiteX15" fmla="*/ 28040 w 911102"/>
                <a:gd name="connsiteY15" fmla="*/ 1036282 h 1297454"/>
                <a:gd name="connsiteX16" fmla="*/ 26077 w 911102"/>
                <a:gd name="connsiteY16" fmla="*/ 1027345 h 1297454"/>
                <a:gd name="connsiteX17" fmla="*/ 152633 w 911102"/>
                <a:gd name="connsiteY17" fmla="*/ 1035076 h 1297454"/>
                <a:gd name="connsiteX18" fmla="*/ 255738 w 911102"/>
                <a:gd name="connsiteY18" fmla="*/ 943843 h 1297454"/>
                <a:gd name="connsiteX19" fmla="*/ 231475 w 911102"/>
                <a:gd name="connsiteY19" fmla="*/ 873395 h 1297454"/>
                <a:gd name="connsiteX20" fmla="*/ 213502 w 911102"/>
                <a:gd name="connsiteY20" fmla="*/ 859613 h 1297454"/>
                <a:gd name="connsiteX21" fmla="*/ 216878 w 911102"/>
                <a:gd name="connsiteY21" fmla="*/ 859143 h 1297454"/>
                <a:gd name="connsiteX22" fmla="*/ 281693 w 911102"/>
                <a:gd name="connsiteY22" fmla="*/ 773235 h 1297454"/>
                <a:gd name="connsiteX23" fmla="*/ 227816 w 911102"/>
                <a:gd name="connsiteY23" fmla="*/ 680077 h 1297454"/>
                <a:gd name="connsiteX24" fmla="*/ 217008 w 911102"/>
                <a:gd name="connsiteY24" fmla="*/ 677199 h 1297454"/>
                <a:gd name="connsiteX25" fmla="*/ 226953 w 911102"/>
                <a:gd name="connsiteY25" fmla="*/ 675817 h 1297454"/>
                <a:gd name="connsiteX26" fmla="*/ 291768 w 911102"/>
                <a:gd name="connsiteY26" fmla="*/ 589909 h 1297454"/>
                <a:gd name="connsiteX27" fmla="*/ 237891 w 911102"/>
                <a:gd name="connsiteY27" fmla="*/ 496751 h 1297454"/>
                <a:gd name="connsiteX28" fmla="*/ 221568 w 911102"/>
                <a:gd name="connsiteY28" fmla="*/ 492404 h 1297454"/>
                <a:gd name="connsiteX29" fmla="*/ 249567 w 911102"/>
                <a:gd name="connsiteY29" fmla="*/ 475916 h 1297454"/>
                <a:gd name="connsiteX30" fmla="*/ 281129 w 911102"/>
                <a:gd name="connsiteY30" fmla="*/ 411193 h 1297454"/>
                <a:gd name="connsiteX31" fmla="*/ 281130 w 911102"/>
                <a:gd name="connsiteY31" fmla="*/ 411193 h 1297454"/>
                <a:gd name="connsiteX32" fmla="*/ 257681 w 911102"/>
                <a:gd name="connsiteY32" fmla="*/ 343108 h 1297454"/>
                <a:gd name="connsiteX33" fmla="*/ 192957 w 911102"/>
                <a:gd name="connsiteY33" fmla="*/ 311547 h 1297454"/>
                <a:gd name="connsiteX34" fmla="*/ 65424 w 911102"/>
                <a:gd name="connsiteY34" fmla="*/ 303757 h 1297454"/>
                <a:gd name="connsiteX35" fmla="*/ 41901 w 911102"/>
                <a:gd name="connsiteY35" fmla="*/ 309400 h 1297454"/>
                <a:gd name="connsiteX36" fmla="*/ 56412 w 911102"/>
                <a:gd name="connsiteY36" fmla="*/ 232310 h 1297454"/>
                <a:gd name="connsiteX37" fmla="*/ 127609 w 911102"/>
                <a:gd name="connsiteY37" fmla="*/ 8370 h 1297454"/>
                <a:gd name="connsiteX38" fmla="*/ 135979 w 911102"/>
                <a:gd name="connsiteY38" fmla="*/ 0 h 1297454"/>
                <a:gd name="connsiteX39" fmla="*/ 737166 w 911102"/>
                <a:gd name="connsiteY39" fmla="*/ 0 h 1297454"/>
                <a:gd name="connsiteX40" fmla="*/ 745536 w 911102"/>
                <a:gd name="connsiteY40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4876 w 911102"/>
                <a:gd name="connsiteY10" fmla="*/ 1290789 h 1297454"/>
                <a:gd name="connsiteX11" fmla="*/ 568039 w 911102"/>
                <a:gd name="connsiteY11" fmla="*/ 1230080 h 1297454"/>
                <a:gd name="connsiteX12" fmla="*/ 364868 w 911102"/>
                <a:gd name="connsiteY12" fmla="*/ 1184795 h 1297454"/>
                <a:gd name="connsiteX13" fmla="*/ 178811 w 911102"/>
                <a:gd name="connsiteY13" fmla="*/ 1123147 h 1297454"/>
                <a:gd name="connsiteX14" fmla="*/ 28040 w 911102"/>
                <a:gd name="connsiteY14" fmla="*/ 1036282 h 1297454"/>
                <a:gd name="connsiteX15" fmla="*/ 26077 w 911102"/>
                <a:gd name="connsiteY15" fmla="*/ 1027345 h 1297454"/>
                <a:gd name="connsiteX16" fmla="*/ 152633 w 911102"/>
                <a:gd name="connsiteY16" fmla="*/ 1035076 h 1297454"/>
                <a:gd name="connsiteX17" fmla="*/ 255738 w 911102"/>
                <a:gd name="connsiteY17" fmla="*/ 943843 h 1297454"/>
                <a:gd name="connsiteX18" fmla="*/ 231475 w 911102"/>
                <a:gd name="connsiteY18" fmla="*/ 873395 h 1297454"/>
                <a:gd name="connsiteX19" fmla="*/ 213502 w 911102"/>
                <a:gd name="connsiteY19" fmla="*/ 859613 h 1297454"/>
                <a:gd name="connsiteX20" fmla="*/ 216878 w 911102"/>
                <a:gd name="connsiteY20" fmla="*/ 859143 h 1297454"/>
                <a:gd name="connsiteX21" fmla="*/ 281693 w 911102"/>
                <a:gd name="connsiteY21" fmla="*/ 773235 h 1297454"/>
                <a:gd name="connsiteX22" fmla="*/ 227816 w 911102"/>
                <a:gd name="connsiteY22" fmla="*/ 680077 h 1297454"/>
                <a:gd name="connsiteX23" fmla="*/ 217008 w 911102"/>
                <a:gd name="connsiteY23" fmla="*/ 677199 h 1297454"/>
                <a:gd name="connsiteX24" fmla="*/ 226953 w 911102"/>
                <a:gd name="connsiteY24" fmla="*/ 675817 h 1297454"/>
                <a:gd name="connsiteX25" fmla="*/ 291768 w 911102"/>
                <a:gd name="connsiteY25" fmla="*/ 589909 h 1297454"/>
                <a:gd name="connsiteX26" fmla="*/ 237891 w 911102"/>
                <a:gd name="connsiteY26" fmla="*/ 496751 h 1297454"/>
                <a:gd name="connsiteX27" fmla="*/ 221568 w 911102"/>
                <a:gd name="connsiteY27" fmla="*/ 492404 h 1297454"/>
                <a:gd name="connsiteX28" fmla="*/ 249567 w 911102"/>
                <a:gd name="connsiteY28" fmla="*/ 475916 h 1297454"/>
                <a:gd name="connsiteX29" fmla="*/ 281129 w 911102"/>
                <a:gd name="connsiteY29" fmla="*/ 411193 h 1297454"/>
                <a:gd name="connsiteX30" fmla="*/ 281130 w 911102"/>
                <a:gd name="connsiteY30" fmla="*/ 411193 h 1297454"/>
                <a:gd name="connsiteX31" fmla="*/ 257681 w 911102"/>
                <a:gd name="connsiteY31" fmla="*/ 343108 h 1297454"/>
                <a:gd name="connsiteX32" fmla="*/ 192957 w 911102"/>
                <a:gd name="connsiteY32" fmla="*/ 311547 h 1297454"/>
                <a:gd name="connsiteX33" fmla="*/ 65424 w 911102"/>
                <a:gd name="connsiteY33" fmla="*/ 303757 h 1297454"/>
                <a:gd name="connsiteX34" fmla="*/ 41901 w 911102"/>
                <a:gd name="connsiteY34" fmla="*/ 309400 h 1297454"/>
                <a:gd name="connsiteX35" fmla="*/ 56412 w 911102"/>
                <a:gd name="connsiteY35" fmla="*/ 232310 h 1297454"/>
                <a:gd name="connsiteX36" fmla="*/ 127609 w 911102"/>
                <a:gd name="connsiteY36" fmla="*/ 8370 h 1297454"/>
                <a:gd name="connsiteX37" fmla="*/ 135979 w 911102"/>
                <a:gd name="connsiteY37" fmla="*/ 0 h 1297454"/>
                <a:gd name="connsiteX38" fmla="*/ 737166 w 911102"/>
                <a:gd name="connsiteY38" fmla="*/ 0 h 1297454"/>
                <a:gd name="connsiteX39" fmla="*/ 745536 w 911102"/>
                <a:gd name="connsiteY3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4876 w 911102"/>
                <a:gd name="connsiteY10" fmla="*/ 1290789 h 1297454"/>
                <a:gd name="connsiteX11" fmla="*/ 568039 w 911102"/>
                <a:gd name="connsiteY11" fmla="*/ 1230080 h 1297454"/>
                <a:gd name="connsiteX12" fmla="*/ 364868 w 911102"/>
                <a:gd name="connsiteY12" fmla="*/ 1184795 h 1297454"/>
                <a:gd name="connsiteX13" fmla="*/ 178811 w 911102"/>
                <a:gd name="connsiteY13" fmla="*/ 1123147 h 1297454"/>
                <a:gd name="connsiteX14" fmla="*/ 28040 w 911102"/>
                <a:gd name="connsiteY14" fmla="*/ 1036282 h 1297454"/>
                <a:gd name="connsiteX15" fmla="*/ 26077 w 911102"/>
                <a:gd name="connsiteY15" fmla="*/ 1027345 h 1297454"/>
                <a:gd name="connsiteX16" fmla="*/ 152633 w 911102"/>
                <a:gd name="connsiteY16" fmla="*/ 1035076 h 1297454"/>
                <a:gd name="connsiteX17" fmla="*/ 255738 w 911102"/>
                <a:gd name="connsiteY17" fmla="*/ 943843 h 1297454"/>
                <a:gd name="connsiteX18" fmla="*/ 231475 w 911102"/>
                <a:gd name="connsiteY18" fmla="*/ 873395 h 1297454"/>
                <a:gd name="connsiteX19" fmla="*/ 213502 w 911102"/>
                <a:gd name="connsiteY19" fmla="*/ 859613 h 1297454"/>
                <a:gd name="connsiteX20" fmla="*/ 216878 w 911102"/>
                <a:gd name="connsiteY20" fmla="*/ 859143 h 1297454"/>
                <a:gd name="connsiteX21" fmla="*/ 281693 w 911102"/>
                <a:gd name="connsiteY21" fmla="*/ 773235 h 1297454"/>
                <a:gd name="connsiteX22" fmla="*/ 227816 w 911102"/>
                <a:gd name="connsiteY22" fmla="*/ 680077 h 1297454"/>
                <a:gd name="connsiteX23" fmla="*/ 217008 w 911102"/>
                <a:gd name="connsiteY23" fmla="*/ 677199 h 1297454"/>
                <a:gd name="connsiteX24" fmla="*/ 226953 w 911102"/>
                <a:gd name="connsiteY24" fmla="*/ 675817 h 1297454"/>
                <a:gd name="connsiteX25" fmla="*/ 291768 w 911102"/>
                <a:gd name="connsiteY25" fmla="*/ 589909 h 1297454"/>
                <a:gd name="connsiteX26" fmla="*/ 237891 w 911102"/>
                <a:gd name="connsiteY26" fmla="*/ 496751 h 1297454"/>
                <a:gd name="connsiteX27" fmla="*/ 221568 w 911102"/>
                <a:gd name="connsiteY27" fmla="*/ 492404 h 1297454"/>
                <a:gd name="connsiteX28" fmla="*/ 249567 w 911102"/>
                <a:gd name="connsiteY28" fmla="*/ 475916 h 1297454"/>
                <a:gd name="connsiteX29" fmla="*/ 281129 w 911102"/>
                <a:gd name="connsiteY29" fmla="*/ 411193 h 1297454"/>
                <a:gd name="connsiteX30" fmla="*/ 281130 w 911102"/>
                <a:gd name="connsiteY30" fmla="*/ 411193 h 1297454"/>
                <a:gd name="connsiteX31" fmla="*/ 257681 w 911102"/>
                <a:gd name="connsiteY31" fmla="*/ 343108 h 1297454"/>
                <a:gd name="connsiteX32" fmla="*/ 192957 w 911102"/>
                <a:gd name="connsiteY32" fmla="*/ 311547 h 1297454"/>
                <a:gd name="connsiteX33" fmla="*/ 65424 w 911102"/>
                <a:gd name="connsiteY33" fmla="*/ 303757 h 1297454"/>
                <a:gd name="connsiteX34" fmla="*/ 41901 w 911102"/>
                <a:gd name="connsiteY34" fmla="*/ 309400 h 1297454"/>
                <a:gd name="connsiteX35" fmla="*/ 56412 w 911102"/>
                <a:gd name="connsiteY35" fmla="*/ 232310 h 1297454"/>
                <a:gd name="connsiteX36" fmla="*/ 127609 w 911102"/>
                <a:gd name="connsiteY36" fmla="*/ 8370 h 1297454"/>
                <a:gd name="connsiteX37" fmla="*/ 135979 w 911102"/>
                <a:gd name="connsiteY37" fmla="*/ 0 h 1297454"/>
                <a:gd name="connsiteX38" fmla="*/ 737166 w 911102"/>
                <a:gd name="connsiteY38" fmla="*/ 0 h 1297454"/>
                <a:gd name="connsiteX39" fmla="*/ 745536 w 911102"/>
                <a:gd name="connsiteY3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4876 w 911102"/>
                <a:gd name="connsiteY10" fmla="*/ 1290789 h 1297454"/>
                <a:gd name="connsiteX11" fmla="*/ 568039 w 911102"/>
                <a:gd name="connsiteY11" fmla="*/ 1230080 h 1297454"/>
                <a:gd name="connsiteX12" fmla="*/ 364868 w 911102"/>
                <a:gd name="connsiteY12" fmla="*/ 1184795 h 1297454"/>
                <a:gd name="connsiteX13" fmla="*/ 178811 w 911102"/>
                <a:gd name="connsiteY13" fmla="*/ 1123147 h 1297454"/>
                <a:gd name="connsiteX14" fmla="*/ 28040 w 911102"/>
                <a:gd name="connsiteY14" fmla="*/ 1036282 h 1297454"/>
                <a:gd name="connsiteX15" fmla="*/ 26077 w 911102"/>
                <a:gd name="connsiteY15" fmla="*/ 1027345 h 1297454"/>
                <a:gd name="connsiteX16" fmla="*/ 152633 w 911102"/>
                <a:gd name="connsiteY16" fmla="*/ 1035076 h 1297454"/>
                <a:gd name="connsiteX17" fmla="*/ 255738 w 911102"/>
                <a:gd name="connsiteY17" fmla="*/ 943843 h 1297454"/>
                <a:gd name="connsiteX18" fmla="*/ 231475 w 911102"/>
                <a:gd name="connsiteY18" fmla="*/ 873395 h 1297454"/>
                <a:gd name="connsiteX19" fmla="*/ 213502 w 911102"/>
                <a:gd name="connsiteY19" fmla="*/ 859613 h 1297454"/>
                <a:gd name="connsiteX20" fmla="*/ 216878 w 911102"/>
                <a:gd name="connsiteY20" fmla="*/ 859143 h 1297454"/>
                <a:gd name="connsiteX21" fmla="*/ 281693 w 911102"/>
                <a:gd name="connsiteY21" fmla="*/ 773235 h 1297454"/>
                <a:gd name="connsiteX22" fmla="*/ 227816 w 911102"/>
                <a:gd name="connsiteY22" fmla="*/ 680077 h 1297454"/>
                <a:gd name="connsiteX23" fmla="*/ 217008 w 911102"/>
                <a:gd name="connsiteY23" fmla="*/ 677199 h 1297454"/>
                <a:gd name="connsiteX24" fmla="*/ 226953 w 911102"/>
                <a:gd name="connsiteY24" fmla="*/ 675817 h 1297454"/>
                <a:gd name="connsiteX25" fmla="*/ 291768 w 911102"/>
                <a:gd name="connsiteY25" fmla="*/ 589909 h 1297454"/>
                <a:gd name="connsiteX26" fmla="*/ 237891 w 911102"/>
                <a:gd name="connsiteY26" fmla="*/ 496751 h 1297454"/>
                <a:gd name="connsiteX27" fmla="*/ 221568 w 911102"/>
                <a:gd name="connsiteY27" fmla="*/ 492404 h 1297454"/>
                <a:gd name="connsiteX28" fmla="*/ 249567 w 911102"/>
                <a:gd name="connsiteY28" fmla="*/ 475916 h 1297454"/>
                <a:gd name="connsiteX29" fmla="*/ 281129 w 911102"/>
                <a:gd name="connsiteY29" fmla="*/ 411193 h 1297454"/>
                <a:gd name="connsiteX30" fmla="*/ 281130 w 911102"/>
                <a:gd name="connsiteY30" fmla="*/ 411193 h 1297454"/>
                <a:gd name="connsiteX31" fmla="*/ 257681 w 911102"/>
                <a:gd name="connsiteY31" fmla="*/ 343108 h 1297454"/>
                <a:gd name="connsiteX32" fmla="*/ 192957 w 911102"/>
                <a:gd name="connsiteY32" fmla="*/ 311547 h 1297454"/>
                <a:gd name="connsiteX33" fmla="*/ 65424 w 911102"/>
                <a:gd name="connsiteY33" fmla="*/ 303757 h 1297454"/>
                <a:gd name="connsiteX34" fmla="*/ 41901 w 911102"/>
                <a:gd name="connsiteY34" fmla="*/ 309400 h 1297454"/>
                <a:gd name="connsiteX35" fmla="*/ 56412 w 911102"/>
                <a:gd name="connsiteY35" fmla="*/ 232310 h 1297454"/>
                <a:gd name="connsiteX36" fmla="*/ 127609 w 911102"/>
                <a:gd name="connsiteY36" fmla="*/ 8370 h 1297454"/>
                <a:gd name="connsiteX37" fmla="*/ 135979 w 911102"/>
                <a:gd name="connsiteY37" fmla="*/ 0 h 1297454"/>
                <a:gd name="connsiteX38" fmla="*/ 737166 w 911102"/>
                <a:gd name="connsiteY38" fmla="*/ 0 h 1297454"/>
                <a:gd name="connsiteX39" fmla="*/ 745536 w 911102"/>
                <a:gd name="connsiteY3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911102" h="1297454">
                  <a:moveTo>
                    <a:pt x="554" y="664205"/>
                  </a:moveTo>
                  <a:lnTo>
                    <a:pt x="0" y="664282"/>
                  </a:lnTo>
                  <a:cubicBezTo>
                    <a:pt x="5" y="664208"/>
                    <a:pt x="11" y="664135"/>
                    <a:pt x="16" y="664061"/>
                  </a:cubicBezTo>
                  <a:lnTo>
                    <a:pt x="554" y="664205"/>
                  </a:lnTo>
                  <a:close/>
                  <a:moveTo>
                    <a:pt x="745536" y="8370"/>
                  </a:moveTo>
                  <a:cubicBezTo>
                    <a:pt x="777296" y="94936"/>
                    <a:pt x="879455" y="311958"/>
                    <a:pt x="911102" y="379668"/>
                  </a:cubicBezTo>
                  <a:lnTo>
                    <a:pt x="876710" y="385825"/>
                  </a:lnTo>
                  <a:cubicBezTo>
                    <a:pt x="868621" y="377323"/>
                    <a:pt x="500563" y="302568"/>
                    <a:pt x="492061" y="310657"/>
                  </a:cubicBezTo>
                  <a:cubicBezTo>
                    <a:pt x="467650" y="368421"/>
                    <a:pt x="552876" y="601616"/>
                    <a:pt x="783320" y="626020"/>
                  </a:cubicBezTo>
                  <a:cubicBezTo>
                    <a:pt x="707017" y="751589"/>
                    <a:pt x="678492" y="1146233"/>
                    <a:pt x="724876" y="1290789"/>
                  </a:cubicBezTo>
                  <a:cubicBezTo>
                    <a:pt x="686289" y="1299923"/>
                    <a:pt x="599232" y="1312604"/>
                    <a:pt x="568039" y="1230080"/>
                  </a:cubicBezTo>
                  <a:cubicBezTo>
                    <a:pt x="505142" y="1271224"/>
                    <a:pt x="421109" y="1286153"/>
                    <a:pt x="364868" y="1184795"/>
                  </a:cubicBezTo>
                  <a:cubicBezTo>
                    <a:pt x="275380" y="1265558"/>
                    <a:pt x="187295" y="1190323"/>
                    <a:pt x="178811" y="1123147"/>
                  </a:cubicBezTo>
                  <a:cubicBezTo>
                    <a:pt x="136082" y="1156900"/>
                    <a:pt x="67183" y="1167242"/>
                    <a:pt x="28040" y="1036282"/>
                  </a:cubicBezTo>
                  <a:lnTo>
                    <a:pt x="26077" y="1027345"/>
                  </a:lnTo>
                  <a:lnTo>
                    <a:pt x="152633" y="1035076"/>
                  </a:lnTo>
                  <a:cubicBezTo>
                    <a:pt x="206298" y="1038354"/>
                    <a:pt x="252460" y="997507"/>
                    <a:pt x="255738" y="943843"/>
                  </a:cubicBezTo>
                  <a:cubicBezTo>
                    <a:pt x="257377" y="917011"/>
                    <a:pt x="247985" y="892054"/>
                    <a:pt x="231475" y="873395"/>
                  </a:cubicBezTo>
                  <a:lnTo>
                    <a:pt x="213502" y="859613"/>
                  </a:lnTo>
                  <a:lnTo>
                    <a:pt x="216878" y="859143"/>
                  </a:lnTo>
                  <a:cubicBezTo>
                    <a:pt x="252654" y="846522"/>
                    <a:pt x="279235" y="813484"/>
                    <a:pt x="281693" y="773235"/>
                  </a:cubicBezTo>
                  <a:cubicBezTo>
                    <a:pt x="284152" y="732987"/>
                    <a:pt x="261790" y="696958"/>
                    <a:pt x="227816" y="680077"/>
                  </a:cubicBezTo>
                  <a:lnTo>
                    <a:pt x="217008" y="677199"/>
                  </a:lnTo>
                  <a:lnTo>
                    <a:pt x="226953" y="675817"/>
                  </a:lnTo>
                  <a:cubicBezTo>
                    <a:pt x="262729" y="663196"/>
                    <a:pt x="289310" y="630158"/>
                    <a:pt x="291768" y="589909"/>
                  </a:cubicBezTo>
                  <a:cubicBezTo>
                    <a:pt x="294227" y="549660"/>
                    <a:pt x="271865" y="513632"/>
                    <a:pt x="237891" y="496751"/>
                  </a:cubicBezTo>
                  <a:lnTo>
                    <a:pt x="221568" y="492404"/>
                  </a:lnTo>
                  <a:lnTo>
                    <a:pt x="249567" y="475916"/>
                  </a:lnTo>
                  <a:cubicBezTo>
                    <a:pt x="267599" y="459959"/>
                    <a:pt x="279545" y="437125"/>
                    <a:pt x="281129" y="411193"/>
                  </a:cubicBezTo>
                  <a:lnTo>
                    <a:pt x="281130" y="411193"/>
                  </a:lnTo>
                  <a:cubicBezTo>
                    <a:pt x="282714" y="385260"/>
                    <a:pt x="273637" y="361142"/>
                    <a:pt x="257681" y="343108"/>
                  </a:cubicBezTo>
                  <a:cubicBezTo>
                    <a:pt x="241725" y="325077"/>
                    <a:pt x="218889" y="313132"/>
                    <a:pt x="192957" y="311547"/>
                  </a:cubicBezTo>
                  <a:lnTo>
                    <a:pt x="65424" y="303757"/>
                  </a:lnTo>
                  <a:lnTo>
                    <a:pt x="41901" y="309400"/>
                  </a:lnTo>
                  <a:lnTo>
                    <a:pt x="56412" y="232310"/>
                  </a:lnTo>
                  <a:cubicBezTo>
                    <a:pt x="76486" y="142148"/>
                    <a:pt x="100714" y="63554"/>
                    <a:pt x="127609" y="8370"/>
                  </a:cubicBezTo>
                  <a:cubicBezTo>
                    <a:pt x="127609" y="3747"/>
                    <a:pt x="131356" y="0"/>
                    <a:pt x="135979" y="0"/>
                  </a:cubicBezTo>
                  <a:lnTo>
                    <a:pt x="737166" y="0"/>
                  </a:lnTo>
                  <a:cubicBezTo>
                    <a:pt x="741789" y="0"/>
                    <a:pt x="745536" y="3747"/>
                    <a:pt x="745536" y="837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1" name="Rounded Rectangle 50"/>
            <p:cNvSpPr/>
            <p:nvPr/>
          </p:nvSpPr>
          <p:spPr>
            <a:xfrm rot="18254747">
              <a:off x="2121920" y="3773287"/>
              <a:ext cx="268275" cy="128977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2" name="Rounded Rectangle 51"/>
            <p:cNvSpPr/>
            <p:nvPr/>
          </p:nvSpPr>
          <p:spPr>
            <a:xfrm rot="18254747">
              <a:off x="2237781" y="3867949"/>
              <a:ext cx="311038" cy="143896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3" name="Rounded Rectangle 52"/>
            <p:cNvSpPr/>
            <p:nvPr/>
          </p:nvSpPr>
          <p:spPr>
            <a:xfrm rot="18254747">
              <a:off x="2396653" y="3967672"/>
              <a:ext cx="302453" cy="142014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4" name="Rounded Rectangle 53"/>
            <p:cNvSpPr/>
            <p:nvPr/>
          </p:nvSpPr>
          <p:spPr>
            <a:xfrm rot="18191826">
              <a:off x="2567056" y="4069412"/>
              <a:ext cx="257644" cy="132691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5" name="Rounded Rectangle 54"/>
            <p:cNvSpPr/>
            <p:nvPr/>
          </p:nvSpPr>
          <p:spPr>
            <a:xfrm rot="18170923">
              <a:off x="1446042" y="3129169"/>
              <a:ext cx="793564" cy="242045"/>
            </a:xfrm>
            <a:prstGeom prst="roundRect">
              <a:avLst>
                <a:gd name="adj" fmla="val 3458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6" name="Rounded Rectangle 55"/>
            <p:cNvSpPr/>
            <p:nvPr/>
          </p:nvSpPr>
          <p:spPr>
            <a:xfrm rot="18139869">
              <a:off x="1650404" y="3310198"/>
              <a:ext cx="701700" cy="59118"/>
            </a:xfrm>
            <a:prstGeom prst="roundRect">
              <a:avLst>
                <a:gd name="adj" fmla="val 5000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7" name="Rounded Rectangle 56"/>
            <p:cNvSpPr/>
            <p:nvPr/>
          </p:nvSpPr>
          <p:spPr>
            <a:xfrm rot="4209802">
              <a:off x="3305704" y="3176290"/>
              <a:ext cx="793564" cy="242045"/>
            </a:xfrm>
            <a:prstGeom prst="roundRect">
              <a:avLst>
                <a:gd name="adj" fmla="val 3458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8" name="Rounded Rectangle 57"/>
            <p:cNvSpPr/>
            <p:nvPr/>
          </p:nvSpPr>
          <p:spPr>
            <a:xfrm rot="4234155">
              <a:off x="3180849" y="3331995"/>
              <a:ext cx="701700" cy="59118"/>
            </a:xfrm>
            <a:prstGeom prst="roundRect">
              <a:avLst>
                <a:gd name="adj" fmla="val 5000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9" name="Freeform 58"/>
            <p:cNvSpPr/>
            <p:nvPr/>
          </p:nvSpPr>
          <p:spPr>
            <a:xfrm rot="20830502">
              <a:off x="2416807" y="3065880"/>
              <a:ext cx="1092446" cy="753122"/>
            </a:xfrm>
            <a:custGeom>
              <a:avLst/>
              <a:gdLst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3108 w 1092446"/>
                <a:gd name="connsiteY8" fmla="*/ 486300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3108 w 1092446"/>
                <a:gd name="connsiteY8" fmla="*/ 486300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3108 w 1092446"/>
                <a:gd name="connsiteY8" fmla="*/ 486300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1523 w 1092446"/>
                <a:gd name="connsiteY8" fmla="*/ 493267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99633 w 1092446"/>
                <a:gd name="connsiteY6" fmla="*/ 522004 h 741956"/>
                <a:gd name="connsiteX7" fmla="*/ 691523 w 1092446"/>
                <a:gd name="connsiteY7" fmla="*/ 493267 h 741956"/>
                <a:gd name="connsiteX8" fmla="*/ 576784 w 1092446"/>
                <a:gd name="connsiteY8" fmla="*/ 489842 h 741956"/>
                <a:gd name="connsiteX9" fmla="*/ 571648 w 1092446"/>
                <a:gd name="connsiteY9" fmla="*/ 489724 h 741956"/>
                <a:gd name="connsiteX10" fmla="*/ 481793 w 1092446"/>
                <a:gd name="connsiteY10" fmla="*/ 377963 h 741956"/>
                <a:gd name="connsiteX11" fmla="*/ 408161 w 1092446"/>
                <a:gd name="connsiteY11" fmla="*/ 225516 h 741956"/>
                <a:gd name="connsiteX12" fmla="*/ 0 w 1092446"/>
                <a:gd name="connsiteY12" fmla="*/ 271157 h 741956"/>
                <a:gd name="connsiteX13" fmla="*/ 393182 w 1092446"/>
                <a:gd name="connsiteY13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81793 w 1092446"/>
                <a:gd name="connsiteY8" fmla="*/ 377963 h 741956"/>
                <a:gd name="connsiteX9" fmla="*/ 408161 w 1092446"/>
                <a:gd name="connsiteY9" fmla="*/ 225516 h 741956"/>
                <a:gd name="connsiteX10" fmla="*/ 0 w 1092446"/>
                <a:gd name="connsiteY10" fmla="*/ 271157 h 741956"/>
                <a:gd name="connsiteX11" fmla="*/ 393182 w 1092446"/>
                <a:gd name="connsiteY11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53122"/>
                <a:gd name="connsiteX1" fmla="*/ 1030378 w 1092446"/>
                <a:gd name="connsiteY1" fmla="*/ 159143 h 753122"/>
                <a:gd name="connsiteX2" fmla="*/ 1092446 w 1092446"/>
                <a:gd name="connsiteY2" fmla="*/ 711193 h 753122"/>
                <a:gd name="connsiteX3" fmla="*/ 848296 w 1092446"/>
                <a:gd name="connsiteY3" fmla="*/ 752170 h 753122"/>
                <a:gd name="connsiteX4" fmla="*/ 600457 w 1092446"/>
                <a:gd name="connsiteY4" fmla="*/ 520096 h 753122"/>
                <a:gd name="connsiteX5" fmla="*/ 699633 w 1092446"/>
                <a:gd name="connsiteY5" fmla="*/ 522004 h 753122"/>
                <a:gd name="connsiteX6" fmla="*/ 689937 w 1092446"/>
                <a:gd name="connsiteY6" fmla="*/ 500232 h 753122"/>
                <a:gd name="connsiteX7" fmla="*/ 576784 w 1092446"/>
                <a:gd name="connsiteY7" fmla="*/ 489842 h 753122"/>
                <a:gd name="connsiteX8" fmla="*/ 408161 w 1092446"/>
                <a:gd name="connsiteY8" fmla="*/ 225516 h 753122"/>
                <a:gd name="connsiteX9" fmla="*/ 0 w 1092446"/>
                <a:gd name="connsiteY9" fmla="*/ 271157 h 753122"/>
                <a:gd name="connsiteX10" fmla="*/ 393182 w 1092446"/>
                <a:gd name="connsiteY10" fmla="*/ 0 h 753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92446" h="753122">
                  <a:moveTo>
                    <a:pt x="393182" y="0"/>
                  </a:moveTo>
                  <a:cubicBezTo>
                    <a:pt x="603014" y="50021"/>
                    <a:pt x="721952" y="145288"/>
                    <a:pt x="1030378" y="159143"/>
                  </a:cubicBezTo>
                  <a:cubicBezTo>
                    <a:pt x="1030378" y="348219"/>
                    <a:pt x="1061205" y="519889"/>
                    <a:pt x="1092446" y="711193"/>
                  </a:cubicBezTo>
                  <a:cubicBezTo>
                    <a:pt x="1032790" y="742751"/>
                    <a:pt x="923476" y="757108"/>
                    <a:pt x="848296" y="752170"/>
                  </a:cubicBezTo>
                  <a:cubicBezTo>
                    <a:pt x="798266" y="726242"/>
                    <a:pt x="684202" y="631576"/>
                    <a:pt x="600457" y="520096"/>
                  </a:cubicBezTo>
                  <a:cubicBezTo>
                    <a:pt x="633516" y="520732"/>
                    <a:pt x="684720" y="525315"/>
                    <a:pt x="699633" y="522004"/>
                  </a:cubicBezTo>
                  <a:cubicBezTo>
                    <a:pt x="714546" y="518693"/>
                    <a:pt x="725252" y="504787"/>
                    <a:pt x="689937" y="500232"/>
                  </a:cubicBezTo>
                  <a:cubicBezTo>
                    <a:pt x="654621" y="501428"/>
                    <a:pt x="614772" y="497298"/>
                    <a:pt x="576784" y="489842"/>
                  </a:cubicBezTo>
                  <a:cubicBezTo>
                    <a:pt x="507475" y="437824"/>
                    <a:pt x="432486" y="335672"/>
                    <a:pt x="408161" y="225516"/>
                  </a:cubicBezTo>
                  <a:cubicBezTo>
                    <a:pt x="253916" y="345672"/>
                    <a:pt x="75753" y="345602"/>
                    <a:pt x="0" y="271157"/>
                  </a:cubicBezTo>
                  <a:cubicBezTo>
                    <a:pt x="0" y="259422"/>
                    <a:pt x="381447" y="0"/>
                    <a:pt x="393182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61" name="Group 21"/>
          <p:cNvGrpSpPr>
            <a:grpSpLocks noChangeAspect="1"/>
          </p:cNvGrpSpPr>
          <p:nvPr/>
        </p:nvGrpSpPr>
        <p:grpSpPr bwMode="auto">
          <a:xfrm>
            <a:off x="10906749" y="3548572"/>
            <a:ext cx="463820" cy="462283"/>
            <a:chOff x="-425" y="2418"/>
            <a:chExt cx="302" cy="301"/>
          </a:xfrm>
          <a:solidFill>
            <a:srgbClr val="26867C"/>
          </a:solidFill>
        </p:grpSpPr>
        <p:sp>
          <p:nvSpPr>
            <p:cNvPr id="64" name="Freeform 23"/>
            <p:cNvSpPr>
              <a:spLocks/>
            </p:cNvSpPr>
            <p:nvPr/>
          </p:nvSpPr>
          <p:spPr bwMode="auto">
            <a:xfrm>
              <a:off x="-373" y="2472"/>
              <a:ext cx="130" cy="27"/>
            </a:xfrm>
            <a:custGeom>
              <a:avLst/>
              <a:gdLst>
                <a:gd name="T0" fmla="*/ 151 w 1438"/>
                <a:gd name="T1" fmla="*/ 0 h 302"/>
                <a:gd name="T2" fmla="*/ 1287 w 1438"/>
                <a:gd name="T3" fmla="*/ 0 h 302"/>
                <a:gd name="T4" fmla="*/ 1318 w 1438"/>
                <a:gd name="T5" fmla="*/ 3 h 302"/>
                <a:gd name="T6" fmla="*/ 1346 w 1438"/>
                <a:gd name="T7" fmla="*/ 12 h 302"/>
                <a:gd name="T8" fmla="*/ 1372 w 1438"/>
                <a:gd name="T9" fmla="*/ 26 h 302"/>
                <a:gd name="T10" fmla="*/ 1394 w 1438"/>
                <a:gd name="T11" fmla="*/ 45 h 302"/>
                <a:gd name="T12" fmla="*/ 1413 w 1438"/>
                <a:gd name="T13" fmla="*/ 67 h 302"/>
                <a:gd name="T14" fmla="*/ 1426 w 1438"/>
                <a:gd name="T15" fmla="*/ 93 h 302"/>
                <a:gd name="T16" fmla="*/ 1435 w 1438"/>
                <a:gd name="T17" fmla="*/ 121 h 302"/>
                <a:gd name="T18" fmla="*/ 1438 w 1438"/>
                <a:gd name="T19" fmla="*/ 151 h 302"/>
                <a:gd name="T20" fmla="*/ 1435 w 1438"/>
                <a:gd name="T21" fmla="*/ 181 h 302"/>
                <a:gd name="T22" fmla="*/ 1426 w 1438"/>
                <a:gd name="T23" fmla="*/ 209 h 302"/>
                <a:gd name="T24" fmla="*/ 1413 w 1438"/>
                <a:gd name="T25" fmla="*/ 235 h 302"/>
                <a:gd name="T26" fmla="*/ 1394 w 1438"/>
                <a:gd name="T27" fmla="*/ 257 h 302"/>
                <a:gd name="T28" fmla="*/ 1372 w 1438"/>
                <a:gd name="T29" fmla="*/ 276 h 302"/>
                <a:gd name="T30" fmla="*/ 1346 w 1438"/>
                <a:gd name="T31" fmla="*/ 289 h 302"/>
                <a:gd name="T32" fmla="*/ 1318 w 1438"/>
                <a:gd name="T33" fmla="*/ 298 h 302"/>
                <a:gd name="T34" fmla="*/ 1287 w 1438"/>
                <a:gd name="T35" fmla="*/ 302 h 302"/>
                <a:gd name="T36" fmla="*/ 151 w 1438"/>
                <a:gd name="T37" fmla="*/ 302 h 302"/>
                <a:gd name="T38" fmla="*/ 121 w 1438"/>
                <a:gd name="T39" fmla="*/ 298 h 302"/>
                <a:gd name="T40" fmla="*/ 93 w 1438"/>
                <a:gd name="T41" fmla="*/ 289 h 302"/>
                <a:gd name="T42" fmla="*/ 66 w 1438"/>
                <a:gd name="T43" fmla="*/ 276 h 302"/>
                <a:gd name="T44" fmla="*/ 44 w 1438"/>
                <a:gd name="T45" fmla="*/ 257 h 302"/>
                <a:gd name="T46" fmla="*/ 26 w 1438"/>
                <a:gd name="T47" fmla="*/ 235 h 302"/>
                <a:gd name="T48" fmla="*/ 12 w 1438"/>
                <a:gd name="T49" fmla="*/ 209 h 302"/>
                <a:gd name="T50" fmla="*/ 4 w 1438"/>
                <a:gd name="T51" fmla="*/ 181 h 302"/>
                <a:gd name="T52" fmla="*/ 0 w 1438"/>
                <a:gd name="T53" fmla="*/ 151 h 302"/>
                <a:gd name="T54" fmla="*/ 4 w 1438"/>
                <a:gd name="T55" fmla="*/ 121 h 302"/>
                <a:gd name="T56" fmla="*/ 12 w 1438"/>
                <a:gd name="T57" fmla="*/ 93 h 302"/>
                <a:gd name="T58" fmla="*/ 26 w 1438"/>
                <a:gd name="T59" fmla="*/ 67 h 302"/>
                <a:gd name="T60" fmla="*/ 44 w 1438"/>
                <a:gd name="T61" fmla="*/ 45 h 302"/>
                <a:gd name="T62" fmla="*/ 66 w 1438"/>
                <a:gd name="T63" fmla="*/ 26 h 302"/>
                <a:gd name="T64" fmla="*/ 93 w 1438"/>
                <a:gd name="T65" fmla="*/ 12 h 302"/>
                <a:gd name="T66" fmla="*/ 121 w 1438"/>
                <a:gd name="T67" fmla="*/ 3 h 302"/>
                <a:gd name="T68" fmla="*/ 151 w 1438"/>
                <a:gd name="T6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8" h="302">
                  <a:moveTo>
                    <a:pt x="151" y="0"/>
                  </a:moveTo>
                  <a:lnTo>
                    <a:pt x="1287" y="0"/>
                  </a:lnTo>
                  <a:lnTo>
                    <a:pt x="1318" y="3"/>
                  </a:lnTo>
                  <a:lnTo>
                    <a:pt x="1346" y="12"/>
                  </a:lnTo>
                  <a:lnTo>
                    <a:pt x="1372" y="26"/>
                  </a:lnTo>
                  <a:lnTo>
                    <a:pt x="1394" y="45"/>
                  </a:lnTo>
                  <a:lnTo>
                    <a:pt x="1413" y="67"/>
                  </a:lnTo>
                  <a:lnTo>
                    <a:pt x="1426" y="93"/>
                  </a:lnTo>
                  <a:lnTo>
                    <a:pt x="1435" y="121"/>
                  </a:lnTo>
                  <a:lnTo>
                    <a:pt x="1438" y="151"/>
                  </a:lnTo>
                  <a:lnTo>
                    <a:pt x="1435" y="181"/>
                  </a:lnTo>
                  <a:lnTo>
                    <a:pt x="1426" y="209"/>
                  </a:lnTo>
                  <a:lnTo>
                    <a:pt x="1413" y="235"/>
                  </a:lnTo>
                  <a:lnTo>
                    <a:pt x="1394" y="257"/>
                  </a:lnTo>
                  <a:lnTo>
                    <a:pt x="1372" y="276"/>
                  </a:lnTo>
                  <a:lnTo>
                    <a:pt x="1346" y="289"/>
                  </a:lnTo>
                  <a:lnTo>
                    <a:pt x="1318" y="298"/>
                  </a:lnTo>
                  <a:lnTo>
                    <a:pt x="1287" y="302"/>
                  </a:lnTo>
                  <a:lnTo>
                    <a:pt x="151" y="302"/>
                  </a:lnTo>
                  <a:lnTo>
                    <a:pt x="121" y="298"/>
                  </a:lnTo>
                  <a:lnTo>
                    <a:pt x="93" y="289"/>
                  </a:lnTo>
                  <a:lnTo>
                    <a:pt x="66" y="276"/>
                  </a:lnTo>
                  <a:lnTo>
                    <a:pt x="44" y="257"/>
                  </a:lnTo>
                  <a:lnTo>
                    <a:pt x="26" y="235"/>
                  </a:lnTo>
                  <a:lnTo>
                    <a:pt x="12" y="209"/>
                  </a:lnTo>
                  <a:lnTo>
                    <a:pt x="4" y="181"/>
                  </a:lnTo>
                  <a:lnTo>
                    <a:pt x="0" y="151"/>
                  </a:lnTo>
                  <a:lnTo>
                    <a:pt x="4" y="121"/>
                  </a:lnTo>
                  <a:lnTo>
                    <a:pt x="12" y="93"/>
                  </a:lnTo>
                  <a:lnTo>
                    <a:pt x="26" y="67"/>
                  </a:lnTo>
                  <a:lnTo>
                    <a:pt x="44" y="45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4"/>
            <p:cNvSpPr>
              <a:spLocks/>
            </p:cNvSpPr>
            <p:nvPr/>
          </p:nvSpPr>
          <p:spPr bwMode="auto">
            <a:xfrm>
              <a:off x="-373" y="2523"/>
              <a:ext cx="130" cy="27"/>
            </a:xfrm>
            <a:custGeom>
              <a:avLst/>
              <a:gdLst>
                <a:gd name="T0" fmla="*/ 151 w 1438"/>
                <a:gd name="T1" fmla="*/ 0 h 301"/>
                <a:gd name="T2" fmla="*/ 1287 w 1438"/>
                <a:gd name="T3" fmla="*/ 0 h 301"/>
                <a:gd name="T4" fmla="*/ 1318 w 1438"/>
                <a:gd name="T5" fmla="*/ 3 h 301"/>
                <a:gd name="T6" fmla="*/ 1346 w 1438"/>
                <a:gd name="T7" fmla="*/ 12 h 301"/>
                <a:gd name="T8" fmla="*/ 1372 w 1438"/>
                <a:gd name="T9" fmla="*/ 26 h 301"/>
                <a:gd name="T10" fmla="*/ 1394 w 1438"/>
                <a:gd name="T11" fmla="*/ 44 h 301"/>
                <a:gd name="T12" fmla="*/ 1413 w 1438"/>
                <a:gd name="T13" fmla="*/ 66 h 301"/>
                <a:gd name="T14" fmla="*/ 1426 w 1438"/>
                <a:gd name="T15" fmla="*/ 92 h 301"/>
                <a:gd name="T16" fmla="*/ 1435 w 1438"/>
                <a:gd name="T17" fmla="*/ 120 h 301"/>
                <a:gd name="T18" fmla="*/ 1438 w 1438"/>
                <a:gd name="T19" fmla="*/ 150 h 301"/>
                <a:gd name="T20" fmla="*/ 1435 w 1438"/>
                <a:gd name="T21" fmla="*/ 181 h 301"/>
                <a:gd name="T22" fmla="*/ 1426 w 1438"/>
                <a:gd name="T23" fmla="*/ 210 h 301"/>
                <a:gd name="T24" fmla="*/ 1413 w 1438"/>
                <a:gd name="T25" fmla="*/ 235 h 301"/>
                <a:gd name="T26" fmla="*/ 1394 w 1438"/>
                <a:gd name="T27" fmla="*/ 258 h 301"/>
                <a:gd name="T28" fmla="*/ 1372 w 1438"/>
                <a:gd name="T29" fmla="*/ 275 h 301"/>
                <a:gd name="T30" fmla="*/ 1346 w 1438"/>
                <a:gd name="T31" fmla="*/ 290 h 301"/>
                <a:gd name="T32" fmla="*/ 1318 w 1438"/>
                <a:gd name="T33" fmla="*/ 298 h 301"/>
                <a:gd name="T34" fmla="*/ 1287 w 1438"/>
                <a:gd name="T35" fmla="*/ 301 h 301"/>
                <a:gd name="T36" fmla="*/ 151 w 1438"/>
                <a:gd name="T37" fmla="*/ 301 h 301"/>
                <a:gd name="T38" fmla="*/ 121 w 1438"/>
                <a:gd name="T39" fmla="*/ 298 h 301"/>
                <a:gd name="T40" fmla="*/ 93 w 1438"/>
                <a:gd name="T41" fmla="*/ 290 h 301"/>
                <a:gd name="T42" fmla="*/ 66 w 1438"/>
                <a:gd name="T43" fmla="*/ 275 h 301"/>
                <a:gd name="T44" fmla="*/ 44 w 1438"/>
                <a:gd name="T45" fmla="*/ 258 h 301"/>
                <a:gd name="T46" fmla="*/ 26 w 1438"/>
                <a:gd name="T47" fmla="*/ 235 h 301"/>
                <a:gd name="T48" fmla="*/ 12 w 1438"/>
                <a:gd name="T49" fmla="*/ 210 h 301"/>
                <a:gd name="T50" fmla="*/ 4 w 1438"/>
                <a:gd name="T51" fmla="*/ 181 h 301"/>
                <a:gd name="T52" fmla="*/ 0 w 1438"/>
                <a:gd name="T53" fmla="*/ 150 h 301"/>
                <a:gd name="T54" fmla="*/ 4 w 1438"/>
                <a:gd name="T55" fmla="*/ 120 h 301"/>
                <a:gd name="T56" fmla="*/ 12 w 1438"/>
                <a:gd name="T57" fmla="*/ 92 h 301"/>
                <a:gd name="T58" fmla="*/ 26 w 1438"/>
                <a:gd name="T59" fmla="*/ 66 h 301"/>
                <a:gd name="T60" fmla="*/ 44 w 1438"/>
                <a:gd name="T61" fmla="*/ 44 h 301"/>
                <a:gd name="T62" fmla="*/ 66 w 1438"/>
                <a:gd name="T63" fmla="*/ 26 h 301"/>
                <a:gd name="T64" fmla="*/ 93 w 1438"/>
                <a:gd name="T65" fmla="*/ 12 h 301"/>
                <a:gd name="T66" fmla="*/ 121 w 1438"/>
                <a:gd name="T67" fmla="*/ 3 h 301"/>
                <a:gd name="T68" fmla="*/ 151 w 1438"/>
                <a:gd name="T6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8" h="301">
                  <a:moveTo>
                    <a:pt x="151" y="0"/>
                  </a:moveTo>
                  <a:lnTo>
                    <a:pt x="1287" y="0"/>
                  </a:lnTo>
                  <a:lnTo>
                    <a:pt x="1318" y="3"/>
                  </a:lnTo>
                  <a:lnTo>
                    <a:pt x="1346" y="12"/>
                  </a:lnTo>
                  <a:lnTo>
                    <a:pt x="1372" y="26"/>
                  </a:lnTo>
                  <a:lnTo>
                    <a:pt x="1394" y="44"/>
                  </a:lnTo>
                  <a:lnTo>
                    <a:pt x="1413" y="66"/>
                  </a:lnTo>
                  <a:lnTo>
                    <a:pt x="1426" y="92"/>
                  </a:lnTo>
                  <a:lnTo>
                    <a:pt x="1435" y="120"/>
                  </a:lnTo>
                  <a:lnTo>
                    <a:pt x="1438" y="150"/>
                  </a:lnTo>
                  <a:lnTo>
                    <a:pt x="1435" y="181"/>
                  </a:lnTo>
                  <a:lnTo>
                    <a:pt x="1426" y="210"/>
                  </a:lnTo>
                  <a:lnTo>
                    <a:pt x="1413" y="235"/>
                  </a:lnTo>
                  <a:lnTo>
                    <a:pt x="1394" y="258"/>
                  </a:lnTo>
                  <a:lnTo>
                    <a:pt x="1372" y="275"/>
                  </a:lnTo>
                  <a:lnTo>
                    <a:pt x="1346" y="290"/>
                  </a:lnTo>
                  <a:lnTo>
                    <a:pt x="1318" y="298"/>
                  </a:lnTo>
                  <a:lnTo>
                    <a:pt x="1287" y="301"/>
                  </a:lnTo>
                  <a:lnTo>
                    <a:pt x="151" y="301"/>
                  </a:lnTo>
                  <a:lnTo>
                    <a:pt x="121" y="298"/>
                  </a:lnTo>
                  <a:lnTo>
                    <a:pt x="93" y="290"/>
                  </a:lnTo>
                  <a:lnTo>
                    <a:pt x="66" y="275"/>
                  </a:lnTo>
                  <a:lnTo>
                    <a:pt x="44" y="258"/>
                  </a:lnTo>
                  <a:lnTo>
                    <a:pt x="26" y="235"/>
                  </a:lnTo>
                  <a:lnTo>
                    <a:pt x="12" y="210"/>
                  </a:lnTo>
                  <a:lnTo>
                    <a:pt x="4" y="181"/>
                  </a:lnTo>
                  <a:lnTo>
                    <a:pt x="0" y="150"/>
                  </a:lnTo>
                  <a:lnTo>
                    <a:pt x="4" y="120"/>
                  </a:lnTo>
                  <a:lnTo>
                    <a:pt x="12" y="92"/>
                  </a:lnTo>
                  <a:lnTo>
                    <a:pt x="26" y="66"/>
                  </a:lnTo>
                  <a:lnTo>
                    <a:pt x="44" y="44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5"/>
            <p:cNvSpPr>
              <a:spLocks/>
            </p:cNvSpPr>
            <p:nvPr/>
          </p:nvSpPr>
          <p:spPr bwMode="auto">
            <a:xfrm>
              <a:off x="-373" y="2574"/>
              <a:ext cx="79" cy="28"/>
            </a:xfrm>
            <a:custGeom>
              <a:avLst/>
              <a:gdLst>
                <a:gd name="T0" fmla="*/ 151 w 870"/>
                <a:gd name="T1" fmla="*/ 0 h 301"/>
                <a:gd name="T2" fmla="*/ 720 w 870"/>
                <a:gd name="T3" fmla="*/ 0 h 301"/>
                <a:gd name="T4" fmla="*/ 750 w 870"/>
                <a:gd name="T5" fmla="*/ 4 h 301"/>
                <a:gd name="T6" fmla="*/ 778 w 870"/>
                <a:gd name="T7" fmla="*/ 12 h 301"/>
                <a:gd name="T8" fmla="*/ 805 w 870"/>
                <a:gd name="T9" fmla="*/ 26 h 301"/>
                <a:gd name="T10" fmla="*/ 827 w 870"/>
                <a:gd name="T11" fmla="*/ 44 h 301"/>
                <a:gd name="T12" fmla="*/ 845 w 870"/>
                <a:gd name="T13" fmla="*/ 67 h 301"/>
                <a:gd name="T14" fmla="*/ 859 w 870"/>
                <a:gd name="T15" fmla="*/ 92 h 301"/>
                <a:gd name="T16" fmla="*/ 867 w 870"/>
                <a:gd name="T17" fmla="*/ 120 h 301"/>
                <a:gd name="T18" fmla="*/ 870 w 870"/>
                <a:gd name="T19" fmla="*/ 151 h 301"/>
                <a:gd name="T20" fmla="*/ 867 w 870"/>
                <a:gd name="T21" fmla="*/ 181 h 301"/>
                <a:gd name="T22" fmla="*/ 859 w 870"/>
                <a:gd name="T23" fmla="*/ 209 h 301"/>
                <a:gd name="T24" fmla="*/ 845 w 870"/>
                <a:gd name="T25" fmla="*/ 234 h 301"/>
                <a:gd name="T26" fmla="*/ 827 w 870"/>
                <a:gd name="T27" fmla="*/ 257 h 301"/>
                <a:gd name="T28" fmla="*/ 805 w 870"/>
                <a:gd name="T29" fmla="*/ 275 h 301"/>
                <a:gd name="T30" fmla="*/ 778 w 870"/>
                <a:gd name="T31" fmla="*/ 290 h 301"/>
                <a:gd name="T32" fmla="*/ 750 w 870"/>
                <a:gd name="T33" fmla="*/ 298 h 301"/>
                <a:gd name="T34" fmla="*/ 720 w 870"/>
                <a:gd name="T35" fmla="*/ 301 h 301"/>
                <a:gd name="T36" fmla="*/ 151 w 870"/>
                <a:gd name="T37" fmla="*/ 301 h 301"/>
                <a:gd name="T38" fmla="*/ 121 w 870"/>
                <a:gd name="T39" fmla="*/ 298 h 301"/>
                <a:gd name="T40" fmla="*/ 93 w 870"/>
                <a:gd name="T41" fmla="*/ 290 h 301"/>
                <a:gd name="T42" fmla="*/ 66 w 870"/>
                <a:gd name="T43" fmla="*/ 275 h 301"/>
                <a:gd name="T44" fmla="*/ 44 w 870"/>
                <a:gd name="T45" fmla="*/ 257 h 301"/>
                <a:gd name="T46" fmla="*/ 26 w 870"/>
                <a:gd name="T47" fmla="*/ 234 h 301"/>
                <a:gd name="T48" fmla="*/ 12 w 870"/>
                <a:gd name="T49" fmla="*/ 209 h 301"/>
                <a:gd name="T50" fmla="*/ 4 w 870"/>
                <a:gd name="T51" fmla="*/ 181 h 301"/>
                <a:gd name="T52" fmla="*/ 0 w 870"/>
                <a:gd name="T53" fmla="*/ 151 h 301"/>
                <a:gd name="T54" fmla="*/ 4 w 870"/>
                <a:gd name="T55" fmla="*/ 120 h 301"/>
                <a:gd name="T56" fmla="*/ 12 w 870"/>
                <a:gd name="T57" fmla="*/ 92 h 301"/>
                <a:gd name="T58" fmla="*/ 26 w 870"/>
                <a:gd name="T59" fmla="*/ 67 h 301"/>
                <a:gd name="T60" fmla="*/ 44 w 870"/>
                <a:gd name="T61" fmla="*/ 44 h 301"/>
                <a:gd name="T62" fmla="*/ 66 w 870"/>
                <a:gd name="T63" fmla="*/ 26 h 301"/>
                <a:gd name="T64" fmla="*/ 93 w 870"/>
                <a:gd name="T65" fmla="*/ 12 h 301"/>
                <a:gd name="T66" fmla="*/ 121 w 870"/>
                <a:gd name="T67" fmla="*/ 4 h 301"/>
                <a:gd name="T68" fmla="*/ 151 w 870"/>
                <a:gd name="T6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0" h="301">
                  <a:moveTo>
                    <a:pt x="151" y="0"/>
                  </a:moveTo>
                  <a:lnTo>
                    <a:pt x="720" y="0"/>
                  </a:lnTo>
                  <a:lnTo>
                    <a:pt x="750" y="4"/>
                  </a:lnTo>
                  <a:lnTo>
                    <a:pt x="778" y="12"/>
                  </a:lnTo>
                  <a:lnTo>
                    <a:pt x="805" y="26"/>
                  </a:lnTo>
                  <a:lnTo>
                    <a:pt x="827" y="44"/>
                  </a:lnTo>
                  <a:lnTo>
                    <a:pt x="845" y="67"/>
                  </a:lnTo>
                  <a:lnTo>
                    <a:pt x="859" y="92"/>
                  </a:lnTo>
                  <a:lnTo>
                    <a:pt x="867" y="120"/>
                  </a:lnTo>
                  <a:lnTo>
                    <a:pt x="870" y="151"/>
                  </a:lnTo>
                  <a:lnTo>
                    <a:pt x="867" y="181"/>
                  </a:lnTo>
                  <a:lnTo>
                    <a:pt x="859" y="209"/>
                  </a:lnTo>
                  <a:lnTo>
                    <a:pt x="845" y="234"/>
                  </a:lnTo>
                  <a:lnTo>
                    <a:pt x="827" y="257"/>
                  </a:lnTo>
                  <a:lnTo>
                    <a:pt x="805" y="275"/>
                  </a:lnTo>
                  <a:lnTo>
                    <a:pt x="778" y="290"/>
                  </a:lnTo>
                  <a:lnTo>
                    <a:pt x="750" y="298"/>
                  </a:lnTo>
                  <a:lnTo>
                    <a:pt x="720" y="301"/>
                  </a:lnTo>
                  <a:lnTo>
                    <a:pt x="151" y="301"/>
                  </a:lnTo>
                  <a:lnTo>
                    <a:pt x="121" y="298"/>
                  </a:lnTo>
                  <a:lnTo>
                    <a:pt x="93" y="290"/>
                  </a:lnTo>
                  <a:lnTo>
                    <a:pt x="66" y="275"/>
                  </a:lnTo>
                  <a:lnTo>
                    <a:pt x="44" y="257"/>
                  </a:lnTo>
                  <a:lnTo>
                    <a:pt x="26" y="234"/>
                  </a:lnTo>
                  <a:lnTo>
                    <a:pt x="12" y="209"/>
                  </a:lnTo>
                  <a:lnTo>
                    <a:pt x="4" y="181"/>
                  </a:lnTo>
                  <a:lnTo>
                    <a:pt x="0" y="151"/>
                  </a:lnTo>
                  <a:lnTo>
                    <a:pt x="4" y="120"/>
                  </a:lnTo>
                  <a:lnTo>
                    <a:pt x="12" y="92"/>
                  </a:lnTo>
                  <a:lnTo>
                    <a:pt x="26" y="67"/>
                  </a:lnTo>
                  <a:lnTo>
                    <a:pt x="44" y="44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4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6"/>
            <p:cNvSpPr>
              <a:spLocks/>
            </p:cNvSpPr>
            <p:nvPr/>
          </p:nvSpPr>
          <p:spPr bwMode="auto">
            <a:xfrm>
              <a:off x="-425" y="2418"/>
              <a:ext cx="234" cy="301"/>
            </a:xfrm>
            <a:custGeom>
              <a:avLst/>
              <a:gdLst>
                <a:gd name="T0" fmla="*/ 152 w 2574"/>
                <a:gd name="T1" fmla="*/ 0 h 3310"/>
                <a:gd name="T2" fmla="*/ 2423 w 2574"/>
                <a:gd name="T3" fmla="*/ 0 h 3310"/>
                <a:gd name="T4" fmla="*/ 2453 w 2574"/>
                <a:gd name="T5" fmla="*/ 3 h 3310"/>
                <a:gd name="T6" fmla="*/ 2481 w 2574"/>
                <a:gd name="T7" fmla="*/ 12 h 3310"/>
                <a:gd name="T8" fmla="*/ 2507 w 2574"/>
                <a:gd name="T9" fmla="*/ 26 h 3310"/>
                <a:gd name="T10" fmla="*/ 2529 w 2574"/>
                <a:gd name="T11" fmla="*/ 44 h 3310"/>
                <a:gd name="T12" fmla="*/ 2548 w 2574"/>
                <a:gd name="T13" fmla="*/ 67 h 3310"/>
                <a:gd name="T14" fmla="*/ 2562 w 2574"/>
                <a:gd name="T15" fmla="*/ 92 h 3310"/>
                <a:gd name="T16" fmla="*/ 2571 w 2574"/>
                <a:gd name="T17" fmla="*/ 120 h 3310"/>
                <a:gd name="T18" fmla="*/ 2574 w 2574"/>
                <a:gd name="T19" fmla="*/ 150 h 3310"/>
                <a:gd name="T20" fmla="*/ 2574 w 2574"/>
                <a:gd name="T21" fmla="*/ 374 h 3310"/>
                <a:gd name="T22" fmla="*/ 2272 w 2574"/>
                <a:gd name="T23" fmla="*/ 896 h 3310"/>
                <a:gd name="T24" fmla="*/ 2272 w 2574"/>
                <a:gd name="T25" fmla="*/ 301 h 3310"/>
                <a:gd name="T26" fmla="*/ 304 w 2574"/>
                <a:gd name="T27" fmla="*/ 301 h 3310"/>
                <a:gd name="T28" fmla="*/ 304 w 2574"/>
                <a:gd name="T29" fmla="*/ 3008 h 3310"/>
                <a:gd name="T30" fmla="*/ 2272 w 2574"/>
                <a:gd name="T31" fmla="*/ 3008 h 3310"/>
                <a:gd name="T32" fmla="*/ 2272 w 2574"/>
                <a:gd name="T33" fmla="*/ 2634 h 3310"/>
                <a:gd name="T34" fmla="*/ 2430 w 2574"/>
                <a:gd name="T35" fmla="*/ 2530 h 3310"/>
                <a:gd name="T36" fmla="*/ 2458 w 2574"/>
                <a:gd name="T37" fmla="*/ 2508 h 3310"/>
                <a:gd name="T38" fmla="*/ 2482 w 2574"/>
                <a:gd name="T39" fmla="*/ 2483 h 3310"/>
                <a:gd name="T40" fmla="*/ 2502 w 2574"/>
                <a:gd name="T41" fmla="*/ 2454 h 3310"/>
                <a:gd name="T42" fmla="*/ 2574 w 2574"/>
                <a:gd name="T43" fmla="*/ 2330 h 3310"/>
                <a:gd name="T44" fmla="*/ 2574 w 2574"/>
                <a:gd name="T45" fmla="*/ 3159 h 3310"/>
                <a:gd name="T46" fmla="*/ 2571 w 2574"/>
                <a:gd name="T47" fmla="*/ 3189 h 3310"/>
                <a:gd name="T48" fmla="*/ 2562 w 2574"/>
                <a:gd name="T49" fmla="*/ 3217 h 3310"/>
                <a:gd name="T50" fmla="*/ 2548 w 2574"/>
                <a:gd name="T51" fmla="*/ 3243 h 3310"/>
                <a:gd name="T52" fmla="*/ 2529 w 2574"/>
                <a:gd name="T53" fmla="*/ 3265 h 3310"/>
                <a:gd name="T54" fmla="*/ 2507 w 2574"/>
                <a:gd name="T55" fmla="*/ 3284 h 3310"/>
                <a:gd name="T56" fmla="*/ 2481 w 2574"/>
                <a:gd name="T57" fmla="*/ 3297 h 3310"/>
                <a:gd name="T58" fmla="*/ 2453 w 2574"/>
                <a:gd name="T59" fmla="*/ 3307 h 3310"/>
                <a:gd name="T60" fmla="*/ 2423 w 2574"/>
                <a:gd name="T61" fmla="*/ 3310 h 3310"/>
                <a:gd name="T62" fmla="*/ 152 w 2574"/>
                <a:gd name="T63" fmla="*/ 3310 h 3310"/>
                <a:gd name="T64" fmla="*/ 121 w 2574"/>
                <a:gd name="T65" fmla="*/ 3307 h 3310"/>
                <a:gd name="T66" fmla="*/ 93 w 2574"/>
                <a:gd name="T67" fmla="*/ 3297 h 3310"/>
                <a:gd name="T68" fmla="*/ 67 w 2574"/>
                <a:gd name="T69" fmla="*/ 3284 h 3310"/>
                <a:gd name="T70" fmla="*/ 45 w 2574"/>
                <a:gd name="T71" fmla="*/ 3265 h 3310"/>
                <a:gd name="T72" fmla="*/ 26 w 2574"/>
                <a:gd name="T73" fmla="*/ 3243 h 3310"/>
                <a:gd name="T74" fmla="*/ 13 w 2574"/>
                <a:gd name="T75" fmla="*/ 3217 h 3310"/>
                <a:gd name="T76" fmla="*/ 3 w 2574"/>
                <a:gd name="T77" fmla="*/ 3189 h 3310"/>
                <a:gd name="T78" fmla="*/ 0 w 2574"/>
                <a:gd name="T79" fmla="*/ 3159 h 3310"/>
                <a:gd name="T80" fmla="*/ 0 w 2574"/>
                <a:gd name="T81" fmla="*/ 150 h 3310"/>
                <a:gd name="T82" fmla="*/ 3 w 2574"/>
                <a:gd name="T83" fmla="*/ 120 h 3310"/>
                <a:gd name="T84" fmla="*/ 13 w 2574"/>
                <a:gd name="T85" fmla="*/ 92 h 3310"/>
                <a:gd name="T86" fmla="*/ 26 w 2574"/>
                <a:gd name="T87" fmla="*/ 67 h 3310"/>
                <a:gd name="T88" fmla="*/ 45 w 2574"/>
                <a:gd name="T89" fmla="*/ 44 h 3310"/>
                <a:gd name="T90" fmla="*/ 67 w 2574"/>
                <a:gd name="T91" fmla="*/ 26 h 3310"/>
                <a:gd name="T92" fmla="*/ 93 w 2574"/>
                <a:gd name="T93" fmla="*/ 12 h 3310"/>
                <a:gd name="T94" fmla="*/ 121 w 2574"/>
                <a:gd name="T95" fmla="*/ 3 h 3310"/>
                <a:gd name="T96" fmla="*/ 152 w 2574"/>
                <a:gd name="T97" fmla="*/ 0 h 3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74" h="3310">
                  <a:moveTo>
                    <a:pt x="152" y="0"/>
                  </a:moveTo>
                  <a:lnTo>
                    <a:pt x="2423" y="0"/>
                  </a:lnTo>
                  <a:lnTo>
                    <a:pt x="2453" y="3"/>
                  </a:lnTo>
                  <a:lnTo>
                    <a:pt x="2481" y="12"/>
                  </a:lnTo>
                  <a:lnTo>
                    <a:pt x="2507" y="26"/>
                  </a:lnTo>
                  <a:lnTo>
                    <a:pt x="2529" y="44"/>
                  </a:lnTo>
                  <a:lnTo>
                    <a:pt x="2548" y="67"/>
                  </a:lnTo>
                  <a:lnTo>
                    <a:pt x="2562" y="92"/>
                  </a:lnTo>
                  <a:lnTo>
                    <a:pt x="2571" y="120"/>
                  </a:lnTo>
                  <a:lnTo>
                    <a:pt x="2574" y="150"/>
                  </a:lnTo>
                  <a:lnTo>
                    <a:pt x="2574" y="374"/>
                  </a:lnTo>
                  <a:lnTo>
                    <a:pt x="2272" y="896"/>
                  </a:lnTo>
                  <a:lnTo>
                    <a:pt x="2272" y="301"/>
                  </a:lnTo>
                  <a:lnTo>
                    <a:pt x="304" y="301"/>
                  </a:lnTo>
                  <a:lnTo>
                    <a:pt x="304" y="3008"/>
                  </a:lnTo>
                  <a:lnTo>
                    <a:pt x="2272" y="3008"/>
                  </a:lnTo>
                  <a:lnTo>
                    <a:pt x="2272" y="2634"/>
                  </a:lnTo>
                  <a:lnTo>
                    <a:pt x="2430" y="2530"/>
                  </a:lnTo>
                  <a:lnTo>
                    <a:pt x="2458" y="2508"/>
                  </a:lnTo>
                  <a:lnTo>
                    <a:pt x="2482" y="2483"/>
                  </a:lnTo>
                  <a:lnTo>
                    <a:pt x="2502" y="2454"/>
                  </a:lnTo>
                  <a:lnTo>
                    <a:pt x="2574" y="2330"/>
                  </a:lnTo>
                  <a:lnTo>
                    <a:pt x="2574" y="3159"/>
                  </a:lnTo>
                  <a:lnTo>
                    <a:pt x="2571" y="3189"/>
                  </a:lnTo>
                  <a:lnTo>
                    <a:pt x="2562" y="3217"/>
                  </a:lnTo>
                  <a:lnTo>
                    <a:pt x="2548" y="3243"/>
                  </a:lnTo>
                  <a:lnTo>
                    <a:pt x="2529" y="3265"/>
                  </a:lnTo>
                  <a:lnTo>
                    <a:pt x="2507" y="3284"/>
                  </a:lnTo>
                  <a:lnTo>
                    <a:pt x="2481" y="3297"/>
                  </a:lnTo>
                  <a:lnTo>
                    <a:pt x="2453" y="3307"/>
                  </a:lnTo>
                  <a:lnTo>
                    <a:pt x="2423" y="3310"/>
                  </a:lnTo>
                  <a:lnTo>
                    <a:pt x="152" y="3310"/>
                  </a:lnTo>
                  <a:lnTo>
                    <a:pt x="121" y="3307"/>
                  </a:lnTo>
                  <a:lnTo>
                    <a:pt x="93" y="3297"/>
                  </a:lnTo>
                  <a:lnTo>
                    <a:pt x="67" y="3284"/>
                  </a:lnTo>
                  <a:lnTo>
                    <a:pt x="45" y="3265"/>
                  </a:lnTo>
                  <a:lnTo>
                    <a:pt x="26" y="3243"/>
                  </a:lnTo>
                  <a:lnTo>
                    <a:pt x="13" y="3217"/>
                  </a:lnTo>
                  <a:lnTo>
                    <a:pt x="3" y="3189"/>
                  </a:lnTo>
                  <a:lnTo>
                    <a:pt x="0" y="3159"/>
                  </a:lnTo>
                  <a:lnTo>
                    <a:pt x="0" y="150"/>
                  </a:lnTo>
                  <a:lnTo>
                    <a:pt x="3" y="120"/>
                  </a:lnTo>
                  <a:lnTo>
                    <a:pt x="13" y="92"/>
                  </a:lnTo>
                  <a:lnTo>
                    <a:pt x="26" y="67"/>
                  </a:lnTo>
                  <a:lnTo>
                    <a:pt x="45" y="44"/>
                  </a:lnTo>
                  <a:lnTo>
                    <a:pt x="67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7"/>
            <p:cNvSpPr>
              <a:spLocks noEditPoints="1"/>
            </p:cNvSpPr>
            <p:nvPr/>
          </p:nvSpPr>
          <p:spPr bwMode="auto">
            <a:xfrm>
              <a:off x="-267" y="2452"/>
              <a:ext cx="144" cy="215"/>
            </a:xfrm>
            <a:custGeom>
              <a:avLst/>
              <a:gdLst>
                <a:gd name="T0" fmla="*/ 131 w 1591"/>
                <a:gd name="T1" fmla="*/ 1996 h 2370"/>
                <a:gd name="T2" fmla="*/ 223 w 1591"/>
                <a:gd name="T3" fmla="*/ 2040 h 2370"/>
                <a:gd name="T4" fmla="*/ 308 w 1591"/>
                <a:gd name="T5" fmla="*/ 2097 h 2370"/>
                <a:gd name="T6" fmla="*/ 439 w 1591"/>
                <a:gd name="T7" fmla="*/ 1980 h 2370"/>
                <a:gd name="T8" fmla="*/ 389 w 1591"/>
                <a:gd name="T9" fmla="*/ 1934 h 2370"/>
                <a:gd name="T10" fmla="*/ 314 w 1591"/>
                <a:gd name="T11" fmla="*/ 1883 h 2370"/>
                <a:gd name="T12" fmla="*/ 245 w 1591"/>
                <a:gd name="T13" fmla="*/ 1849 h 2370"/>
                <a:gd name="T14" fmla="*/ 187 w 1591"/>
                <a:gd name="T15" fmla="*/ 1829 h 2370"/>
                <a:gd name="T16" fmla="*/ 141 w 1591"/>
                <a:gd name="T17" fmla="*/ 1820 h 2370"/>
                <a:gd name="T18" fmla="*/ 1118 w 1591"/>
                <a:gd name="T19" fmla="*/ 0 h 2370"/>
                <a:gd name="T20" fmla="*/ 1173 w 1591"/>
                <a:gd name="T21" fmla="*/ 7 h 2370"/>
                <a:gd name="T22" fmla="*/ 1240 w 1591"/>
                <a:gd name="T23" fmla="*/ 25 h 2370"/>
                <a:gd name="T24" fmla="*/ 1319 w 1591"/>
                <a:gd name="T25" fmla="*/ 57 h 2370"/>
                <a:gd name="T26" fmla="*/ 1407 w 1591"/>
                <a:gd name="T27" fmla="*/ 108 h 2370"/>
                <a:gd name="T28" fmla="*/ 1478 w 1591"/>
                <a:gd name="T29" fmla="*/ 163 h 2370"/>
                <a:gd name="T30" fmla="*/ 1528 w 1591"/>
                <a:gd name="T31" fmla="*/ 215 h 2370"/>
                <a:gd name="T32" fmla="*/ 1561 w 1591"/>
                <a:gd name="T33" fmla="*/ 261 h 2370"/>
                <a:gd name="T34" fmla="*/ 1580 w 1591"/>
                <a:gd name="T35" fmla="*/ 297 h 2370"/>
                <a:gd name="T36" fmla="*/ 1588 w 1591"/>
                <a:gd name="T37" fmla="*/ 320 h 2370"/>
                <a:gd name="T38" fmla="*/ 1591 w 1591"/>
                <a:gd name="T39" fmla="*/ 344 h 2370"/>
                <a:gd name="T40" fmla="*/ 1581 w 1591"/>
                <a:gd name="T41" fmla="*/ 379 h 2370"/>
                <a:gd name="T42" fmla="*/ 625 w 1591"/>
                <a:gd name="T43" fmla="*/ 2021 h 2370"/>
                <a:gd name="T44" fmla="*/ 116 w 1591"/>
                <a:gd name="T45" fmla="*/ 2357 h 2370"/>
                <a:gd name="T46" fmla="*/ 77 w 1591"/>
                <a:gd name="T47" fmla="*/ 2370 h 2370"/>
                <a:gd name="T48" fmla="*/ 36 w 1591"/>
                <a:gd name="T49" fmla="*/ 2359 h 2370"/>
                <a:gd name="T50" fmla="*/ 12 w 1591"/>
                <a:gd name="T51" fmla="*/ 2338 h 2370"/>
                <a:gd name="T52" fmla="*/ 0 w 1591"/>
                <a:gd name="T53" fmla="*/ 2306 h 2370"/>
                <a:gd name="T54" fmla="*/ 34 w 1591"/>
                <a:gd name="T55" fmla="*/ 1702 h 2370"/>
                <a:gd name="T56" fmla="*/ 45 w 1591"/>
                <a:gd name="T57" fmla="*/ 1670 h 2370"/>
                <a:gd name="T58" fmla="*/ 1002 w 1591"/>
                <a:gd name="T59" fmla="*/ 27 h 2370"/>
                <a:gd name="T60" fmla="*/ 1034 w 1591"/>
                <a:gd name="T61" fmla="*/ 7 h 2370"/>
                <a:gd name="T62" fmla="*/ 1048 w 1591"/>
                <a:gd name="T63" fmla="*/ 4 h 2370"/>
                <a:gd name="T64" fmla="*/ 1076 w 1591"/>
                <a:gd name="T65" fmla="*/ 0 h 2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91" h="2370">
                  <a:moveTo>
                    <a:pt x="141" y="1820"/>
                  </a:moveTo>
                  <a:lnTo>
                    <a:pt x="131" y="1996"/>
                  </a:lnTo>
                  <a:lnTo>
                    <a:pt x="177" y="2016"/>
                  </a:lnTo>
                  <a:lnTo>
                    <a:pt x="223" y="2040"/>
                  </a:lnTo>
                  <a:lnTo>
                    <a:pt x="267" y="2067"/>
                  </a:lnTo>
                  <a:lnTo>
                    <a:pt x="308" y="2097"/>
                  </a:lnTo>
                  <a:lnTo>
                    <a:pt x="455" y="2000"/>
                  </a:lnTo>
                  <a:lnTo>
                    <a:pt x="439" y="1980"/>
                  </a:lnTo>
                  <a:lnTo>
                    <a:pt x="417" y="1958"/>
                  </a:lnTo>
                  <a:lnTo>
                    <a:pt x="389" y="1934"/>
                  </a:lnTo>
                  <a:lnTo>
                    <a:pt x="355" y="1909"/>
                  </a:lnTo>
                  <a:lnTo>
                    <a:pt x="314" y="1883"/>
                  </a:lnTo>
                  <a:lnTo>
                    <a:pt x="278" y="1864"/>
                  </a:lnTo>
                  <a:lnTo>
                    <a:pt x="245" y="1849"/>
                  </a:lnTo>
                  <a:lnTo>
                    <a:pt x="214" y="1837"/>
                  </a:lnTo>
                  <a:lnTo>
                    <a:pt x="187" y="1829"/>
                  </a:lnTo>
                  <a:lnTo>
                    <a:pt x="163" y="1824"/>
                  </a:lnTo>
                  <a:lnTo>
                    <a:pt x="141" y="1820"/>
                  </a:lnTo>
                  <a:close/>
                  <a:moveTo>
                    <a:pt x="1095" y="0"/>
                  </a:moveTo>
                  <a:lnTo>
                    <a:pt x="1118" y="0"/>
                  </a:lnTo>
                  <a:lnTo>
                    <a:pt x="1144" y="2"/>
                  </a:lnTo>
                  <a:lnTo>
                    <a:pt x="1173" y="7"/>
                  </a:lnTo>
                  <a:lnTo>
                    <a:pt x="1205" y="14"/>
                  </a:lnTo>
                  <a:lnTo>
                    <a:pt x="1240" y="25"/>
                  </a:lnTo>
                  <a:lnTo>
                    <a:pt x="1278" y="39"/>
                  </a:lnTo>
                  <a:lnTo>
                    <a:pt x="1319" y="57"/>
                  </a:lnTo>
                  <a:lnTo>
                    <a:pt x="1362" y="81"/>
                  </a:lnTo>
                  <a:lnTo>
                    <a:pt x="1407" y="108"/>
                  </a:lnTo>
                  <a:lnTo>
                    <a:pt x="1446" y="136"/>
                  </a:lnTo>
                  <a:lnTo>
                    <a:pt x="1478" y="163"/>
                  </a:lnTo>
                  <a:lnTo>
                    <a:pt x="1505" y="190"/>
                  </a:lnTo>
                  <a:lnTo>
                    <a:pt x="1528" y="215"/>
                  </a:lnTo>
                  <a:lnTo>
                    <a:pt x="1546" y="239"/>
                  </a:lnTo>
                  <a:lnTo>
                    <a:pt x="1561" y="261"/>
                  </a:lnTo>
                  <a:lnTo>
                    <a:pt x="1571" y="280"/>
                  </a:lnTo>
                  <a:lnTo>
                    <a:pt x="1580" y="297"/>
                  </a:lnTo>
                  <a:lnTo>
                    <a:pt x="1585" y="311"/>
                  </a:lnTo>
                  <a:lnTo>
                    <a:pt x="1588" y="320"/>
                  </a:lnTo>
                  <a:lnTo>
                    <a:pt x="1589" y="325"/>
                  </a:lnTo>
                  <a:lnTo>
                    <a:pt x="1591" y="344"/>
                  </a:lnTo>
                  <a:lnTo>
                    <a:pt x="1588" y="363"/>
                  </a:lnTo>
                  <a:lnTo>
                    <a:pt x="1581" y="379"/>
                  </a:lnTo>
                  <a:lnTo>
                    <a:pt x="634" y="2008"/>
                  </a:lnTo>
                  <a:lnTo>
                    <a:pt x="625" y="2021"/>
                  </a:lnTo>
                  <a:lnTo>
                    <a:pt x="611" y="2033"/>
                  </a:lnTo>
                  <a:lnTo>
                    <a:pt x="116" y="2357"/>
                  </a:lnTo>
                  <a:lnTo>
                    <a:pt x="97" y="2367"/>
                  </a:lnTo>
                  <a:lnTo>
                    <a:pt x="77" y="2370"/>
                  </a:lnTo>
                  <a:lnTo>
                    <a:pt x="56" y="2368"/>
                  </a:lnTo>
                  <a:lnTo>
                    <a:pt x="36" y="2359"/>
                  </a:lnTo>
                  <a:lnTo>
                    <a:pt x="23" y="2350"/>
                  </a:lnTo>
                  <a:lnTo>
                    <a:pt x="12" y="2338"/>
                  </a:lnTo>
                  <a:lnTo>
                    <a:pt x="5" y="2323"/>
                  </a:lnTo>
                  <a:lnTo>
                    <a:pt x="0" y="2306"/>
                  </a:lnTo>
                  <a:lnTo>
                    <a:pt x="0" y="2290"/>
                  </a:lnTo>
                  <a:lnTo>
                    <a:pt x="34" y="1702"/>
                  </a:lnTo>
                  <a:lnTo>
                    <a:pt x="38" y="1685"/>
                  </a:lnTo>
                  <a:lnTo>
                    <a:pt x="45" y="1670"/>
                  </a:lnTo>
                  <a:lnTo>
                    <a:pt x="991" y="41"/>
                  </a:lnTo>
                  <a:lnTo>
                    <a:pt x="1002" y="27"/>
                  </a:lnTo>
                  <a:lnTo>
                    <a:pt x="1016" y="15"/>
                  </a:lnTo>
                  <a:lnTo>
                    <a:pt x="1034" y="7"/>
                  </a:lnTo>
                  <a:lnTo>
                    <a:pt x="1038" y="6"/>
                  </a:lnTo>
                  <a:lnTo>
                    <a:pt x="1048" y="4"/>
                  </a:lnTo>
                  <a:lnTo>
                    <a:pt x="1060" y="2"/>
                  </a:lnTo>
                  <a:lnTo>
                    <a:pt x="1076" y="0"/>
                  </a:lnTo>
                  <a:lnTo>
                    <a:pt x="10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"/>
            <p:cNvSpPr>
              <a:spLocks/>
            </p:cNvSpPr>
            <p:nvPr/>
          </p:nvSpPr>
          <p:spPr bwMode="auto">
            <a:xfrm>
              <a:off x="-381" y="2625"/>
              <a:ext cx="105" cy="53"/>
            </a:xfrm>
            <a:custGeom>
              <a:avLst/>
              <a:gdLst>
                <a:gd name="T0" fmla="*/ 557 w 1155"/>
                <a:gd name="T1" fmla="*/ 5 h 591"/>
                <a:gd name="T2" fmla="*/ 583 w 1155"/>
                <a:gd name="T3" fmla="*/ 28 h 591"/>
                <a:gd name="T4" fmla="*/ 591 w 1155"/>
                <a:gd name="T5" fmla="*/ 111 h 591"/>
                <a:gd name="T6" fmla="*/ 560 w 1155"/>
                <a:gd name="T7" fmla="*/ 199 h 591"/>
                <a:gd name="T8" fmla="*/ 569 w 1155"/>
                <a:gd name="T9" fmla="*/ 242 h 591"/>
                <a:gd name="T10" fmla="*/ 587 w 1155"/>
                <a:gd name="T11" fmla="*/ 270 h 591"/>
                <a:gd name="T12" fmla="*/ 637 w 1155"/>
                <a:gd name="T13" fmla="*/ 278 h 591"/>
                <a:gd name="T14" fmla="*/ 681 w 1155"/>
                <a:gd name="T15" fmla="*/ 323 h 591"/>
                <a:gd name="T16" fmla="*/ 693 w 1155"/>
                <a:gd name="T17" fmla="*/ 357 h 591"/>
                <a:gd name="T18" fmla="*/ 847 w 1155"/>
                <a:gd name="T19" fmla="*/ 351 h 591"/>
                <a:gd name="T20" fmla="*/ 996 w 1155"/>
                <a:gd name="T21" fmla="*/ 366 h 591"/>
                <a:gd name="T22" fmla="*/ 1118 w 1155"/>
                <a:gd name="T23" fmla="*/ 373 h 591"/>
                <a:gd name="T24" fmla="*/ 1149 w 1155"/>
                <a:gd name="T25" fmla="*/ 400 h 591"/>
                <a:gd name="T26" fmla="*/ 1154 w 1155"/>
                <a:gd name="T27" fmla="*/ 441 h 591"/>
                <a:gd name="T28" fmla="*/ 1131 w 1155"/>
                <a:gd name="T29" fmla="*/ 475 h 591"/>
                <a:gd name="T30" fmla="*/ 1066 w 1155"/>
                <a:gd name="T31" fmla="*/ 482 h 591"/>
                <a:gd name="T32" fmla="*/ 957 w 1155"/>
                <a:gd name="T33" fmla="*/ 467 h 591"/>
                <a:gd name="T34" fmla="*/ 843 w 1155"/>
                <a:gd name="T35" fmla="*/ 452 h 591"/>
                <a:gd name="T36" fmla="*/ 738 w 1155"/>
                <a:gd name="T37" fmla="*/ 461 h 591"/>
                <a:gd name="T38" fmla="*/ 679 w 1155"/>
                <a:gd name="T39" fmla="*/ 486 h 591"/>
                <a:gd name="T40" fmla="*/ 636 w 1155"/>
                <a:gd name="T41" fmla="*/ 492 h 591"/>
                <a:gd name="T42" fmla="*/ 603 w 1155"/>
                <a:gd name="T43" fmla="*/ 477 h 591"/>
                <a:gd name="T44" fmla="*/ 576 w 1155"/>
                <a:gd name="T45" fmla="*/ 454 h 591"/>
                <a:gd name="T46" fmla="*/ 571 w 1155"/>
                <a:gd name="T47" fmla="*/ 407 h 591"/>
                <a:gd name="T48" fmla="*/ 537 w 1155"/>
                <a:gd name="T49" fmla="*/ 457 h 591"/>
                <a:gd name="T50" fmla="*/ 495 w 1155"/>
                <a:gd name="T51" fmla="*/ 471 h 591"/>
                <a:gd name="T52" fmla="*/ 455 w 1155"/>
                <a:gd name="T53" fmla="*/ 456 h 591"/>
                <a:gd name="T54" fmla="*/ 439 w 1155"/>
                <a:gd name="T55" fmla="*/ 419 h 591"/>
                <a:gd name="T56" fmla="*/ 450 w 1155"/>
                <a:gd name="T57" fmla="*/ 390 h 591"/>
                <a:gd name="T58" fmla="*/ 458 w 1155"/>
                <a:gd name="T59" fmla="*/ 369 h 591"/>
                <a:gd name="T60" fmla="*/ 422 w 1155"/>
                <a:gd name="T61" fmla="*/ 404 h 591"/>
                <a:gd name="T62" fmla="*/ 379 w 1155"/>
                <a:gd name="T63" fmla="*/ 428 h 591"/>
                <a:gd name="T64" fmla="*/ 335 w 1155"/>
                <a:gd name="T65" fmla="*/ 417 h 591"/>
                <a:gd name="T66" fmla="*/ 314 w 1155"/>
                <a:gd name="T67" fmla="*/ 379 h 591"/>
                <a:gd name="T68" fmla="*/ 364 w 1155"/>
                <a:gd name="T69" fmla="*/ 288 h 591"/>
                <a:gd name="T70" fmla="*/ 252 w 1155"/>
                <a:gd name="T71" fmla="*/ 393 h 591"/>
                <a:gd name="T72" fmla="*/ 96 w 1155"/>
                <a:gd name="T73" fmla="*/ 581 h 591"/>
                <a:gd name="T74" fmla="*/ 49 w 1155"/>
                <a:gd name="T75" fmla="*/ 590 h 591"/>
                <a:gd name="T76" fmla="*/ 9 w 1155"/>
                <a:gd name="T77" fmla="*/ 569 h 591"/>
                <a:gd name="T78" fmla="*/ 2 w 1155"/>
                <a:gd name="T79" fmla="*/ 527 h 591"/>
                <a:gd name="T80" fmla="*/ 138 w 1155"/>
                <a:gd name="T81" fmla="*/ 351 h 591"/>
                <a:gd name="T82" fmla="*/ 344 w 1155"/>
                <a:gd name="T83" fmla="*/ 123 h 591"/>
                <a:gd name="T84" fmla="*/ 398 w 1155"/>
                <a:gd name="T85" fmla="*/ 70 h 591"/>
                <a:gd name="T86" fmla="*/ 462 w 1155"/>
                <a:gd name="T87" fmla="*/ 20 h 591"/>
                <a:gd name="T88" fmla="*/ 534 w 1155"/>
                <a:gd name="T89" fmla="*/ 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55" h="591">
                  <a:moveTo>
                    <a:pt x="534" y="0"/>
                  </a:moveTo>
                  <a:lnTo>
                    <a:pt x="545" y="2"/>
                  </a:lnTo>
                  <a:lnTo>
                    <a:pt x="557" y="5"/>
                  </a:lnTo>
                  <a:lnTo>
                    <a:pt x="567" y="10"/>
                  </a:lnTo>
                  <a:lnTo>
                    <a:pt x="576" y="18"/>
                  </a:lnTo>
                  <a:lnTo>
                    <a:pt x="583" y="28"/>
                  </a:lnTo>
                  <a:lnTo>
                    <a:pt x="591" y="54"/>
                  </a:lnTo>
                  <a:lnTo>
                    <a:pt x="593" y="82"/>
                  </a:lnTo>
                  <a:lnTo>
                    <a:pt x="591" y="111"/>
                  </a:lnTo>
                  <a:lnTo>
                    <a:pt x="584" y="140"/>
                  </a:lnTo>
                  <a:lnTo>
                    <a:pt x="573" y="170"/>
                  </a:lnTo>
                  <a:lnTo>
                    <a:pt x="560" y="199"/>
                  </a:lnTo>
                  <a:lnTo>
                    <a:pt x="543" y="230"/>
                  </a:lnTo>
                  <a:lnTo>
                    <a:pt x="557" y="235"/>
                  </a:lnTo>
                  <a:lnTo>
                    <a:pt x="569" y="242"/>
                  </a:lnTo>
                  <a:lnTo>
                    <a:pt x="579" y="254"/>
                  </a:lnTo>
                  <a:lnTo>
                    <a:pt x="583" y="263"/>
                  </a:lnTo>
                  <a:lnTo>
                    <a:pt x="587" y="270"/>
                  </a:lnTo>
                  <a:lnTo>
                    <a:pt x="604" y="269"/>
                  </a:lnTo>
                  <a:lnTo>
                    <a:pt x="620" y="272"/>
                  </a:lnTo>
                  <a:lnTo>
                    <a:pt x="637" y="278"/>
                  </a:lnTo>
                  <a:lnTo>
                    <a:pt x="653" y="289"/>
                  </a:lnTo>
                  <a:lnTo>
                    <a:pt x="668" y="303"/>
                  </a:lnTo>
                  <a:lnTo>
                    <a:pt x="681" y="323"/>
                  </a:lnTo>
                  <a:lnTo>
                    <a:pt x="689" y="338"/>
                  </a:lnTo>
                  <a:lnTo>
                    <a:pt x="692" y="349"/>
                  </a:lnTo>
                  <a:lnTo>
                    <a:pt x="693" y="357"/>
                  </a:lnTo>
                  <a:lnTo>
                    <a:pt x="746" y="351"/>
                  </a:lnTo>
                  <a:lnTo>
                    <a:pt x="797" y="350"/>
                  </a:lnTo>
                  <a:lnTo>
                    <a:pt x="847" y="351"/>
                  </a:lnTo>
                  <a:lnTo>
                    <a:pt x="897" y="355"/>
                  </a:lnTo>
                  <a:lnTo>
                    <a:pt x="946" y="361"/>
                  </a:lnTo>
                  <a:lnTo>
                    <a:pt x="996" y="366"/>
                  </a:lnTo>
                  <a:lnTo>
                    <a:pt x="1048" y="369"/>
                  </a:lnTo>
                  <a:lnTo>
                    <a:pt x="1101" y="371"/>
                  </a:lnTo>
                  <a:lnTo>
                    <a:pt x="1118" y="373"/>
                  </a:lnTo>
                  <a:lnTo>
                    <a:pt x="1131" y="379"/>
                  </a:lnTo>
                  <a:lnTo>
                    <a:pt x="1142" y="389"/>
                  </a:lnTo>
                  <a:lnTo>
                    <a:pt x="1149" y="400"/>
                  </a:lnTo>
                  <a:lnTo>
                    <a:pt x="1154" y="413"/>
                  </a:lnTo>
                  <a:lnTo>
                    <a:pt x="1155" y="427"/>
                  </a:lnTo>
                  <a:lnTo>
                    <a:pt x="1154" y="441"/>
                  </a:lnTo>
                  <a:lnTo>
                    <a:pt x="1149" y="454"/>
                  </a:lnTo>
                  <a:lnTo>
                    <a:pt x="1142" y="466"/>
                  </a:lnTo>
                  <a:lnTo>
                    <a:pt x="1131" y="475"/>
                  </a:lnTo>
                  <a:lnTo>
                    <a:pt x="1118" y="481"/>
                  </a:lnTo>
                  <a:lnTo>
                    <a:pt x="1101" y="483"/>
                  </a:lnTo>
                  <a:lnTo>
                    <a:pt x="1066" y="482"/>
                  </a:lnTo>
                  <a:lnTo>
                    <a:pt x="1031" y="478"/>
                  </a:lnTo>
                  <a:lnTo>
                    <a:pt x="993" y="473"/>
                  </a:lnTo>
                  <a:lnTo>
                    <a:pt x="957" y="467"/>
                  </a:lnTo>
                  <a:lnTo>
                    <a:pt x="919" y="460"/>
                  </a:lnTo>
                  <a:lnTo>
                    <a:pt x="881" y="455"/>
                  </a:lnTo>
                  <a:lnTo>
                    <a:pt x="843" y="452"/>
                  </a:lnTo>
                  <a:lnTo>
                    <a:pt x="807" y="451"/>
                  </a:lnTo>
                  <a:lnTo>
                    <a:pt x="771" y="454"/>
                  </a:lnTo>
                  <a:lnTo>
                    <a:pt x="738" y="461"/>
                  </a:lnTo>
                  <a:lnTo>
                    <a:pt x="705" y="474"/>
                  </a:lnTo>
                  <a:lnTo>
                    <a:pt x="693" y="480"/>
                  </a:lnTo>
                  <a:lnTo>
                    <a:pt x="679" y="486"/>
                  </a:lnTo>
                  <a:lnTo>
                    <a:pt x="664" y="492"/>
                  </a:lnTo>
                  <a:lnTo>
                    <a:pt x="651" y="494"/>
                  </a:lnTo>
                  <a:lnTo>
                    <a:pt x="636" y="492"/>
                  </a:lnTo>
                  <a:lnTo>
                    <a:pt x="626" y="487"/>
                  </a:lnTo>
                  <a:lnTo>
                    <a:pt x="614" y="482"/>
                  </a:lnTo>
                  <a:lnTo>
                    <a:pt x="603" y="477"/>
                  </a:lnTo>
                  <a:lnTo>
                    <a:pt x="592" y="471"/>
                  </a:lnTo>
                  <a:lnTo>
                    <a:pt x="584" y="464"/>
                  </a:lnTo>
                  <a:lnTo>
                    <a:pt x="576" y="454"/>
                  </a:lnTo>
                  <a:lnTo>
                    <a:pt x="572" y="442"/>
                  </a:lnTo>
                  <a:lnTo>
                    <a:pt x="571" y="423"/>
                  </a:lnTo>
                  <a:lnTo>
                    <a:pt x="571" y="407"/>
                  </a:lnTo>
                  <a:lnTo>
                    <a:pt x="560" y="427"/>
                  </a:lnTo>
                  <a:lnTo>
                    <a:pt x="547" y="446"/>
                  </a:lnTo>
                  <a:lnTo>
                    <a:pt x="537" y="457"/>
                  </a:lnTo>
                  <a:lnTo>
                    <a:pt x="524" y="466"/>
                  </a:lnTo>
                  <a:lnTo>
                    <a:pt x="509" y="470"/>
                  </a:lnTo>
                  <a:lnTo>
                    <a:pt x="495" y="471"/>
                  </a:lnTo>
                  <a:lnTo>
                    <a:pt x="480" y="469"/>
                  </a:lnTo>
                  <a:lnTo>
                    <a:pt x="467" y="464"/>
                  </a:lnTo>
                  <a:lnTo>
                    <a:pt x="455" y="456"/>
                  </a:lnTo>
                  <a:lnTo>
                    <a:pt x="446" y="446"/>
                  </a:lnTo>
                  <a:lnTo>
                    <a:pt x="440" y="433"/>
                  </a:lnTo>
                  <a:lnTo>
                    <a:pt x="439" y="419"/>
                  </a:lnTo>
                  <a:lnTo>
                    <a:pt x="444" y="402"/>
                  </a:lnTo>
                  <a:lnTo>
                    <a:pt x="447" y="396"/>
                  </a:lnTo>
                  <a:lnTo>
                    <a:pt x="450" y="390"/>
                  </a:lnTo>
                  <a:lnTo>
                    <a:pt x="450" y="390"/>
                  </a:lnTo>
                  <a:lnTo>
                    <a:pt x="449" y="390"/>
                  </a:lnTo>
                  <a:lnTo>
                    <a:pt x="458" y="369"/>
                  </a:lnTo>
                  <a:lnTo>
                    <a:pt x="445" y="378"/>
                  </a:lnTo>
                  <a:lnTo>
                    <a:pt x="432" y="390"/>
                  </a:lnTo>
                  <a:lnTo>
                    <a:pt x="422" y="404"/>
                  </a:lnTo>
                  <a:lnTo>
                    <a:pt x="409" y="417"/>
                  </a:lnTo>
                  <a:lnTo>
                    <a:pt x="394" y="425"/>
                  </a:lnTo>
                  <a:lnTo>
                    <a:pt x="379" y="428"/>
                  </a:lnTo>
                  <a:lnTo>
                    <a:pt x="363" y="428"/>
                  </a:lnTo>
                  <a:lnTo>
                    <a:pt x="348" y="424"/>
                  </a:lnTo>
                  <a:lnTo>
                    <a:pt x="335" y="417"/>
                  </a:lnTo>
                  <a:lnTo>
                    <a:pt x="324" y="406"/>
                  </a:lnTo>
                  <a:lnTo>
                    <a:pt x="317" y="394"/>
                  </a:lnTo>
                  <a:lnTo>
                    <a:pt x="314" y="379"/>
                  </a:lnTo>
                  <a:lnTo>
                    <a:pt x="316" y="364"/>
                  </a:lnTo>
                  <a:lnTo>
                    <a:pt x="323" y="347"/>
                  </a:lnTo>
                  <a:lnTo>
                    <a:pt x="364" y="288"/>
                  </a:lnTo>
                  <a:lnTo>
                    <a:pt x="404" y="226"/>
                  </a:lnTo>
                  <a:lnTo>
                    <a:pt x="326" y="309"/>
                  </a:lnTo>
                  <a:lnTo>
                    <a:pt x="252" y="393"/>
                  </a:lnTo>
                  <a:lnTo>
                    <a:pt x="179" y="480"/>
                  </a:lnTo>
                  <a:lnTo>
                    <a:pt x="108" y="569"/>
                  </a:lnTo>
                  <a:lnTo>
                    <a:pt x="96" y="581"/>
                  </a:lnTo>
                  <a:lnTo>
                    <a:pt x="80" y="588"/>
                  </a:lnTo>
                  <a:lnTo>
                    <a:pt x="65" y="591"/>
                  </a:lnTo>
                  <a:lnTo>
                    <a:pt x="49" y="590"/>
                  </a:lnTo>
                  <a:lnTo>
                    <a:pt x="33" y="586"/>
                  </a:lnTo>
                  <a:lnTo>
                    <a:pt x="21" y="579"/>
                  </a:lnTo>
                  <a:lnTo>
                    <a:pt x="9" y="569"/>
                  </a:lnTo>
                  <a:lnTo>
                    <a:pt x="2" y="556"/>
                  </a:lnTo>
                  <a:lnTo>
                    <a:pt x="0" y="542"/>
                  </a:lnTo>
                  <a:lnTo>
                    <a:pt x="2" y="527"/>
                  </a:lnTo>
                  <a:lnTo>
                    <a:pt x="11" y="511"/>
                  </a:lnTo>
                  <a:lnTo>
                    <a:pt x="74" y="431"/>
                  </a:lnTo>
                  <a:lnTo>
                    <a:pt x="138" y="351"/>
                  </a:lnTo>
                  <a:lnTo>
                    <a:pt x="204" y="273"/>
                  </a:lnTo>
                  <a:lnTo>
                    <a:pt x="273" y="196"/>
                  </a:lnTo>
                  <a:lnTo>
                    <a:pt x="344" y="123"/>
                  </a:lnTo>
                  <a:lnTo>
                    <a:pt x="361" y="107"/>
                  </a:lnTo>
                  <a:lnTo>
                    <a:pt x="380" y="89"/>
                  </a:lnTo>
                  <a:lnTo>
                    <a:pt x="398" y="70"/>
                  </a:lnTo>
                  <a:lnTo>
                    <a:pt x="418" y="52"/>
                  </a:lnTo>
                  <a:lnTo>
                    <a:pt x="439" y="35"/>
                  </a:lnTo>
                  <a:lnTo>
                    <a:pt x="462" y="20"/>
                  </a:lnTo>
                  <a:lnTo>
                    <a:pt x="485" y="9"/>
                  </a:lnTo>
                  <a:lnTo>
                    <a:pt x="509" y="2"/>
                  </a:lnTo>
                  <a:lnTo>
                    <a:pt x="5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1" name="Group 31"/>
          <p:cNvGrpSpPr>
            <a:grpSpLocks noChangeAspect="1"/>
          </p:cNvGrpSpPr>
          <p:nvPr/>
        </p:nvGrpSpPr>
        <p:grpSpPr bwMode="auto">
          <a:xfrm>
            <a:off x="10945605" y="2588278"/>
            <a:ext cx="386108" cy="525710"/>
            <a:chOff x="-395" y="1802"/>
            <a:chExt cx="614" cy="836"/>
          </a:xfrm>
          <a:solidFill>
            <a:srgbClr val="26867C"/>
          </a:solidFill>
        </p:grpSpPr>
        <p:sp>
          <p:nvSpPr>
            <p:cNvPr id="74" name="Freeform 33"/>
            <p:cNvSpPr>
              <a:spLocks/>
            </p:cNvSpPr>
            <p:nvPr/>
          </p:nvSpPr>
          <p:spPr bwMode="auto">
            <a:xfrm>
              <a:off x="-121" y="1981"/>
              <a:ext cx="340" cy="657"/>
            </a:xfrm>
            <a:custGeom>
              <a:avLst/>
              <a:gdLst>
                <a:gd name="T0" fmla="*/ 1121 w 1360"/>
                <a:gd name="T1" fmla="*/ 3 h 2628"/>
                <a:gd name="T2" fmla="*/ 1232 w 1360"/>
                <a:gd name="T3" fmla="*/ 45 h 2628"/>
                <a:gd name="T4" fmla="*/ 1315 w 1360"/>
                <a:gd name="T5" fmla="*/ 127 h 2628"/>
                <a:gd name="T6" fmla="*/ 1357 w 1360"/>
                <a:gd name="T7" fmla="*/ 239 h 2628"/>
                <a:gd name="T8" fmla="*/ 1360 w 1360"/>
                <a:gd name="T9" fmla="*/ 427 h 2628"/>
                <a:gd name="T10" fmla="*/ 1360 w 1360"/>
                <a:gd name="T11" fmla="*/ 668 h 2628"/>
                <a:gd name="T12" fmla="*/ 1360 w 1360"/>
                <a:gd name="T13" fmla="*/ 925 h 2628"/>
                <a:gd name="T14" fmla="*/ 1360 w 1360"/>
                <a:gd name="T15" fmla="*/ 1189 h 2628"/>
                <a:gd name="T16" fmla="*/ 1360 w 1360"/>
                <a:gd name="T17" fmla="*/ 1451 h 2628"/>
                <a:gd name="T18" fmla="*/ 1360 w 1360"/>
                <a:gd name="T19" fmla="*/ 1700 h 2628"/>
                <a:gd name="T20" fmla="*/ 1359 w 1360"/>
                <a:gd name="T21" fmla="*/ 1930 h 2628"/>
                <a:gd name="T22" fmla="*/ 1359 w 1360"/>
                <a:gd name="T23" fmla="*/ 2130 h 2628"/>
                <a:gd name="T24" fmla="*/ 1359 w 1360"/>
                <a:gd name="T25" fmla="*/ 2290 h 2628"/>
                <a:gd name="T26" fmla="*/ 1359 w 1360"/>
                <a:gd name="T27" fmla="*/ 2402 h 2628"/>
                <a:gd name="T28" fmla="*/ 1359 w 1360"/>
                <a:gd name="T29" fmla="*/ 2456 h 2628"/>
                <a:gd name="T30" fmla="*/ 1349 w 1360"/>
                <a:gd name="T31" fmla="*/ 2519 h 2628"/>
                <a:gd name="T32" fmla="*/ 1299 w 1360"/>
                <a:gd name="T33" fmla="*/ 2588 h 2628"/>
                <a:gd name="T34" fmla="*/ 1222 w 1360"/>
                <a:gd name="T35" fmla="*/ 2625 h 2628"/>
                <a:gd name="T36" fmla="*/ 1133 w 1360"/>
                <a:gd name="T37" fmla="*/ 2617 h 2628"/>
                <a:gd name="T38" fmla="*/ 1064 w 1360"/>
                <a:gd name="T39" fmla="*/ 2568 h 2628"/>
                <a:gd name="T40" fmla="*/ 1027 w 1360"/>
                <a:gd name="T41" fmla="*/ 2491 h 2628"/>
                <a:gd name="T42" fmla="*/ 912 w 1360"/>
                <a:gd name="T43" fmla="*/ 1463 h 2628"/>
                <a:gd name="T44" fmla="*/ 921 w 1360"/>
                <a:gd name="T45" fmla="*/ 2530 h 2628"/>
                <a:gd name="T46" fmla="*/ 925 w 1360"/>
                <a:gd name="T47" fmla="*/ 2608 h 2628"/>
                <a:gd name="T48" fmla="*/ 846 w 1360"/>
                <a:gd name="T49" fmla="*/ 2628 h 2628"/>
                <a:gd name="T50" fmla="*/ 761 w 1360"/>
                <a:gd name="T51" fmla="*/ 2604 h 2628"/>
                <a:gd name="T52" fmla="*/ 701 w 1360"/>
                <a:gd name="T53" fmla="*/ 2544 h 2628"/>
                <a:gd name="T54" fmla="*/ 679 w 1360"/>
                <a:gd name="T55" fmla="*/ 2460 h 2628"/>
                <a:gd name="T56" fmla="*/ 748 w 1360"/>
                <a:gd name="T57" fmla="*/ 795 h 2628"/>
                <a:gd name="T58" fmla="*/ 793 w 1360"/>
                <a:gd name="T59" fmla="*/ 763 h 2628"/>
                <a:gd name="T60" fmla="*/ 1223 w 1360"/>
                <a:gd name="T61" fmla="*/ 253 h 2628"/>
                <a:gd name="T62" fmla="*/ 736 w 1360"/>
                <a:gd name="T63" fmla="*/ 701 h 2628"/>
                <a:gd name="T64" fmla="*/ 193 w 1360"/>
                <a:gd name="T65" fmla="*/ 941 h 2628"/>
                <a:gd name="T66" fmla="*/ 116 w 1360"/>
                <a:gd name="T67" fmla="*/ 950 h 2628"/>
                <a:gd name="T68" fmla="*/ 54 w 1360"/>
                <a:gd name="T69" fmla="*/ 922 h 2628"/>
                <a:gd name="T70" fmla="*/ 11 w 1360"/>
                <a:gd name="T71" fmla="*/ 866 h 2628"/>
                <a:gd name="T72" fmla="*/ 1 w 1360"/>
                <a:gd name="T73" fmla="*/ 794 h 2628"/>
                <a:gd name="T74" fmla="*/ 27 w 1360"/>
                <a:gd name="T75" fmla="*/ 729 h 2628"/>
                <a:gd name="T76" fmla="*/ 84 w 1360"/>
                <a:gd name="T77" fmla="*/ 684 h 2628"/>
                <a:gd name="T78" fmla="*/ 1034 w 1360"/>
                <a:gd name="T79" fmla="*/ 49 h 2628"/>
                <a:gd name="T80" fmla="*/ 678 w 1360"/>
                <a:gd name="T81" fmla="*/ 281 h 2628"/>
                <a:gd name="T82" fmla="*/ 704 w 1360"/>
                <a:gd name="T83" fmla="*/ 162 h 2628"/>
                <a:gd name="T84" fmla="*/ 775 w 1360"/>
                <a:gd name="T85" fmla="*/ 68 h 2628"/>
                <a:gd name="T86" fmla="*/ 878 w 1360"/>
                <a:gd name="T87" fmla="*/ 11 h 2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60" h="2628">
                  <a:moveTo>
                    <a:pt x="959" y="0"/>
                  </a:moveTo>
                  <a:lnTo>
                    <a:pt x="1079" y="0"/>
                  </a:lnTo>
                  <a:lnTo>
                    <a:pt x="1121" y="3"/>
                  </a:lnTo>
                  <a:lnTo>
                    <a:pt x="1160" y="11"/>
                  </a:lnTo>
                  <a:lnTo>
                    <a:pt x="1198" y="25"/>
                  </a:lnTo>
                  <a:lnTo>
                    <a:pt x="1232" y="45"/>
                  </a:lnTo>
                  <a:lnTo>
                    <a:pt x="1263" y="68"/>
                  </a:lnTo>
                  <a:lnTo>
                    <a:pt x="1291" y="97"/>
                  </a:lnTo>
                  <a:lnTo>
                    <a:pt x="1315" y="127"/>
                  </a:lnTo>
                  <a:lnTo>
                    <a:pt x="1335" y="162"/>
                  </a:lnTo>
                  <a:lnTo>
                    <a:pt x="1348" y="199"/>
                  </a:lnTo>
                  <a:lnTo>
                    <a:pt x="1357" y="239"/>
                  </a:lnTo>
                  <a:lnTo>
                    <a:pt x="1360" y="281"/>
                  </a:lnTo>
                  <a:lnTo>
                    <a:pt x="1360" y="353"/>
                  </a:lnTo>
                  <a:lnTo>
                    <a:pt x="1360" y="427"/>
                  </a:lnTo>
                  <a:lnTo>
                    <a:pt x="1360" y="505"/>
                  </a:lnTo>
                  <a:lnTo>
                    <a:pt x="1360" y="586"/>
                  </a:lnTo>
                  <a:lnTo>
                    <a:pt x="1360" y="668"/>
                  </a:lnTo>
                  <a:lnTo>
                    <a:pt x="1360" y="753"/>
                  </a:lnTo>
                  <a:lnTo>
                    <a:pt x="1360" y="839"/>
                  </a:lnTo>
                  <a:lnTo>
                    <a:pt x="1360" y="925"/>
                  </a:lnTo>
                  <a:lnTo>
                    <a:pt x="1360" y="1013"/>
                  </a:lnTo>
                  <a:lnTo>
                    <a:pt x="1360" y="1101"/>
                  </a:lnTo>
                  <a:lnTo>
                    <a:pt x="1360" y="1189"/>
                  </a:lnTo>
                  <a:lnTo>
                    <a:pt x="1360" y="1277"/>
                  </a:lnTo>
                  <a:lnTo>
                    <a:pt x="1360" y="1365"/>
                  </a:lnTo>
                  <a:lnTo>
                    <a:pt x="1360" y="1451"/>
                  </a:lnTo>
                  <a:lnTo>
                    <a:pt x="1360" y="1536"/>
                  </a:lnTo>
                  <a:lnTo>
                    <a:pt x="1360" y="1619"/>
                  </a:lnTo>
                  <a:lnTo>
                    <a:pt x="1360" y="1700"/>
                  </a:lnTo>
                  <a:lnTo>
                    <a:pt x="1359" y="1780"/>
                  </a:lnTo>
                  <a:lnTo>
                    <a:pt x="1359" y="1857"/>
                  </a:lnTo>
                  <a:lnTo>
                    <a:pt x="1359" y="1930"/>
                  </a:lnTo>
                  <a:lnTo>
                    <a:pt x="1359" y="2000"/>
                  </a:lnTo>
                  <a:lnTo>
                    <a:pt x="1359" y="2066"/>
                  </a:lnTo>
                  <a:lnTo>
                    <a:pt x="1359" y="2130"/>
                  </a:lnTo>
                  <a:lnTo>
                    <a:pt x="1359" y="2188"/>
                  </a:lnTo>
                  <a:lnTo>
                    <a:pt x="1359" y="2241"/>
                  </a:lnTo>
                  <a:lnTo>
                    <a:pt x="1359" y="2290"/>
                  </a:lnTo>
                  <a:lnTo>
                    <a:pt x="1359" y="2333"/>
                  </a:lnTo>
                  <a:lnTo>
                    <a:pt x="1359" y="2371"/>
                  </a:lnTo>
                  <a:lnTo>
                    <a:pt x="1359" y="2402"/>
                  </a:lnTo>
                  <a:lnTo>
                    <a:pt x="1359" y="2427"/>
                  </a:lnTo>
                  <a:lnTo>
                    <a:pt x="1359" y="2445"/>
                  </a:lnTo>
                  <a:lnTo>
                    <a:pt x="1359" y="2456"/>
                  </a:lnTo>
                  <a:lnTo>
                    <a:pt x="1359" y="2460"/>
                  </a:lnTo>
                  <a:lnTo>
                    <a:pt x="1356" y="2491"/>
                  </a:lnTo>
                  <a:lnTo>
                    <a:pt x="1349" y="2519"/>
                  </a:lnTo>
                  <a:lnTo>
                    <a:pt x="1336" y="2544"/>
                  </a:lnTo>
                  <a:lnTo>
                    <a:pt x="1319" y="2568"/>
                  </a:lnTo>
                  <a:lnTo>
                    <a:pt x="1299" y="2588"/>
                  </a:lnTo>
                  <a:lnTo>
                    <a:pt x="1275" y="2604"/>
                  </a:lnTo>
                  <a:lnTo>
                    <a:pt x="1250" y="2617"/>
                  </a:lnTo>
                  <a:lnTo>
                    <a:pt x="1222" y="2625"/>
                  </a:lnTo>
                  <a:lnTo>
                    <a:pt x="1191" y="2628"/>
                  </a:lnTo>
                  <a:lnTo>
                    <a:pt x="1161" y="2625"/>
                  </a:lnTo>
                  <a:lnTo>
                    <a:pt x="1133" y="2617"/>
                  </a:lnTo>
                  <a:lnTo>
                    <a:pt x="1106" y="2604"/>
                  </a:lnTo>
                  <a:lnTo>
                    <a:pt x="1083" y="2588"/>
                  </a:lnTo>
                  <a:lnTo>
                    <a:pt x="1064" y="2568"/>
                  </a:lnTo>
                  <a:lnTo>
                    <a:pt x="1046" y="2544"/>
                  </a:lnTo>
                  <a:lnTo>
                    <a:pt x="1034" y="2519"/>
                  </a:lnTo>
                  <a:lnTo>
                    <a:pt x="1027" y="2491"/>
                  </a:lnTo>
                  <a:lnTo>
                    <a:pt x="1024" y="2460"/>
                  </a:lnTo>
                  <a:lnTo>
                    <a:pt x="1024" y="1463"/>
                  </a:lnTo>
                  <a:lnTo>
                    <a:pt x="912" y="1463"/>
                  </a:lnTo>
                  <a:lnTo>
                    <a:pt x="912" y="2460"/>
                  </a:lnTo>
                  <a:lnTo>
                    <a:pt x="915" y="2496"/>
                  </a:lnTo>
                  <a:lnTo>
                    <a:pt x="921" y="2530"/>
                  </a:lnTo>
                  <a:lnTo>
                    <a:pt x="932" y="2562"/>
                  </a:lnTo>
                  <a:lnTo>
                    <a:pt x="947" y="2592"/>
                  </a:lnTo>
                  <a:lnTo>
                    <a:pt x="925" y="2608"/>
                  </a:lnTo>
                  <a:lnTo>
                    <a:pt x="901" y="2619"/>
                  </a:lnTo>
                  <a:lnTo>
                    <a:pt x="874" y="2625"/>
                  </a:lnTo>
                  <a:lnTo>
                    <a:pt x="846" y="2628"/>
                  </a:lnTo>
                  <a:lnTo>
                    <a:pt x="816" y="2625"/>
                  </a:lnTo>
                  <a:lnTo>
                    <a:pt x="788" y="2617"/>
                  </a:lnTo>
                  <a:lnTo>
                    <a:pt x="761" y="2604"/>
                  </a:lnTo>
                  <a:lnTo>
                    <a:pt x="738" y="2588"/>
                  </a:lnTo>
                  <a:lnTo>
                    <a:pt x="717" y="2568"/>
                  </a:lnTo>
                  <a:lnTo>
                    <a:pt x="701" y="2544"/>
                  </a:lnTo>
                  <a:lnTo>
                    <a:pt x="689" y="2519"/>
                  </a:lnTo>
                  <a:lnTo>
                    <a:pt x="681" y="2491"/>
                  </a:lnTo>
                  <a:lnTo>
                    <a:pt x="679" y="2460"/>
                  </a:lnTo>
                  <a:lnTo>
                    <a:pt x="678" y="826"/>
                  </a:lnTo>
                  <a:lnTo>
                    <a:pt x="729" y="803"/>
                  </a:lnTo>
                  <a:lnTo>
                    <a:pt x="748" y="795"/>
                  </a:lnTo>
                  <a:lnTo>
                    <a:pt x="764" y="787"/>
                  </a:lnTo>
                  <a:lnTo>
                    <a:pt x="780" y="776"/>
                  </a:lnTo>
                  <a:lnTo>
                    <a:pt x="793" y="763"/>
                  </a:lnTo>
                  <a:lnTo>
                    <a:pt x="1222" y="255"/>
                  </a:lnTo>
                  <a:lnTo>
                    <a:pt x="1223" y="254"/>
                  </a:lnTo>
                  <a:lnTo>
                    <a:pt x="1223" y="253"/>
                  </a:lnTo>
                  <a:lnTo>
                    <a:pt x="1223" y="254"/>
                  </a:lnTo>
                  <a:lnTo>
                    <a:pt x="1222" y="254"/>
                  </a:lnTo>
                  <a:lnTo>
                    <a:pt x="736" y="701"/>
                  </a:lnTo>
                  <a:lnTo>
                    <a:pt x="717" y="716"/>
                  </a:lnTo>
                  <a:lnTo>
                    <a:pt x="696" y="727"/>
                  </a:lnTo>
                  <a:lnTo>
                    <a:pt x="193" y="941"/>
                  </a:lnTo>
                  <a:lnTo>
                    <a:pt x="167" y="949"/>
                  </a:lnTo>
                  <a:lnTo>
                    <a:pt x="139" y="952"/>
                  </a:lnTo>
                  <a:lnTo>
                    <a:pt x="116" y="950"/>
                  </a:lnTo>
                  <a:lnTo>
                    <a:pt x="93" y="944"/>
                  </a:lnTo>
                  <a:lnTo>
                    <a:pt x="73" y="935"/>
                  </a:lnTo>
                  <a:lnTo>
                    <a:pt x="54" y="922"/>
                  </a:lnTo>
                  <a:lnTo>
                    <a:pt x="36" y="907"/>
                  </a:lnTo>
                  <a:lnTo>
                    <a:pt x="22" y="888"/>
                  </a:lnTo>
                  <a:lnTo>
                    <a:pt x="11" y="866"/>
                  </a:lnTo>
                  <a:lnTo>
                    <a:pt x="3" y="843"/>
                  </a:lnTo>
                  <a:lnTo>
                    <a:pt x="0" y="819"/>
                  </a:lnTo>
                  <a:lnTo>
                    <a:pt x="1" y="794"/>
                  </a:lnTo>
                  <a:lnTo>
                    <a:pt x="6" y="771"/>
                  </a:lnTo>
                  <a:lnTo>
                    <a:pt x="14" y="750"/>
                  </a:lnTo>
                  <a:lnTo>
                    <a:pt x="27" y="729"/>
                  </a:lnTo>
                  <a:lnTo>
                    <a:pt x="42" y="711"/>
                  </a:lnTo>
                  <a:lnTo>
                    <a:pt x="62" y="696"/>
                  </a:lnTo>
                  <a:lnTo>
                    <a:pt x="84" y="684"/>
                  </a:lnTo>
                  <a:lnTo>
                    <a:pt x="565" y="480"/>
                  </a:lnTo>
                  <a:lnTo>
                    <a:pt x="1033" y="50"/>
                  </a:lnTo>
                  <a:lnTo>
                    <a:pt x="1034" y="49"/>
                  </a:lnTo>
                  <a:lnTo>
                    <a:pt x="1033" y="50"/>
                  </a:lnTo>
                  <a:lnTo>
                    <a:pt x="678" y="301"/>
                  </a:lnTo>
                  <a:lnTo>
                    <a:pt x="678" y="281"/>
                  </a:lnTo>
                  <a:lnTo>
                    <a:pt x="681" y="239"/>
                  </a:lnTo>
                  <a:lnTo>
                    <a:pt x="690" y="199"/>
                  </a:lnTo>
                  <a:lnTo>
                    <a:pt x="704" y="162"/>
                  </a:lnTo>
                  <a:lnTo>
                    <a:pt x="724" y="127"/>
                  </a:lnTo>
                  <a:lnTo>
                    <a:pt x="747" y="97"/>
                  </a:lnTo>
                  <a:lnTo>
                    <a:pt x="775" y="68"/>
                  </a:lnTo>
                  <a:lnTo>
                    <a:pt x="806" y="45"/>
                  </a:lnTo>
                  <a:lnTo>
                    <a:pt x="841" y="25"/>
                  </a:lnTo>
                  <a:lnTo>
                    <a:pt x="878" y="11"/>
                  </a:lnTo>
                  <a:lnTo>
                    <a:pt x="918" y="3"/>
                  </a:lnTo>
                  <a:lnTo>
                    <a:pt x="9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34"/>
            <p:cNvSpPr>
              <a:spLocks/>
            </p:cNvSpPr>
            <p:nvPr/>
          </p:nvSpPr>
          <p:spPr bwMode="auto">
            <a:xfrm>
              <a:off x="52" y="1802"/>
              <a:ext cx="163" cy="163"/>
            </a:xfrm>
            <a:custGeom>
              <a:avLst/>
              <a:gdLst>
                <a:gd name="T0" fmla="*/ 326 w 653"/>
                <a:gd name="T1" fmla="*/ 0 h 652"/>
                <a:gd name="T2" fmla="*/ 371 w 653"/>
                <a:gd name="T3" fmla="*/ 3 h 652"/>
                <a:gd name="T4" fmla="*/ 413 w 653"/>
                <a:gd name="T5" fmla="*/ 12 h 652"/>
                <a:gd name="T6" fmla="*/ 453 w 653"/>
                <a:gd name="T7" fmla="*/ 26 h 652"/>
                <a:gd name="T8" fmla="*/ 491 w 653"/>
                <a:gd name="T9" fmla="*/ 45 h 652"/>
                <a:gd name="T10" fmla="*/ 525 w 653"/>
                <a:gd name="T11" fmla="*/ 68 h 652"/>
                <a:gd name="T12" fmla="*/ 557 w 653"/>
                <a:gd name="T13" fmla="*/ 96 h 652"/>
                <a:gd name="T14" fmla="*/ 585 w 653"/>
                <a:gd name="T15" fmla="*/ 127 h 652"/>
                <a:gd name="T16" fmla="*/ 608 w 653"/>
                <a:gd name="T17" fmla="*/ 162 h 652"/>
                <a:gd name="T18" fmla="*/ 627 w 653"/>
                <a:gd name="T19" fmla="*/ 199 h 652"/>
                <a:gd name="T20" fmla="*/ 641 w 653"/>
                <a:gd name="T21" fmla="*/ 239 h 652"/>
                <a:gd name="T22" fmla="*/ 650 w 653"/>
                <a:gd name="T23" fmla="*/ 282 h 652"/>
                <a:gd name="T24" fmla="*/ 653 w 653"/>
                <a:gd name="T25" fmla="*/ 327 h 652"/>
                <a:gd name="T26" fmla="*/ 650 w 653"/>
                <a:gd name="T27" fmla="*/ 370 h 652"/>
                <a:gd name="T28" fmla="*/ 641 w 653"/>
                <a:gd name="T29" fmla="*/ 413 h 652"/>
                <a:gd name="T30" fmla="*/ 627 w 653"/>
                <a:gd name="T31" fmla="*/ 453 h 652"/>
                <a:gd name="T32" fmla="*/ 608 w 653"/>
                <a:gd name="T33" fmla="*/ 490 h 652"/>
                <a:gd name="T34" fmla="*/ 585 w 653"/>
                <a:gd name="T35" fmla="*/ 525 h 652"/>
                <a:gd name="T36" fmla="*/ 557 w 653"/>
                <a:gd name="T37" fmla="*/ 556 h 652"/>
                <a:gd name="T38" fmla="*/ 525 w 653"/>
                <a:gd name="T39" fmla="*/ 584 h 652"/>
                <a:gd name="T40" fmla="*/ 491 w 653"/>
                <a:gd name="T41" fmla="*/ 607 h 652"/>
                <a:gd name="T42" fmla="*/ 453 w 653"/>
                <a:gd name="T43" fmla="*/ 627 h 652"/>
                <a:gd name="T44" fmla="*/ 413 w 653"/>
                <a:gd name="T45" fmla="*/ 641 h 652"/>
                <a:gd name="T46" fmla="*/ 371 w 653"/>
                <a:gd name="T47" fmla="*/ 649 h 652"/>
                <a:gd name="T48" fmla="*/ 326 w 653"/>
                <a:gd name="T49" fmla="*/ 652 h 652"/>
                <a:gd name="T50" fmla="*/ 282 w 653"/>
                <a:gd name="T51" fmla="*/ 649 h 652"/>
                <a:gd name="T52" fmla="*/ 239 w 653"/>
                <a:gd name="T53" fmla="*/ 641 h 652"/>
                <a:gd name="T54" fmla="*/ 200 w 653"/>
                <a:gd name="T55" fmla="*/ 627 h 652"/>
                <a:gd name="T56" fmla="*/ 162 w 653"/>
                <a:gd name="T57" fmla="*/ 607 h 652"/>
                <a:gd name="T58" fmla="*/ 127 w 653"/>
                <a:gd name="T59" fmla="*/ 584 h 652"/>
                <a:gd name="T60" fmla="*/ 96 w 653"/>
                <a:gd name="T61" fmla="*/ 556 h 652"/>
                <a:gd name="T62" fmla="*/ 68 w 653"/>
                <a:gd name="T63" fmla="*/ 525 h 652"/>
                <a:gd name="T64" fmla="*/ 45 w 653"/>
                <a:gd name="T65" fmla="*/ 490 h 652"/>
                <a:gd name="T66" fmla="*/ 26 w 653"/>
                <a:gd name="T67" fmla="*/ 453 h 652"/>
                <a:gd name="T68" fmla="*/ 11 w 653"/>
                <a:gd name="T69" fmla="*/ 413 h 652"/>
                <a:gd name="T70" fmla="*/ 3 w 653"/>
                <a:gd name="T71" fmla="*/ 370 h 652"/>
                <a:gd name="T72" fmla="*/ 0 w 653"/>
                <a:gd name="T73" fmla="*/ 327 h 652"/>
                <a:gd name="T74" fmla="*/ 3 w 653"/>
                <a:gd name="T75" fmla="*/ 282 h 652"/>
                <a:gd name="T76" fmla="*/ 11 w 653"/>
                <a:gd name="T77" fmla="*/ 239 h 652"/>
                <a:gd name="T78" fmla="*/ 26 w 653"/>
                <a:gd name="T79" fmla="*/ 199 h 652"/>
                <a:gd name="T80" fmla="*/ 45 w 653"/>
                <a:gd name="T81" fmla="*/ 162 h 652"/>
                <a:gd name="T82" fmla="*/ 68 w 653"/>
                <a:gd name="T83" fmla="*/ 127 h 652"/>
                <a:gd name="T84" fmla="*/ 96 w 653"/>
                <a:gd name="T85" fmla="*/ 96 h 652"/>
                <a:gd name="T86" fmla="*/ 127 w 653"/>
                <a:gd name="T87" fmla="*/ 68 h 652"/>
                <a:gd name="T88" fmla="*/ 162 w 653"/>
                <a:gd name="T89" fmla="*/ 45 h 652"/>
                <a:gd name="T90" fmla="*/ 200 w 653"/>
                <a:gd name="T91" fmla="*/ 26 h 652"/>
                <a:gd name="T92" fmla="*/ 239 w 653"/>
                <a:gd name="T93" fmla="*/ 12 h 652"/>
                <a:gd name="T94" fmla="*/ 282 w 653"/>
                <a:gd name="T95" fmla="*/ 3 h 652"/>
                <a:gd name="T96" fmla="*/ 326 w 653"/>
                <a:gd name="T97" fmla="*/ 0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53" h="652">
                  <a:moveTo>
                    <a:pt x="326" y="0"/>
                  </a:moveTo>
                  <a:lnTo>
                    <a:pt x="371" y="3"/>
                  </a:lnTo>
                  <a:lnTo>
                    <a:pt x="413" y="12"/>
                  </a:lnTo>
                  <a:lnTo>
                    <a:pt x="453" y="26"/>
                  </a:lnTo>
                  <a:lnTo>
                    <a:pt x="491" y="45"/>
                  </a:lnTo>
                  <a:lnTo>
                    <a:pt x="525" y="68"/>
                  </a:lnTo>
                  <a:lnTo>
                    <a:pt x="557" y="96"/>
                  </a:lnTo>
                  <a:lnTo>
                    <a:pt x="585" y="127"/>
                  </a:lnTo>
                  <a:lnTo>
                    <a:pt x="608" y="162"/>
                  </a:lnTo>
                  <a:lnTo>
                    <a:pt x="627" y="199"/>
                  </a:lnTo>
                  <a:lnTo>
                    <a:pt x="641" y="239"/>
                  </a:lnTo>
                  <a:lnTo>
                    <a:pt x="650" y="282"/>
                  </a:lnTo>
                  <a:lnTo>
                    <a:pt x="653" y="327"/>
                  </a:lnTo>
                  <a:lnTo>
                    <a:pt x="650" y="370"/>
                  </a:lnTo>
                  <a:lnTo>
                    <a:pt x="641" y="413"/>
                  </a:lnTo>
                  <a:lnTo>
                    <a:pt x="627" y="453"/>
                  </a:lnTo>
                  <a:lnTo>
                    <a:pt x="608" y="490"/>
                  </a:lnTo>
                  <a:lnTo>
                    <a:pt x="585" y="525"/>
                  </a:lnTo>
                  <a:lnTo>
                    <a:pt x="557" y="556"/>
                  </a:lnTo>
                  <a:lnTo>
                    <a:pt x="525" y="584"/>
                  </a:lnTo>
                  <a:lnTo>
                    <a:pt x="491" y="607"/>
                  </a:lnTo>
                  <a:lnTo>
                    <a:pt x="453" y="627"/>
                  </a:lnTo>
                  <a:lnTo>
                    <a:pt x="413" y="641"/>
                  </a:lnTo>
                  <a:lnTo>
                    <a:pt x="371" y="649"/>
                  </a:lnTo>
                  <a:lnTo>
                    <a:pt x="326" y="652"/>
                  </a:lnTo>
                  <a:lnTo>
                    <a:pt x="282" y="649"/>
                  </a:lnTo>
                  <a:lnTo>
                    <a:pt x="239" y="641"/>
                  </a:lnTo>
                  <a:lnTo>
                    <a:pt x="200" y="627"/>
                  </a:lnTo>
                  <a:lnTo>
                    <a:pt x="162" y="607"/>
                  </a:lnTo>
                  <a:lnTo>
                    <a:pt x="127" y="584"/>
                  </a:lnTo>
                  <a:lnTo>
                    <a:pt x="96" y="556"/>
                  </a:lnTo>
                  <a:lnTo>
                    <a:pt x="68" y="525"/>
                  </a:lnTo>
                  <a:lnTo>
                    <a:pt x="45" y="490"/>
                  </a:lnTo>
                  <a:lnTo>
                    <a:pt x="26" y="453"/>
                  </a:lnTo>
                  <a:lnTo>
                    <a:pt x="11" y="413"/>
                  </a:lnTo>
                  <a:lnTo>
                    <a:pt x="3" y="370"/>
                  </a:lnTo>
                  <a:lnTo>
                    <a:pt x="0" y="327"/>
                  </a:lnTo>
                  <a:lnTo>
                    <a:pt x="3" y="282"/>
                  </a:lnTo>
                  <a:lnTo>
                    <a:pt x="11" y="239"/>
                  </a:lnTo>
                  <a:lnTo>
                    <a:pt x="26" y="199"/>
                  </a:lnTo>
                  <a:lnTo>
                    <a:pt x="45" y="162"/>
                  </a:lnTo>
                  <a:lnTo>
                    <a:pt x="68" y="127"/>
                  </a:lnTo>
                  <a:lnTo>
                    <a:pt x="96" y="96"/>
                  </a:lnTo>
                  <a:lnTo>
                    <a:pt x="127" y="68"/>
                  </a:lnTo>
                  <a:lnTo>
                    <a:pt x="162" y="45"/>
                  </a:lnTo>
                  <a:lnTo>
                    <a:pt x="200" y="26"/>
                  </a:lnTo>
                  <a:lnTo>
                    <a:pt x="239" y="12"/>
                  </a:lnTo>
                  <a:lnTo>
                    <a:pt x="282" y="3"/>
                  </a:lnTo>
                  <a:lnTo>
                    <a:pt x="3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35"/>
            <p:cNvSpPr>
              <a:spLocks/>
            </p:cNvSpPr>
            <p:nvPr/>
          </p:nvSpPr>
          <p:spPr bwMode="auto">
            <a:xfrm>
              <a:off x="-391" y="1802"/>
              <a:ext cx="163" cy="163"/>
            </a:xfrm>
            <a:custGeom>
              <a:avLst/>
              <a:gdLst>
                <a:gd name="T0" fmla="*/ 326 w 653"/>
                <a:gd name="T1" fmla="*/ 0 h 652"/>
                <a:gd name="T2" fmla="*/ 371 w 653"/>
                <a:gd name="T3" fmla="*/ 3 h 652"/>
                <a:gd name="T4" fmla="*/ 414 w 653"/>
                <a:gd name="T5" fmla="*/ 12 h 652"/>
                <a:gd name="T6" fmla="*/ 453 w 653"/>
                <a:gd name="T7" fmla="*/ 26 h 652"/>
                <a:gd name="T8" fmla="*/ 491 w 653"/>
                <a:gd name="T9" fmla="*/ 45 h 652"/>
                <a:gd name="T10" fmla="*/ 526 w 653"/>
                <a:gd name="T11" fmla="*/ 68 h 652"/>
                <a:gd name="T12" fmla="*/ 557 w 653"/>
                <a:gd name="T13" fmla="*/ 96 h 652"/>
                <a:gd name="T14" fmla="*/ 585 w 653"/>
                <a:gd name="T15" fmla="*/ 127 h 652"/>
                <a:gd name="T16" fmla="*/ 608 w 653"/>
                <a:gd name="T17" fmla="*/ 162 h 652"/>
                <a:gd name="T18" fmla="*/ 627 w 653"/>
                <a:gd name="T19" fmla="*/ 199 h 652"/>
                <a:gd name="T20" fmla="*/ 641 w 653"/>
                <a:gd name="T21" fmla="*/ 239 h 652"/>
                <a:gd name="T22" fmla="*/ 650 w 653"/>
                <a:gd name="T23" fmla="*/ 282 h 652"/>
                <a:gd name="T24" fmla="*/ 653 w 653"/>
                <a:gd name="T25" fmla="*/ 327 h 652"/>
                <a:gd name="T26" fmla="*/ 650 w 653"/>
                <a:gd name="T27" fmla="*/ 370 h 652"/>
                <a:gd name="T28" fmla="*/ 641 w 653"/>
                <a:gd name="T29" fmla="*/ 413 h 652"/>
                <a:gd name="T30" fmla="*/ 627 w 653"/>
                <a:gd name="T31" fmla="*/ 453 h 652"/>
                <a:gd name="T32" fmla="*/ 608 w 653"/>
                <a:gd name="T33" fmla="*/ 490 h 652"/>
                <a:gd name="T34" fmla="*/ 585 w 653"/>
                <a:gd name="T35" fmla="*/ 525 h 652"/>
                <a:gd name="T36" fmla="*/ 557 w 653"/>
                <a:gd name="T37" fmla="*/ 556 h 652"/>
                <a:gd name="T38" fmla="*/ 526 w 653"/>
                <a:gd name="T39" fmla="*/ 584 h 652"/>
                <a:gd name="T40" fmla="*/ 491 w 653"/>
                <a:gd name="T41" fmla="*/ 607 h 652"/>
                <a:gd name="T42" fmla="*/ 453 w 653"/>
                <a:gd name="T43" fmla="*/ 627 h 652"/>
                <a:gd name="T44" fmla="*/ 414 w 653"/>
                <a:gd name="T45" fmla="*/ 641 h 652"/>
                <a:gd name="T46" fmla="*/ 371 w 653"/>
                <a:gd name="T47" fmla="*/ 649 h 652"/>
                <a:gd name="T48" fmla="*/ 326 w 653"/>
                <a:gd name="T49" fmla="*/ 652 h 652"/>
                <a:gd name="T50" fmla="*/ 282 w 653"/>
                <a:gd name="T51" fmla="*/ 649 h 652"/>
                <a:gd name="T52" fmla="*/ 240 w 653"/>
                <a:gd name="T53" fmla="*/ 641 h 652"/>
                <a:gd name="T54" fmla="*/ 200 w 653"/>
                <a:gd name="T55" fmla="*/ 627 h 652"/>
                <a:gd name="T56" fmla="*/ 162 w 653"/>
                <a:gd name="T57" fmla="*/ 607 h 652"/>
                <a:gd name="T58" fmla="*/ 127 w 653"/>
                <a:gd name="T59" fmla="*/ 584 h 652"/>
                <a:gd name="T60" fmla="*/ 96 w 653"/>
                <a:gd name="T61" fmla="*/ 556 h 652"/>
                <a:gd name="T62" fmla="*/ 68 w 653"/>
                <a:gd name="T63" fmla="*/ 525 h 652"/>
                <a:gd name="T64" fmla="*/ 45 w 653"/>
                <a:gd name="T65" fmla="*/ 490 h 652"/>
                <a:gd name="T66" fmla="*/ 26 w 653"/>
                <a:gd name="T67" fmla="*/ 453 h 652"/>
                <a:gd name="T68" fmla="*/ 11 w 653"/>
                <a:gd name="T69" fmla="*/ 413 h 652"/>
                <a:gd name="T70" fmla="*/ 3 w 653"/>
                <a:gd name="T71" fmla="*/ 370 h 652"/>
                <a:gd name="T72" fmla="*/ 0 w 653"/>
                <a:gd name="T73" fmla="*/ 327 h 652"/>
                <a:gd name="T74" fmla="*/ 3 w 653"/>
                <a:gd name="T75" fmla="*/ 282 h 652"/>
                <a:gd name="T76" fmla="*/ 11 w 653"/>
                <a:gd name="T77" fmla="*/ 239 h 652"/>
                <a:gd name="T78" fmla="*/ 26 w 653"/>
                <a:gd name="T79" fmla="*/ 199 h 652"/>
                <a:gd name="T80" fmla="*/ 45 w 653"/>
                <a:gd name="T81" fmla="*/ 162 h 652"/>
                <a:gd name="T82" fmla="*/ 68 w 653"/>
                <a:gd name="T83" fmla="*/ 127 h 652"/>
                <a:gd name="T84" fmla="*/ 96 w 653"/>
                <a:gd name="T85" fmla="*/ 96 h 652"/>
                <a:gd name="T86" fmla="*/ 127 w 653"/>
                <a:gd name="T87" fmla="*/ 68 h 652"/>
                <a:gd name="T88" fmla="*/ 162 w 653"/>
                <a:gd name="T89" fmla="*/ 45 h 652"/>
                <a:gd name="T90" fmla="*/ 200 w 653"/>
                <a:gd name="T91" fmla="*/ 26 h 652"/>
                <a:gd name="T92" fmla="*/ 240 w 653"/>
                <a:gd name="T93" fmla="*/ 12 h 652"/>
                <a:gd name="T94" fmla="*/ 282 w 653"/>
                <a:gd name="T95" fmla="*/ 3 h 652"/>
                <a:gd name="T96" fmla="*/ 326 w 653"/>
                <a:gd name="T97" fmla="*/ 0 h 652"/>
                <a:gd name="T98" fmla="*/ 326 w 653"/>
                <a:gd name="T99" fmla="*/ 0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53" h="652">
                  <a:moveTo>
                    <a:pt x="326" y="0"/>
                  </a:moveTo>
                  <a:lnTo>
                    <a:pt x="371" y="3"/>
                  </a:lnTo>
                  <a:lnTo>
                    <a:pt x="414" y="12"/>
                  </a:lnTo>
                  <a:lnTo>
                    <a:pt x="453" y="26"/>
                  </a:lnTo>
                  <a:lnTo>
                    <a:pt x="491" y="45"/>
                  </a:lnTo>
                  <a:lnTo>
                    <a:pt x="526" y="68"/>
                  </a:lnTo>
                  <a:lnTo>
                    <a:pt x="557" y="96"/>
                  </a:lnTo>
                  <a:lnTo>
                    <a:pt x="585" y="127"/>
                  </a:lnTo>
                  <a:lnTo>
                    <a:pt x="608" y="162"/>
                  </a:lnTo>
                  <a:lnTo>
                    <a:pt x="627" y="199"/>
                  </a:lnTo>
                  <a:lnTo>
                    <a:pt x="641" y="239"/>
                  </a:lnTo>
                  <a:lnTo>
                    <a:pt x="650" y="282"/>
                  </a:lnTo>
                  <a:lnTo>
                    <a:pt x="653" y="327"/>
                  </a:lnTo>
                  <a:lnTo>
                    <a:pt x="650" y="370"/>
                  </a:lnTo>
                  <a:lnTo>
                    <a:pt x="641" y="413"/>
                  </a:lnTo>
                  <a:lnTo>
                    <a:pt x="627" y="453"/>
                  </a:lnTo>
                  <a:lnTo>
                    <a:pt x="608" y="490"/>
                  </a:lnTo>
                  <a:lnTo>
                    <a:pt x="585" y="525"/>
                  </a:lnTo>
                  <a:lnTo>
                    <a:pt x="557" y="556"/>
                  </a:lnTo>
                  <a:lnTo>
                    <a:pt x="526" y="584"/>
                  </a:lnTo>
                  <a:lnTo>
                    <a:pt x="491" y="607"/>
                  </a:lnTo>
                  <a:lnTo>
                    <a:pt x="453" y="627"/>
                  </a:lnTo>
                  <a:lnTo>
                    <a:pt x="414" y="641"/>
                  </a:lnTo>
                  <a:lnTo>
                    <a:pt x="371" y="649"/>
                  </a:lnTo>
                  <a:lnTo>
                    <a:pt x="326" y="652"/>
                  </a:lnTo>
                  <a:lnTo>
                    <a:pt x="282" y="649"/>
                  </a:lnTo>
                  <a:lnTo>
                    <a:pt x="240" y="641"/>
                  </a:lnTo>
                  <a:lnTo>
                    <a:pt x="200" y="627"/>
                  </a:lnTo>
                  <a:lnTo>
                    <a:pt x="162" y="607"/>
                  </a:lnTo>
                  <a:lnTo>
                    <a:pt x="127" y="584"/>
                  </a:lnTo>
                  <a:lnTo>
                    <a:pt x="96" y="556"/>
                  </a:lnTo>
                  <a:lnTo>
                    <a:pt x="68" y="525"/>
                  </a:lnTo>
                  <a:lnTo>
                    <a:pt x="45" y="490"/>
                  </a:lnTo>
                  <a:lnTo>
                    <a:pt x="26" y="453"/>
                  </a:lnTo>
                  <a:lnTo>
                    <a:pt x="11" y="413"/>
                  </a:lnTo>
                  <a:lnTo>
                    <a:pt x="3" y="370"/>
                  </a:lnTo>
                  <a:lnTo>
                    <a:pt x="0" y="327"/>
                  </a:lnTo>
                  <a:lnTo>
                    <a:pt x="3" y="282"/>
                  </a:lnTo>
                  <a:lnTo>
                    <a:pt x="11" y="239"/>
                  </a:lnTo>
                  <a:lnTo>
                    <a:pt x="26" y="199"/>
                  </a:lnTo>
                  <a:lnTo>
                    <a:pt x="45" y="162"/>
                  </a:lnTo>
                  <a:lnTo>
                    <a:pt x="68" y="127"/>
                  </a:lnTo>
                  <a:lnTo>
                    <a:pt x="96" y="96"/>
                  </a:lnTo>
                  <a:lnTo>
                    <a:pt x="127" y="68"/>
                  </a:lnTo>
                  <a:lnTo>
                    <a:pt x="162" y="45"/>
                  </a:lnTo>
                  <a:lnTo>
                    <a:pt x="200" y="26"/>
                  </a:lnTo>
                  <a:lnTo>
                    <a:pt x="240" y="12"/>
                  </a:lnTo>
                  <a:lnTo>
                    <a:pt x="282" y="3"/>
                  </a:lnTo>
                  <a:lnTo>
                    <a:pt x="326" y="0"/>
                  </a:lnTo>
                  <a:lnTo>
                    <a:pt x="3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36"/>
            <p:cNvSpPr>
              <a:spLocks/>
            </p:cNvSpPr>
            <p:nvPr/>
          </p:nvSpPr>
          <p:spPr bwMode="auto">
            <a:xfrm>
              <a:off x="-395" y="1981"/>
              <a:ext cx="272" cy="657"/>
            </a:xfrm>
            <a:custGeom>
              <a:avLst/>
              <a:gdLst>
                <a:gd name="T0" fmla="*/ 400 w 1089"/>
                <a:gd name="T1" fmla="*/ 0 h 2628"/>
                <a:gd name="T2" fmla="*/ 482 w 1089"/>
                <a:gd name="T3" fmla="*/ 11 h 2628"/>
                <a:gd name="T4" fmla="*/ 554 w 1089"/>
                <a:gd name="T5" fmla="*/ 45 h 2628"/>
                <a:gd name="T6" fmla="*/ 613 w 1089"/>
                <a:gd name="T7" fmla="*/ 97 h 2628"/>
                <a:gd name="T8" fmla="*/ 656 w 1089"/>
                <a:gd name="T9" fmla="*/ 162 h 2628"/>
                <a:gd name="T10" fmla="*/ 678 w 1089"/>
                <a:gd name="T11" fmla="*/ 239 h 2628"/>
                <a:gd name="T12" fmla="*/ 681 w 1089"/>
                <a:gd name="T13" fmla="*/ 333 h 2628"/>
                <a:gd name="T14" fmla="*/ 750 w 1089"/>
                <a:gd name="T15" fmla="*/ 458 h 2628"/>
                <a:gd name="T16" fmla="*/ 1064 w 1089"/>
                <a:gd name="T17" fmla="*/ 670 h 2628"/>
                <a:gd name="T18" fmla="*/ 1028 w 1089"/>
                <a:gd name="T19" fmla="*/ 729 h 2628"/>
                <a:gd name="T20" fmla="*/ 1012 w 1089"/>
                <a:gd name="T21" fmla="*/ 795 h 2628"/>
                <a:gd name="T22" fmla="*/ 1018 w 1089"/>
                <a:gd name="T23" fmla="*/ 865 h 2628"/>
                <a:gd name="T24" fmla="*/ 1043 w 1089"/>
                <a:gd name="T25" fmla="*/ 925 h 2628"/>
                <a:gd name="T26" fmla="*/ 599 w 1089"/>
                <a:gd name="T27" fmla="*/ 693 h 2628"/>
                <a:gd name="T28" fmla="*/ 570 w 1089"/>
                <a:gd name="T29" fmla="*/ 671 h 2628"/>
                <a:gd name="T30" fmla="*/ 528 w 1089"/>
                <a:gd name="T31" fmla="*/ 714 h 2628"/>
                <a:gd name="T32" fmla="*/ 535 w 1089"/>
                <a:gd name="T33" fmla="*/ 719 h 2628"/>
                <a:gd name="T34" fmla="*/ 681 w 1089"/>
                <a:gd name="T35" fmla="*/ 824 h 2628"/>
                <a:gd name="T36" fmla="*/ 679 w 1089"/>
                <a:gd name="T37" fmla="*/ 2491 h 2628"/>
                <a:gd name="T38" fmla="*/ 659 w 1089"/>
                <a:gd name="T39" fmla="*/ 2544 h 2628"/>
                <a:gd name="T40" fmla="*/ 622 w 1089"/>
                <a:gd name="T41" fmla="*/ 2588 h 2628"/>
                <a:gd name="T42" fmla="*/ 572 w 1089"/>
                <a:gd name="T43" fmla="*/ 2617 h 2628"/>
                <a:gd name="T44" fmla="*/ 514 w 1089"/>
                <a:gd name="T45" fmla="*/ 2628 h 2628"/>
                <a:gd name="T46" fmla="*/ 459 w 1089"/>
                <a:gd name="T47" fmla="*/ 2619 h 2628"/>
                <a:gd name="T48" fmla="*/ 412 w 1089"/>
                <a:gd name="T49" fmla="*/ 2592 h 2628"/>
                <a:gd name="T50" fmla="*/ 438 w 1089"/>
                <a:gd name="T51" fmla="*/ 2530 h 2628"/>
                <a:gd name="T52" fmla="*/ 448 w 1089"/>
                <a:gd name="T53" fmla="*/ 2460 h 2628"/>
                <a:gd name="T54" fmla="*/ 336 w 1089"/>
                <a:gd name="T55" fmla="*/ 1463 h 2628"/>
                <a:gd name="T56" fmla="*/ 333 w 1089"/>
                <a:gd name="T57" fmla="*/ 2491 h 2628"/>
                <a:gd name="T58" fmla="*/ 313 w 1089"/>
                <a:gd name="T59" fmla="*/ 2544 h 2628"/>
                <a:gd name="T60" fmla="*/ 276 w 1089"/>
                <a:gd name="T61" fmla="*/ 2588 h 2628"/>
                <a:gd name="T62" fmla="*/ 227 w 1089"/>
                <a:gd name="T63" fmla="*/ 2617 h 2628"/>
                <a:gd name="T64" fmla="*/ 168 w 1089"/>
                <a:gd name="T65" fmla="*/ 2628 h 2628"/>
                <a:gd name="T66" fmla="*/ 110 w 1089"/>
                <a:gd name="T67" fmla="*/ 2617 h 2628"/>
                <a:gd name="T68" fmla="*/ 60 w 1089"/>
                <a:gd name="T69" fmla="*/ 2588 h 2628"/>
                <a:gd name="T70" fmla="*/ 23 w 1089"/>
                <a:gd name="T71" fmla="*/ 2544 h 2628"/>
                <a:gd name="T72" fmla="*/ 4 w 1089"/>
                <a:gd name="T73" fmla="*/ 2491 h 2628"/>
                <a:gd name="T74" fmla="*/ 1 w 1089"/>
                <a:gd name="T75" fmla="*/ 2456 h 2628"/>
                <a:gd name="T76" fmla="*/ 1 w 1089"/>
                <a:gd name="T77" fmla="*/ 2425 h 2628"/>
                <a:gd name="T78" fmla="*/ 1 w 1089"/>
                <a:gd name="T79" fmla="*/ 2367 h 2628"/>
                <a:gd name="T80" fmla="*/ 1 w 1089"/>
                <a:gd name="T81" fmla="*/ 2282 h 2628"/>
                <a:gd name="T82" fmla="*/ 1 w 1089"/>
                <a:gd name="T83" fmla="*/ 2176 h 2628"/>
                <a:gd name="T84" fmla="*/ 1 w 1089"/>
                <a:gd name="T85" fmla="*/ 2050 h 2628"/>
                <a:gd name="T86" fmla="*/ 0 w 1089"/>
                <a:gd name="T87" fmla="*/ 1908 h 2628"/>
                <a:gd name="T88" fmla="*/ 0 w 1089"/>
                <a:gd name="T89" fmla="*/ 1752 h 2628"/>
                <a:gd name="T90" fmla="*/ 0 w 1089"/>
                <a:gd name="T91" fmla="*/ 1585 h 2628"/>
                <a:gd name="T92" fmla="*/ 0 w 1089"/>
                <a:gd name="T93" fmla="*/ 1411 h 2628"/>
                <a:gd name="T94" fmla="*/ 0 w 1089"/>
                <a:gd name="T95" fmla="*/ 1231 h 2628"/>
                <a:gd name="T96" fmla="*/ 0 w 1089"/>
                <a:gd name="T97" fmla="*/ 1049 h 2628"/>
                <a:gd name="T98" fmla="*/ 0 w 1089"/>
                <a:gd name="T99" fmla="*/ 867 h 2628"/>
                <a:gd name="T100" fmla="*/ 0 w 1089"/>
                <a:gd name="T101" fmla="*/ 690 h 2628"/>
                <a:gd name="T102" fmla="*/ 0 w 1089"/>
                <a:gd name="T103" fmla="*/ 519 h 2628"/>
                <a:gd name="T104" fmla="*/ 0 w 1089"/>
                <a:gd name="T105" fmla="*/ 357 h 2628"/>
                <a:gd name="T106" fmla="*/ 3 w 1089"/>
                <a:gd name="T107" fmla="*/ 239 h 2628"/>
                <a:gd name="T108" fmla="*/ 25 w 1089"/>
                <a:gd name="T109" fmla="*/ 162 h 2628"/>
                <a:gd name="T110" fmla="*/ 68 w 1089"/>
                <a:gd name="T111" fmla="*/ 97 h 2628"/>
                <a:gd name="T112" fmla="*/ 127 w 1089"/>
                <a:gd name="T113" fmla="*/ 45 h 2628"/>
                <a:gd name="T114" fmla="*/ 200 w 1089"/>
                <a:gd name="T115" fmla="*/ 11 h 2628"/>
                <a:gd name="T116" fmla="*/ 281 w 1089"/>
                <a:gd name="T117" fmla="*/ 0 h 2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89" h="2628">
                  <a:moveTo>
                    <a:pt x="281" y="0"/>
                  </a:moveTo>
                  <a:lnTo>
                    <a:pt x="400" y="0"/>
                  </a:lnTo>
                  <a:lnTo>
                    <a:pt x="442" y="3"/>
                  </a:lnTo>
                  <a:lnTo>
                    <a:pt x="482" y="11"/>
                  </a:lnTo>
                  <a:lnTo>
                    <a:pt x="519" y="25"/>
                  </a:lnTo>
                  <a:lnTo>
                    <a:pt x="554" y="45"/>
                  </a:lnTo>
                  <a:lnTo>
                    <a:pt x="584" y="68"/>
                  </a:lnTo>
                  <a:lnTo>
                    <a:pt x="613" y="97"/>
                  </a:lnTo>
                  <a:lnTo>
                    <a:pt x="636" y="127"/>
                  </a:lnTo>
                  <a:lnTo>
                    <a:pt x="656" y="162"/>
                  </a:lnTo>
                  <a:lnTo>
                    <a:pt x="670" y="199"/>
                  </a:lnTo>
                  <a:lnTo>
                    <a:pt x="678" y="239"/>
                  </a:lnTo>
                  <a:lnTo>
                    <a:pt x="681" y="281"/>
                  </a:lnTo>
                  <a:lnTo>
                    <a:pt x="681" y="333"/>
                  </a:lnTo>
                  <a:lnTo>
                    <a:pt x="378" y="99"/>
                  </a:lnTo>
                  <a:lnTo>
                    <a:pt x="750" y="458"/>
                  </a:lnTo>
                  <a:lnTo>
                    <a:pt x="1089" y="646"/>
                  </a:lnTo>
                  <a:lnTo>
                    <a:pt x="1064" y="670"/>
                  </a:lnTo>
                  <a:lnTo>
                    <a:pt x="1044" y="699"/>
                  </a:lnTo>
                  <a:lnTo>
                    <a:pt x="1028" y="729"/>
                  </a:lnTo>
                  <a:lnTo>
                    <a:pt x="1018" y="762"/>
                  </a:lnTo>
                  <a:lnTo>
                    <a:pt x="1012" y="795"/>
                  </a:lnTo>
                  <a:lnTo>
                    <a:pt x="1012" y="830"/>
                  </a:lnTo>
                  <a:lnTo>
                    <a:pt x="1018" y="865"/>
                  </a:lnTo>
                  <a:lnTo>
                    <a:pt x="1029" y="900"/>
                  </a:lnTo>
                  <a:lnTo>
                    <a:pt x="1043" y="925"/>
                  </a:lnTo>
                  <a:lnTo>
                    <a:pt x="1059" y="949"/>
                  </a:lnTo>
                  <a:lnTo>
                    <a:pt x="599" y="693"/>
                  </a:lnTo>
                  <a:lnTo>
                    <a:pt x="583" y="682"/>
                  </a:lnTo>
                  <a:lnTo>
                    <a:pt x="570" y="671"/>
                  </a:lnTo>
                  <a:lnTo>
                    <a:pt x="184" y="300"/>
                  </a:lnTo>
                  <a:lnTo>
                    <a:pt x="528" y="714"/>
                  </a:lnTo>
                  <a:lnTo>
                    <a:pt x="532" y="716"/>
                  </a:lnTo>
                  <a:lnTo>
                    <a:pt x="535" y="719"/>
                  </a:lnTo>
                  <a:lnTo>
                    <a:pt x="570" y="744"/>
                  </a:lnTo>
                  <a:lnTo>
                    <a:pt x="681" y="824"/>
                  </a:lnTo>
                  <a:lnTo>
                    <a:pt x="681" y="2460"/>
                  </a:lnTo>
                  <a:lnTo>
                    <a:pt x="679" y="2491"/>
                  </a:lnTo>
                  <a:lnTo>
                    <a:pt x="671" y="2519"/>
                  </a:lnTo>
                  <a:lnTo>
                    <a:pt x="659" y="2544"/>
                  </a:lnTo>
                  <a:lnTo>
                    <a:pt x="641" y="2568"/>
                  </a:lnTo>
                  <a:lnTo>
                    <a:pt x="622" y="2588"/>
                  </a:lnTo>
                  <a:lnTo>
                    <a:pt x="599" y="2604"/>
                  </a:lnTo>
                  <a:lnTo>
                    <a:pt x="572" y="2617"/>
                  </a:lnTo>
                  <a:lnTo>
                    <a:pt x="544" y="2625"/>
                  </a:lnTo>
                  <a:lnTo>
                    <a:pt x="514" y="2628"/>
                  </a:lnTo>
                  <a:lnTo>
                    <a:pt x="486" y="2625"/>
                  </a:lnTo>
                  <a:lnTo>
                    <a:pt x="459" y="2619"/>
                  </a:lnTo>
                  <a:lnTo>
                    <a:pt x="435" y="2608"/>
                  </a:lnTo>
                  <a:lnTo>
                    <a:pt x="412" y="2592"/>
                  </a:lnTo>
                  <a:lnTo>
                    <a:pt x="428" y="2562"/>
                  </a:lnTo>
                  <a:lnTo>
                    <a:pt x="438" y="2530"/>
                  </a:lnTo>
                  <a:lnTo>
                    <a:pt x="445" y="2496"/>
                  </a:lnTo>
                  <a:lnTo>
                    <a:pt x="448" y="2460"/>
                  </a:lnTo>
                  <a:lnTo>
                    <a:pt x="448" y="1463"/>
                  </a:lnTo>
                  <a:lnTo>
                    <a:pt x="336" y="1463"/>
                  </a:lnTo>
                  <a:lnTo>
                    <a:pt x="336" y="2460"/>
                  </a:lnTo>
                  <a:lnTo>
                    <a:pt x="333" y="2491"/>
                  </a:lnTo>
                  <a:lnTo>
                    <a:pt x="326" y="2519"/>
                  </a:lnTo>
                  <a:lnTo>
                    <a:pt x="313" y="2544"/>
                  </a:lnTo>
                  <a:lnTo>
                    <a:pt x="296" y="2568"/>
                  </a:lnTo>
                  <a:lnTo>
                    <a:pt x="276" y="2588"/>
                  </a:lnTo>
                  <a:lnTo>
                    <a:pt x="253" y="2604"/>
                  </a:lnTo>
                  <a:lnTo>
                    <a:pt x="227" y="2617"/>
                  </a:lnTo>
                  <a:lnTo>
                    <a:pt x="199" y="2625"/>
                  </a:lnTo>
                  <a:lnTo>
                    <a:pt x="168" y="2628"/>
                  </a:lnTo>
                  <a:lnTo>
                    <a:pt x="138" y="2625"/>
                  </a:lnTo>
                  <a:lnTo>
                    <a:pt x="110" y="2617"/>
                  </a:lnTo>
                  <a:lnTo>
                    <a:pt x="83" y="2604"/>
                  </a:lnTo>
                  <a:lnTo>
                    <a:pt x="60" y="2588"/>
                  </a:lnTo>
                  <a:lnTo>
                    <a:pt x="41" y="2568"/>
                  </a:lnTo>
                  <a:lnTo>
                    <a:pt x="23" y="2544"/>
                  </a:lnTo>
                  <a:lnTo>
                    <a:pt x="11" y="2519"/>
                  </a:lnTo>
                  <a:lnTo>
                    <a:pt x="4" y="2491"/>
                  </a:lnTo>
                  <a:lnTo>
                    <a:pt x="1" y="2460"/>
                  </a:lnTo>
                  <a:lnTo>
                    <a:pt x="1" y="2456"/>
                  </a:lnTo>
                  <a:lnTo>
                    <a:pt x="1" y="2445"/>
                  </a:lnTo>
                  <a:lnTo>
                    <a:pt x="1" y="2425"/>
                  </a:lnTo>
                  <a:lnTo>
                    <a:pt x="1" y="2399"/>
                  </a:lnTo>
                  <a:lnTo>
                    <a:pt x="1" y="2367"/>
                  </a:lnTo>
                  <a:lnTo>
                    <a:pt x="1" y="2328"/>
                  </a:lnTo>
                  <a:lnTo>
                    <a:pt x="1" y="2282"/>
                  </a:lnTo>
                  <a:lnTo>
                    <a:pt x="1" y="2232"/>
                  </a:lnTo>
                  <a:lnTo>
                    <a:pt x="1" y="2176"/>
                  </a:lnTo>
                  <a:lnTo>
                    <a:pt x="1" y="2115"/>
                  </a:lnTo>
                  <a:lnTo>
                    <a:pt x="1" y="2050"/>
                  </a:lnTo>
                  <a:lnTo>
                    <a:pt x="0" y="1981"/>
                  </a:lnTo>
                  <a:lnTo>
                    <a:pt x="0" y="1908"/>
                  </a:lnTo>
                  <a:lnTo>
                    <a:pt x="0" y="1832"/>
                  </a:lnTo>
                  <a:lnTo>
                    <a:pt x="0" y="1752"/>
                  </a:lnTo>
                  <a:lnTo>
                    <a:pt x="0" y="1670"/>
                  </a:lnTo>
                  <a:lnTo>
                    <a:pt x="0" y="1585"/>
                  </a:lnTo>
                  <a:lnTo>
                    <a:pt x="0" y="1498"/>
                  </a:lnTo>
                  <a:lnTo>
                    <a:pt x="0" y="1411"/>
                  </a:lnTo>
                  <a:lnTo>
                    <a:pt x="0" y="1321"/>
                  </a:lnTo>
                  <a:lnTo>
                    <a:pt x="0" y="1231"/>
                  </a:lnTo>
                  <a:lnTo>
                    <a:pt x="0" y="1140"/>
                  </a:lnTo>
                  <a:lnTo>
                    <a:pt x="0" y="1049"/>
                  </a:lnTo>
                  <a:lnTo>
                    <a:pt x="0" y="957"/>
                  </a:lnTo>
                  <a:lnTo>
                    <a:pt x="0" y="867"/>
                  </a:lnTo>
                  <a:lnTo>
                    <a:pt x="0" y="778"/>
                  </a:lnTo>
                  <a:lnTo>
                    <a:pt x="0" y="690"/>
                  </a:lnTo>
                  <a:lnTo>
                    <a:pt x="0" y="603"/>
                  </a:lnTo>
                  <a:lnTo>
                    <a:pt x="0" y="519"/>
                  </a:lnTo>
                  <a:lnTo>
                    <a:pt x="0" y="436"/>
                  </a:lnTo>
                  <a:lnTo>
                    <a:pt x="0" y="357"/>
                  </a:lnTo>
                  <a:lnTo>
                    <a:pt x="0" y="281"/>
                  </a:lnTo>
                  <a:lnTo>
                    <a:pt x="3" y="239"/>
                  </a:lnTo>
                  <a:lnTo>
                    <a:pt x="11" y="199"/>
                  </a:lnTo>
                  <a:lnTo>
                    <a:pt x="25" y="162"/>
                  </a:lnTo>
                  <a:lnTo>
                    <a:pt x="45" y="127"/>
                  </a:lnTo>
                  <a:lnTo>
                    <a:pt x="68" y="97"/>
                  </a:lnTo>
                  <a:lnTo>
                    <a:pt x="97" y="68"/>
                  </a:lnTo>
                  <a:lnTo>
                    <a:pt x="127" y="45"/>
                  </a:lnTo>
                  <a:lnTo>
                    <a:pt x="162" y="25"/>
                  </a:lnTo>
                  <a:lnTo>
                    <a:pt x="200" y="11"/>
                  </a:lnTo>
                  <a:lnTo>
                    <a:pt x="239" y="3"/>
                  </a:lnTo>
                  <a:lnTo>
                    <a:pt x="28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642733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2" name="think-cell Slide" r:id="rId4" imgW="381" imgH="318" progId="TCLayout.ActiveDocument.1">
                  <p:embed/>
                </p:oleObj>
              </mc:Choice>
              <mc:Fallback>
                <p:oleObj name="think-cell Slide" r:id="rId4" imgW="381" imgH="318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4700"/>
                    </a14:imgEffect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 l="475" t="8203" r="475" b="8202"/>
          <a:stretch>
            <a:fillRect/>
          </a:stretch>
        </p:blipFill>
        <p:spPr>
          <a:xfrm>
            <a:off x="-115503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7" name="Rectangle 26"/>
          <p:cNvSpPr/>
          <p:nvPr/>
        </p:nvSpPr>
        <p:spPr>
          <a:xfrm>
            <a:off x="0" y="1808560"/>
            <a:ext cx="11775440" cy="5222081"/>
          </a:xfrm>
          <a:prstGeom prst="rect">
            <a:avLst/>
          </a:prstGeom>
          <a:gradFill>
            <a:gsLst>
              <a:gs pos="0">
                <a:srgbClr val="00569B"/>
              </a:gs>
              <a:gs pos="100000">
                <a:srgbClr val="00569B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r>
              <a:rPr lang="en-US" sz="2000" dirty="0"/>
              <a:t>BENEFICIARY CHANGES INTEREST FROM</a:t>
            </a:r>
          </a:p>
          <a:p>
            <a:r>
              <a:rPr lang="en-US" sz="2000" dirty="0"/>
              <a:t>REAL PROPERTY TO PERSONAL PROPERTY . </a:t>
            </a:r>
          </a:p>
          <a:p>
            <a:endParaRPr lang="en-US" sz="2000" dirty="0"/>
          </a:p>
          <a:p>
            <a:r>
              <a:rPr lang="en-US" sz="2000" dirty="0"/>
              <a:t>BENEFICIAL INTEREST CAN BE SOLD, ASSIGNED</a:t>
            </a:r>
          </a:p>
          <a:p>
            <a:r>
              <a:rPr lang="en-US" sz="2000" dirty="0"/>
              <a:t>OR PLEDGED (AS REAL ESTATE CAN).</a:t>
            </a:r>
          </a:p>
          <a:p>
            <a:r>
              <a:rPr lang="en-US" sz="2000" dirty="0"/>
              <a:t>                                                                                                                      </a:t>
            </a:r>
          </a:p>
          <a:p>
            <a:r>
              <a:rPr lang="en-US" sz="2000" dirty="0"/>
              <a:t>TRUSTEE TAKES INSTRUCTIONS FROM BENEFICIARY</a:t>
            </a:r>
          </a:p>
          <a:p>
            <a:endParaRPr lang="en-US" sz="2000" dirty="0"/>
          </a:p>
          <a:p>
            <a:r>
              <a:rPr lang="en-US" sz="2000" dirty="0"/>
              <a:t>BENEFICIARY HAS RIGHTS UNDER RECORDED TRUST DEED.</a:t>
            </a:r>
          </a:p>
          <a:p>
            <a:endParaRPr lang="en-US" sz="2000" dirty="0"/>
          </a:p>
          <a:p>
            <a:r>
              <a:rPr lang="en-US" sz="2000" dirty="0"/>
              <a:t>BENEFICIARY HAS RIGHT UNDER PROCEEDS.</a:t>
            </a:r>
          </a:p>
          <a:p>
            <a:endParaRPr lang="en-US" sz="2000" dirty="0"/>
          </a:p>
          <a:p>
            <a:r>
              <a:rPr lang="en-US" sz="2000"/>
              <a:t>TRANSFER INTERESTS WITHOUT TAX CONSEQUENCES.</a:t>
            </a:r>
            <a:endParaRPr lang="en-US" sz="2000" dirty="0"/>
          </a:p>
        </p:txBody>
      </p:sp>
      <p:sp>
        <p:nvSpPr>
          <p:cNvPr id="29" name="Rectangle 28"/>
          <p:cNvSpPr/>
          <p:nvPr/>
        </p:nvSpPr>
        <p:spPr>
          <a:xfrm>
            <a:off x="0" y="1162050"/>
            <a:ext cx="12192000" cy="819150"/>
          </a:xfrm>
          <a:prstGeom prst="rect">
            <a:avLst/>
          </a:prstGeom>
          <a:solidFill>
            <a:schemeClr val="tx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r>
              <a:rPr lang="en-US" sz="3200" b="1" dirty="0"/>
              <a:t>WHAT IS THE TRANSACTIONAL DIFFERENCE?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872642" y="5640904"/>
            <a:ext cx="5038017" cy="461665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algn="ctr"/>
            <a:endParaRPr lang="en-US" sz="24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770610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9120" y="365125"/>
            <a:ext cx="10774680" cy="635635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4A728F-E02D-4D34-97C6-5F00DA40958C}" type="slidenum">
              <a:rPr lang="en-US" smtClean="0"/>
              <a:t>50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60" t="18826" b="150"/>
          <a:stretch/>
        </p:blipFill>
        <p:spPr>
          <a:xfrm>
            <a:off x="1524000" y="783771"/>
            <a:ext cx="9144000" cy="5710948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579120" y="789708"/>
            <a:ext cx="11704320" cy="5694220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6481307" y="782373"/>
            <a:ext cx="3995421" cy="2296053"/>
            <a:chOff x="4957306" y="782372"/>
            <a:chExt cx="3995421" cy="2296053"/>
          </a:xfrm>
        </p:grpSpPr>
        <p:sp>
          <p:nvSpPr>
            <p:cNvPr id="10" name="Rectangle 9"/>
            <p:cNvSpPr/>
            <p:nvPr/>
          </p:nvSpPr>
          <p:spPr>
            <a:xfrm>
              <a:off x="4957306" y="782372"/>
              <a:ext cx="3995421" cy="110799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r>
                <a:rPr lang="en-US" sz="66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  <a:ea typeface="Adobe Fan Heiti Std B" panose="020B0700000000000000" pitchFamily="34" charset="-128"/>
                  <a:cs typeface="Arial" panose="020B0604020202020204" pitchFamily="34" charset="0"/>
                </a:rPr>
                <a:t>MAHALO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6088690" y="1370546"/>
              <a:ext cx="2451785" cy="110799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r>
                <a:rPr lang="en-US" sz="66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  <a:ea typeface="Adobe Fan Heiti Std B" panose="020B0700000000000000" pitchFamily="34" charset="-128"/>
                  <a:cs typeface="Arial" panose="020B0604020202020204" pitchFamily="34" charset="0"/>
                </a:rPr>
                <a:t>NUI 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5526628" y="1970429"/>
              <a:ext cx="2244999" cy="110799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r>
                <a:rPr lang="en-US" sz="66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  <a:ea typeface="Adobe Fan Heiti Std B" panose="020B0700000000000000" pitchFamily="34" charset="-128"/>
                  <a:cs typeface="Arial" panose="020B0604020202020204" pitchFamily="34" charset="0"/>
                </a:rPr>
                <a:t>LO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36799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HOW A LAND TRUST IS CREA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6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731520" cy="73152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609600" y="2241912"/>
            <a:ext cx="731520" cy="73152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3036024"/>
            <a:ext cx="731520" cy="73152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609600" y="3830136"/>
            <a:ext cx="731520" cy="73152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1524000" y="1447800"/>
            <a:ext cx="566928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epared, executed and given to trustee.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24000" y="2241912"/>
            <a:ext cx="566928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ustee becomes holder of title.  Beneficiary retains total control.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524000" y="3830136"/>
            <a:ext cx="566928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eed conveying title must be recorded.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524000" y="4624248"/>
            <a:ext cx="566928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ustee will receive and retain all documents.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09600" y="4624248"/>
            <a:ext cx="731520" cy="73152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1524000" y="3036024"/>
            <a:ext cx="566928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rantor and Trustee sign deed of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rust..Names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beneficiaries and pro-rata shares.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7978611" y="1629372"/>
            <a:ext cx="3591251" cy="4397056"/>
            <a:chOff x="239753" y="1611086"/>
            <a:chExt cx="3865794" cy="4733204"/>
          </a:xfr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1090610" y="1986839"/>
              <a:ext cx="3014937" cy="4021185"/>
            </a:xfrm>
            <a:custGeom>
              <a:avLst/>
              <a:gdLst>
                <a:gd name="T0" fmla="*/ 305 w 2367"/>
                <a:gd name="T1" fmla="*/ 0 h 3157"/>
                <a:gd name="T2" fmla="*/ 1844 w 2367"/>
                <a:gd name="T3" fmla="*/ 102 h 3157"/>
                <a:gd name="T4" fmla="*/ 2054 w 2367"/>
                <a:gd name="T5" fmla="*/ 117 h 3157"/>
                <a:gd name="T6" fmla="*/ 2263 w 2367"/>
                <a:gd name="T7" fmla="*/ 130 h 3157"/>
                <a:gd name="T8" fmla="*/ 2289 w 2367"/>
                <a:gd name="T9" fmla="*/ 135 h 3157"/>
                <a:gd name="T10" fmla="*/ 2313 w 2367"/>
                <a:gd name="T11" fmla="*/ 146 h 3157"/>
                <a:gd name="T12" fmla="*/ 2333 w 2367"/>
                <a:gd name="T13" fmla="*/ 160 h 3157"/>
                <a:gd name="T14" fmla="*/ 2348 w 2367"/>
                <a:gd name="T15" fmla="*/ 180 h 3157"/>
                <a:gd name="T16" fmla="*/ 2359 w 2367"/>
                <a:gd name="T17" fmla="*/ 202 h 3157"/>
                <a:gd name="T18" fmla="*/ 2365 w 2367"/>
                <a:gd name="T19" fmla="*/ 227 h 3157"/>
                <a:gd name="T20" fmla="*/ 2367 w 2367"/>
                <a:gd name="T21" fmla="*/ 254 h 3157"/>
                <a:gd name="T22" fmla="*/ 2301 w 2367"/>
                <a:gd name="T23" fmla="*/ 1234 h 3157"/>
                <a:gd name="T24" fmla="*/ 2297 w 2367"/>
                <a:gd name="T25" fmla="*/ 1260 h 3157"/>
                <a:gd name="T26" fmla="*/ 2288 w 2367"/>
                <a:gd name="T27" fmla="*/ 1285 h 3157"/>
                <a:gd name="T28" fmla="*/ 2274 w 2367"/>
                <a:gd name="T29" fmla="*/ 1304 h 3157"/>
                <a:gd name="T30" fmla="*/ 2255 w 2367"/>
                <a:gd name="T31" fmla="*/ 1321 h 3157"/>
                <a:gd name="T32" fmla="*/ 2234 w 2367"/>
                <a:gd name="T33" fmla="*/ 1334 h 3157"/>
                <a:gd name="T34" fmla="*/ 2211 w 2367"/>
                <a:gd name="T35" fmla="*/ 1341 h 3157"/>
                <a:gd name="T36" fmla="*/ 2183 w 2367"/>
                <a:gd name="T37" fmla="*/ 1342 h 3157"/>
                <a:gd name="T38" fmla="*/ 2089 w 2367"/>
                <a:gd name="T39" fmla="*/ 1337 h 3157"/>
                <a:gd name="T40" fmla="*/ 1976 w 2367"/>
                <a:gd name="T41" fmla="*/ 3039 h 3157"/>
                <a:gd name="T42" fmla="*/ 1973 w 2367"/>
                <a:gd name="T43" fmla="*/ 3066 h 3157"/>
                <a:gd name="T44" fmla="*/ 1962 w 2367"/>
                <a:gd name="T45" fmla="*/ 3091 h 3157"/>
                <a:gd name="T46" fmla="*/ 1946 w 2367"/>
                <a:gd name="T47" fmla="*/ 3113 h 3157"/>
                <a:gd name="T48" fmla="*/ 1928 w 2367"/>
                <a:gd name="T49" fmla="*/ 3133 h 3157"/>
                <a:gd name="T50" fmla="*/ 1904 w 2367"/>
                <a:gd name="T51" fmla="*/ 3146 h 3157"/>
                <a:gd name="T52" fmla="*/ 1880 w 2367"/>
                <a:gd name="T53" fmla="*/ 3155 h 3157"/>
                <a:gd name="T54" fmla="*/ 1853 w 2367"/>
                <a:gd name="T55" fmla="*/ 3157 h 3157"/>
                <a:gd name="T56" fmla="*/ 104 w 2367"/>
                <a:gd name="T57" fmla="*/ 3041 h 3157"/>
                <a:gd name="T58" fmla="*/ 78 w 2367"/>
                <a:gd name="T59" fmla="*/ 3036 h 3157"/>
                <a:gd name="T60" fmla="*/ 55 w 2367"/>
                <a:gd name="T61" fmla="*/ 3024 h 3157"/>
                <a:gd name="T62" fmla="*/ 35 w 2367"/>
                <a:gd name="T63" fmla="*/ 3007 h 3157"/>
                <a:gd name="T64" fmla="*/ 19 w 2367"/>
                <a:gd name="T65" fmla="*/ 2986 h 3157"/>
                <a:gd name="T66" fmla="*/ 8 w 2367"/>
                <a:gd name="T67" fmla="*/ 2962 h 3157"/>
                <a:gd name="T68" fmla="*/ 1 w 2367"/>
                <a:gd name="T69" fmla="*/ 2935 h 3157"/>
                <a:gd name="T70" fmla="*/ 0 w 2367"/>
                <a:gd name="T71" fmla="*/ 2908 h 3157"/>
                <a:gd name="T72" fmla="*/ 184 w 2367"/>
                <a:gd name="T73" fmla="*/ 110 h 3157"/>
                <a:gd name="T74" fmla="*/ 190 w 2367"/>
                <a:gd name="T75" fmla="*/ 84 h 3157"/>
                <a:gd name="T76" fmla="*/ 199 w 2367"/>
                <a:gd name="T77" fmla="*/ 59 h 3157"/>
                <a:gd name="T78" fmla="*/ 213 w 2367"/>
                <a:gd name="T79" fmla="*/ 38 h 3157"/>
                <a:gd name="T80" fmla="*/ 231 w 2367"/>
                <a:gd name="T81" fmla="*/ 21 h 3157"/>
                <a:gd name="T82" fmla="*/ 254 w 2367"/>
                <a:gd name="T83" fmla="*/ 10 h 3157"/>
                <a:gd name="T84" fmla="*/ 279 w 2367"/>
                <a:gd name="T85" fmla="*/ 2 h 3157"/>
                <a:gd name="T86" fmla="*/ 305 w 2367"/>
                <a:gd name="T87" fmla="*/ 0 h 3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367" h="3157">
                  <a:moveTo>
                    <a:pt x="305" y="0"/>
                  </a:moveTo>
                  <a:lnTo>
                    <a:pt x="1844" y="102"/>
                  </a:lnTo>
                  <a:lnTo>
                    <a:pt x="2054" y="117"/>
                  </a:lnTo>
                  <a:lnTo>
                    <a:pt x="2263" y="130"/>
                  </a:lnTo>
                  <a:lnTo>
                    <a:pt x="2289" y="135"/>
                  </a:lnTo>
                  <a:lnTo>
                    <a:pt x="2313" y="146"/>
                  </a:lnTo>
                  <a:lnTo>
                    <a:pt x="2333" y="160"/>
                  </a:lnTo>
                  <a:lnTo>
                    <a:pt x="2348" y="180"/>
                  </a:lnTo>
                  <a:lnTo>
                    <a:pt x="2359" y="202"/>
                  </a:lnTo>
                  <a:lnTo>
                    <a:pt x="2365" y="227"/>
                  </a:lnTo>
                  <a:lnTo>
                    <a:pt x="2367" y="254"/>
                  </a:lnTo>
                  <a:lnTo>
                    <a:pt x="2301" y="1234"/>
                  </a:lnTo>
                  <a:lnTo>
                    <a:pt x="2297" y="1260"/>
                  </a:lnTo>
                  <a:lnTo>
                    <a:pt x="2288" y="1285"/>
                  </a:lnTo>
                  <a:lnTo>
                    <a:pt x="2274" y="1304"/>
                  </a:lnTo>
                  <a:lnTo>
                    <a:pt x="2255" y="1321"/>
                  </a:lnTo>
                  <a:lnTo>
                    <a:pt x="2234" y="1334"/>
                  </a:lnTo>
                  <a:lnTo>
                    <a:pt x="2211" y="1341"/>
                  </a:lnTo>
                  <a:lnTo>
                    <a:pt x="2183" y="1342"/>
                  </a:lnTo>
                  <a:lnTo>
                    <a:pt x="2089" y="1337"/>
                  </a:lnTo>
                  <a:lnTo>
                    <a:pt x="1976" y="3039"/>
                  </a:lnTo>
                  <a:lnTo>
                    <a:pt x="1973" y="3066"/>
                  </a:lnTo>
                  <a:lnTo>
                    <a:pt x="1962" y="3091"/>
                  </a:lnTo>
                  <a:lnTo>
                    <a:pt x="1946" y="3113"/>
                  </a:lnTo>
                  <a:lnTo>
                    <a:pt x="1928" y="3133"/>
                  </a:lnTo>
                  <a:lnTo>
                    <a:pt x="1904" y="3146"/>
                  </a:lnTo>
                  <a:lnTo>
                    <a:pt x="1880" y="3155"/>
                  </a:lnTo>
                  <a:lnTo>
                    <a:pt x="1853" y="3157"/>
                  </a:lnTo>
                  <a:lnTo>
                    <a:pt x="104" y="3041"/>
                  </a:lnTo>
                  <a:lnTo>
                    <a:pt x="78" y="3036"/>
                  </a:lnTo>
                  <a:lnTo>
                    <a:pt x="55" y="3024"/>
                  </a:lnTo>
                  <a:lnTo>
                    <a:pt x="35" y="3007"/>
                  </a:lnTo>
                  <a:lnTo>
                    <a:pt x="19" y="2986"/>
                  </a:lnTo>
                  <a:lnTo>
                    <a:pt x="8" y="2962"/>
                  </a:lnTo>
                  <a:lnTo>
                    <a:pt x="1" y="2935"/>
                  </a:lnTo>
                  <a:lnTo>
                    <a:pt x="0" y="2908"/>
                  </a:lnTo>
                  <a:lnTo>
                    <a:pt x="184" y="110"/>
                  </a:lnTo>
                  <a:lnTo>
                    <a:pt x="190" y="84"/>
                  </a:lnTo>
                  <a:lnTo>
                    <a:pt x="199" y="59"/>
                  </a:lnTo>
                  <a:lnTo>
                    <a:pt x="213" y="38"/>
                  </a:lnTo>
                  <a:lnTo>
                    <a:pt x="231" y="21"/>
                  </a:lnTo>
                  <a:lnTo>
                    <a:pt x="254" y="10"/>
                  </a:lnTo>
                  <a:lnTo>
                    <a:pt x="279" y="2"/>
                  </a:lnTo>
                  <a:lnTo>
                    <a:pt x="305" y="0"/>
                  </a:lnTo>
                  <a:close/>
                </a:path>
              </a:pathLst>
            </a:custGeom>
            <a:solidFill>
              <a:srgbClr val="818287"/>
            </a:solidFill>
            <a:ln w="0">
              <a:solidFill>
                <a:srgbClr val="81828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20" name="Freeform 8"/>
            <p:cNvSpPr>
              <a:spLocks/>
            </p:cNvSpPr>
            <p:nvPr/>
          </p:nvSpPr>
          <p:spPr bwMode="auto">
            <a:xfrm>
              <a:off x="969604" y="1980470"/>
              <a:ext cx="2602246" cy="4147284"/>
            </a:xfrm>
            <a:custGeom>
              <a:avLst/>
              <a:gdLst>
                <a:gd name="T0" fmla="*/ 315 w 2043"/>
                <a:gd name="T1" fmla="*/ 0 h 3256"/>
                <a:gd name="T2" fmla="*/ 1937 w 2043"/>
                <a:gd name="T3" fmla="*/ 224 h 3256"/>
                <a:gd name="T4" fmla="*/ 1963 w 2043"/>
                <a:gd name="T5" fmla="*/ 229 h 3256"/>
                <a:gd name="T6" fmla="*/ 1986 w 2043"/>
                <a:gd name="T7" fmla="*/ 240 h 3256"/>
                <a:gd name="T8" fmla="*/ 2006 w 2043"/>
                <a:gd name="T9" fmla="*/ 255 h 3256"/>
                <a:gd name="T10" fmla="*/ 2023 w 2043"/>
                <a:gd name="T11" fmla="*/ 274 h 3256"/>
                <a:gd name="T12" fmla="*/ 2035 w 2043"/>
                <a:gd name="T13" fmla="*/ 296 h 3256"/>
                <a:gd name="T14" fmla="*/ 2041 w 2043"/>
                <a:gd name="T15" fmla="*/ 322 h 3256"/>
                <a:gd name="T16" fmla="*/ 2043 w 2043"/>
                <a:gd name="T17" fmla="*/ 348 h 3256"/>
                <a:gd name="T18" fmla="*/ 1858 w 2043"/>
                <a:gd name="T19" fmla="*/ 3147 h 3256"/>
                <a:gd name="T20" fmla="*/ 1853 w 2043"/>
                <a:gd name="T21" fmla="*/ 3173 h 3256"/>
                <a:gd name="T22" fmla="*/ 1842 w 2043"/>
                <a:gd name="T23" fmla="*/ 3197 h 3256"/>
                <a:gd name="T24" fmla="*/ 1828 w 2043"/>
                <a:gd name="T25" fmla="*/ 3218 h 3256"/>
                <a:gd name="T26" fmla="*/ 1810 w 2043"/>
                <a:gd name="T27" fmla="*/ 3235 h 3256"/>
                <a:gd name="T28" fmla="*/ 1787 w 2043"/>
                <a:gd name="T29" fmla="*/ 3247 h 3256"/>
                <a:gd name="T30" fmla="*/ 1763 w 2043"/>
                <a:gd name="T31" fmla="*/ 3255 h 3256"/>
                <a:gd name="T32" fmla="*/ 1736 w 2043"/>
                <a:gd name="T33" fmla="*/ 3256 h 3256"/>
                <a:gd name="T34" fmla="*/ 114 w 2043"/>
                <a:gd name="T35" fmla="*/ 3032 h 3256"/>
                <a:gd name="T36" fmla="*/ 87 w 2043"/>
                <a:gd name="T37" fmla="*/ 3027 h 3256"/>
                <a:gd name="T38" fmla="*/ 63 w 2043"/>
                <a:gd name="T39" fmla="*/ 3016 h 3256"/>
                <a:gd name="T40" fmla="*/ 41 w 2043"/>
                <a:gd name="T41" fmla="*/ 3001 h 3256"/>
                <a:gd name="T42" fmla="*/ 24 w 2043"/>
                <a:gd name="T43" fmla="*/ 2981 h 3256"/>
                <a:gd name="T44" fmla="*/ 11 w 2043"/>
                <a:gd name="T45" fmla="*/ 2959 h 3256"/>
                <a:gd name="T46" fmla="*/ 3 w 2043"/>
                <a:gd name="T47" fmla="*/ 2934 h 3256"/>
                <a:gd name="T48" fmla="*/ 0 w 2043"/>
                <a:gd name="T49" fmla="*/ 2906 h 3256"/>
                <a:gd name="T50" fmla="*/ 186 w 2043"/>
                <a:gd name="T51" fmla="*/ 109 h 3256"/>
                <a:gd name="T52" fmla="*/ 192 w 2043"/>
                <a:gd name="T53" fmla="*/ 83 h 3256"/>
                <a:gd name="T54" fmla="*/ 202 w 2043"/>
                <a:gd name="T55" fmla="*/ 59 h 3256"/>
                <a:gd name="T56" fmla="*/ 218 w 2043"/>
                <a:gd name="T57" fmla="*/ 38 h 3256"/>
                <a:gd name="T58" fmla="*/ 239 w 2043"/>
                <a:gd name="T59" fmla="*/ 21 h 3256"/>
                <a:gd name="T60" fmla="*/ 261 w 2043"/>
                <a:gd name="T61" fmla="*/ 9 h 3256"/>
                <a:gd name="T62" fmla="*/ 287 w 2043"/>
                <a:gd name="T63" fmla="*/ 1 h 3256"/>
                <a:gd name="T64" fmla="*/ 315 w 2043"/>
                <a:gd name="T65" fmla="*/ 0 h 3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43" h="3256">
                  <a:moveTo>
                    <a:pt x="315" y="0"/>
                  </a:moveTo>
                  <a:lnTo>
                    <a:pt x="1937" y="224"/>
                  </a:lnTo>
                  <a:lnTo>
                    <a:pt x="1963" y="229"/>
                  </a:lnTo>
                  <a:lnTo>
                    <a:pt x="1986" y="240"/>
                  </a:lnTo>
                  <a:lnTo>
                    <a:pt x="2006" y="255"/>
                  </a:lnTo>
                  <a:lnTo>
                    <a:pt x="2023" y="274"/>
                  </a:lnTo>
                  <a:lnTo>
                    <a:pt x="2035" y="296"/>
                  </a:lnTo>
                  <a:lnTo>
                    <a:pt x="2041" y="322"/>
                  </a:lnTo>
                  <a:lnTo>
                    <a:pt x="2043" y="348"/>
                  </a:lnTo>
                  <a:lnTo>
                    <a:pt x="1858" y="3147"/>
                  </a:lnTo>
                  <a:lnTo>
                    <a:pt x="1853" y="3173"/>
                  </a:lnTo>
                  <a:lnTo>
                    <a:pt x="1842" y="3197"/>
                  </a:lnTo>
                  <a:lnTo>
                    <a:pt x="1828" y="3218"/>
                  </a:lnTo>
                  <a:lnTo>
                    <a:pt x="1810" y="3235"/>
                  </a:lnTo>
                  <a:lnTo>
                    <a:pt x="1787" y="3247"/>
                  </a:lnTo>
                  <a:lnTo>
                    <a:pt x="1763" y="3255"/>
                  </a:lnTo>
                  <a:lnTo>
                    <a:pt x="1736" y="3256"/>
                  </a:lnTo>
                  <a:lnTo>
                    <a:pt x="114" y="3032"/>
                  </a:lnTo>
                  <a:lnTo>
                    <a:pt x="87" y="3027"/>
                  </a:lnTo>
                  <a:lnTo>
                    <a:pt x="63" y="3016"/>
                  </a:lnTo>
                  <a:lnTo>
                    <a:pt x="41" y="3001"/>
                  </a:lnTo>
                  <a:lnTo>
                    <a:pt x="24" y="2981"/>
                  </a:lnTo>
                  <a:lnTo>
                    <a:pt x="11" y="2959"/>
                  </a:lnTo>
                  <a:lnTo>
                    <a:pt x="3" y="2934"/>
                  </a:lnTo>
                  <a:lnTo>
                    <a:pt x="0" y="2906"/>
                  </a:lnTo>
                  <a:lnTo>
                    <a:pt x="186" y="109"/>
                  </a:lnTo>
                  <a:lnTo>
                    <a:pt x="192" y="83"/>
                  </a:lnTo>
                  <a:lnTo>
                    <a:pt x="202" y="59"/>
                  </a:lnTo>
                  <a:lnTo>
                    <a:pt x="218" y="38"/>
                  </a:lnTo>
                  <a:lnTo>
                    <a:pt x="239" y="21"/>
                  </a:lnTo>
                  <a:lnTo>
                    <a:pt x="261" y="9"/>
                  </a:lnTo>
                  <a:lnTo>
                    <a:pt x="287" y="1"/>
                  </a:lnTo>
                  <a:lnTo>
                    <a:pt x="315" y="0"/>
                  </a:lnTo>
                  <a:close/>
                </a:path>
              </a:pathLst>
            </a:custGeom>
            <a:solidFill>
              <a:srgbClr val="164E49"/>
            </a:solidFill>
            <a:ln w="0">
              <a:solidFill>
                <a:srgbClr val="0A434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/>
          </p:nvSpPr>
          <p:spPr bwMode="auto">
            <a:xfrm>
              <a:off x="716131" y="5911219"/>
              <a:ext cx="1211325" cy="166860"/>
            </a:xfrm>
            <a:custGeom>
              <a:avLst/>
              <a:gdLst>
                <a:gd name="T0" fmla="*/ 292 w 951"/>
                <a:gd name="T1" fmla="*/ 48 h 131"/>
                <a:gd name="T2" fmla="*/ 288 w 951"/>
                <a:gd name="T3" fmla="*/ 63 h 131"/>
                <a:gd name="T4" fmla="*/ 273 w 951"/>
                <a:gd name="T5" fmla="*/ 57 h 131"/>
                <a:gd name="T6" fmla="*/ 258 w 951"/>
                <a:gd name="T7" fmla="*/ 104 h 131"/>
                <a:gd name="T8" fmla="*/ 6 w 951"/>
                <a:gd name="T9" fmla="*/ 131 h 131"/>
                <a:gd name="T10" fmla="*/ 0 w 951"/>
                <a:gd name="T11" fmla="*/ 81 h 131"/>
                <a:gd name="T12" fmla="*/ 292 w 951"/>
                <a:gd name="T13" fmla="*/ 48 h 131"/>
                <a:gd name="T14" fmla="*/ 710 w 951"/>
                <a:gd name="T15" fmla="*/ 0 h 131"/>
                <a:gd name="T16" fmla="*/ 951 w 951"/>
                <a:gd name="T17" fmla="*/ 34 h 131"/>
                <a:gd name="T18" fmla="*/ 468 w 951"/>
                <a:gd name="T19" fmla="*/ 83 h 131"/>
                <a:gd name="T20" fmla="*/ 486 w 951"/>
                <a:gd name="T21" fmla="*/ 26 h 131"/>
                <a:gd name="T22" fmla="*/ 710 w 951"/>
                <a:gd name="T23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51" h="131">
                  <a:moveTo>
                    <a:pt x="292" y="48"/>
                  </a:moveTo>
                  <a:lnTo>
                    <a:pt x="288" y="63"/>
                  </a:lnTo>
                  <a:lnTo>
                    <a:pt x="273" y="57"/>
                  </a:lnTo>
                  <a:lnTo>
                    <a:pt x="258" y="104"/>
                  </a:lnTo>
                  <a:lnTo>
                    <a:pt x="6" y="131"/>
                  </a:lnTo>
                  <a:lnTo>
                    <a:pt x="0" y="81"/>
                  </a:lnTo>
                  <a:lnTo>
                    <a:pt x="292" y="48"/>
                  </a:lnTo>
                  <a:close/>
                  <a:moveTo>
                    <a:pt x="710" y="0"/>
                  </a:moveTo>
                  <a:lnTo>
                    <a:pt x="951" y="34"/>
                  </a:lnTo>
                  <a:lnTo>
                    <a:pt x="468" y="83"/>
                  </a:lnTo>
                  <a:lnTo>
                    <a:pt x="486" y="26"/>
                  </a:lnTo>
                  <a:lnTo>
                    <a:pt x="710" y="0"/>
                  </a:lnTo>
                  <a:close/>
                </a:path>
              </a:pathLst>
            </a:custGeom>
            <a:solidFill>
              <a:srgbClr val="26867C"/>
            </a:solidFill>
            <a:ln w="0">
              <a:solidFill>
                <a:srgbClr val="148BA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22" name="Freeform 10"/>
            <p:cNvSpPr>
              <a:spLocks/>
            </p:cNvSpPr>
            <p:nvPr/>
          </p:nvSpPr>
          <p:spPr bwMode="auto">
            <a:xfrm>
              <a:off x="3612610" y="5237413"/>
              <a:ext cx="91710" cy="543886"/>
            </a:xfrm>
            <a:custGeom>
              <a:avLst/>
              <a:gdLst>
                <a:gd name="T0" fmla="*/ 29 w 72"/>
                <a:gd name="T1" fmla="*/ 0 h 427"/>
                <a:gd name="T2" fmla="*/ 72 w 72"/>
                <a:gd name="T3" fmla="*/ 420 h 427"/>
                <a:gd name="T4" fmla="*/ 0 w 72"/>
                <a:gd name="T5" fmla="*/ 427 h 427"/>
                <a:gd name="T6" fmla="*/ 6 w 72"/>
                <a:gd name="T7" fmla="*/ 351 h 427"/>
                <a:gd name="T8" fmla="*/ 44 w 72"/>
                <a:gd name="T9" fmla="*/ 347 h 427"/>
                <a:gd name="T10" fmla="*/ 20 w 72"/>
                <a:gd name="T11" fmla="*/ 141 h 427"/>
                <a:gd name="T12" fmla="*/ 29 w 72"/>
                <a:gd name="T13" fmla="*/ 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427">
                  <a:moveTo>
                    <a:pt x="29" y="0"/>
                  </a:moveTo>
                  <a:lnTo>
                    <a:pt x="72" y="420"/>
                  </a:lnTo>
                  <a:lnTo>
                    <a:pt x="0" y="427"/>
                  </a:lnTo>
                  <a:lnTo>
                    <a:pt x="6" y="351"/>
                  </a:lnTo>
                  <a:lnTo>
                    <a:pt x="44" y="347"/>
                  </a:lnTo>
                  <a:lnTo>
                    <a:pt x="20" y="141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9D9D9D"/>
            </a:solidFill>
            <a:ln w="0">
              <a:solidFill>
                <a:srgbClr val="9D9D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/>
          </p:nvSpPr>
          <p:spPr bwMode="auto">
            <a:xfrm>
              <a:off x="3578219" y="5001771"/>
              <a:ext cx="71329" cy="782074"/>
            </a:xfrm>
            <a:custGeom>
              <a:avLst/>
              <a:gdLst>
                <a:gd name="T0" fmla="*/ 33 w 56"/>
                <a:gd name="T1" fmla="*/ 536 h 614"/>
                <a:gd name="T2" fmla="*/ 27 w 56"/>
                <a:gd name="T3" fmla="*/ 612 h 614"/>
                <a:gd name="T4" fmla="*/ 0 w 56"/>
                <a:gd name="T5" fmla="*/ 614 h 614"/>
                <a:gd name="T6" fmla="*/ 5 w 56"/>
                <a:gd name="T7" fmla="*/ 538 h 614"/>
                <a:gd name="T8" fmla="*/ 33 w 56"/>
                <a:gd name="T9" fmla="*/ 536 h 614"/>
                <a:gd name="T10" fmla="*/ 37 w 56"/>
                <a:gd name="T11" fmla="*/ 0 h 614"/>
                <a:gd name="T12" fmla="*/ 56 w 56"/>
                <a:gd name="T13" fmla="*/ 185 h 614"/>
                <a:gd name="T14" fmla="*/ 47 w 56"/>
                <a:gd name="T15" fmla="*/ 326 h 614"/>
                <a:gd name="T16" fmla="*/ 27 w 56"/>
                <a:gd name="T17" fmla="*/ 157 h 614"/>
                <a:gd name="T18" fmla="*/ 37 w 56"/>
                <a:gd name="T19" fmla="*/ 0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614">
                  <a:moveTo>
                    <a:pt x="33" y="536"/>
                  </a:moveTo>
                  <a:lnTo>
                    <a:pt x="27" y="612"/>
                  </a:lnTo>
                  <a:lnTo>
                    <a:pt x="0" y="614"/>
                  </a:lnTo>
                  <a:lnTo>
                    <a:pt x="5" y="538"/>
                  </a:lnTo>
                  <a:lnTo>
                    <a:pt x="33" y="536"/>
                  </a:lnTo>
                  <a:close/>
                  <a:moveTo>
                    <a:pt x="37" y="0"/>
                  </a:moveTo>
                  <a:lnTo>
                    <a:pt x="56" y="185"/>
                  </a:lnTo>
                  <a:lnTo>
                    <a:pt x="47" y="326"/>
                  </a:lnTo>
                  <a:lnTo>
                    <a:pt x="27" y="157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164E49"/>
            </a:solidFill>
            <a:ln w="0">
              <a:solidFill>
                <a:srgbClr val="0A434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24" name="Freeform 12"/>
            <p:cNvSpPr>
              <a:spLocks/>
            </p:cNvSpPr>
            <p:nvPr/>
          </p:nvSpPr>
          <p:spPr bwMode="auto">
            <a:xfrm>
              <a:off x="1620485" y="5830974"/>
              <a:ext cx="1213872" cy="123553"/>
            </a:xfrm>
            <a:custGeom>
              <a:avLst/>
              <a:gdLst>
                <a:gd name="T0" fmla="*/ 559 w 953"/>
                <a:gd name="T1" fmla="*/ 0 h 97"/>
                <a:gd name="T2" fmla="*/ 953 w 953"/>
                <a:gd name="T3" fmla="*/ 23 h 97"/>
                <a:gd name="T4" fmla="*/ 241 w 953"/>
                <a:gd name="T5" fmla="*/ 97 h 97"/>
                <a:gd name="T6" fmla="*/ 0 w 953"/>
                <a:gd name="T7" fmla="*/ 63 h 97"/>
                <a:gd name="T8" fmla="*/ 559 w 953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3" h="97">
                  <a:moveTo>
                    <a:pt x="559" y="0"/>
                  </a:moveTo>
                  <a:lnTo>
                    <a:pt x="953" y="23"/>
                  </a:lnTo>
                  <a:lnTo>
                    <a:pt x="241" y="97"/>
                  </a:lnTo>
                  <a:lnTo>
                    <a:pt x="0" y="63"/>
                  </a:lnTo>
                  <a:lnTo>
                    <a:pt x="559" y="0"/>
                  </a:lnTo>
                  <a:close/>
                </a:path>
              </a:pathLst>
            </a:custGeom>
            <a:solidFill>
              <a:srgbClr val="4A4A4C"/>
            </a:solidFill>
            <a:ln w="0">
              <a:solidFill>
                <a:srgbClr val="4A4A4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25" name="Freeform 13"/>
            <p:cNvSpPr>
              <a:spLocks/>
            </p:cNvSpPr>
            <p:nvPr/>
          </p:nvSpPr>
          <p:spPr bwMode="auto">
            <a:xfrm>
              <a:off x="239753" y="1725723"/>
              <a:ext cx="3428902" cy="4291217"/>
            </a:xfrm>
            <a:custGeom>
              <a:avLst/>
              <a:gdLst>
                <a:gd name="T0" fmla="*/ 2338 w 2692"/>
                <a:gd name="T1" fmla="*/ 0 h 3369"/>
                <a:gd name="T2" fmla="*/ 2692 w 2692"/>
                <a:gd name="T3" fmla="*/ 3104 h 3369"/>
                <a:gd name="T4" fmla="*/ 354 w 2692"/>
                <a:gd name="T5" fmla="*/ 3369 h 3369"/>
                <a:gd name="T6" fmla="*/ 0 w 2692"/>
                <a:gd name="T7" fmla="*/ 266 h 3369"/>
                <a:gd name="T8" fmla="*/ 2338 w 2692"/>
                <a:gd name="T9" fmla="*/ 0 h 3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92" h="3369">
                  <a:moveTo>
                    <a:pt x="2338" y="0"/>
                  </a:moveTo>
                  <a:lnTo>
                    <a:pt x="2692" y="3104"/>
                  </a:lnTo>
                  <a:lnTo>
                    <a:pt x="354" y="3369"/>
                  </a:lnTo>
                  <a:lnTo>
                    <a:pt x="0" y="266"/>
                  </a:lnTo>
                  <a:lnTo>
                    <a:pt x="2338" y="0"/>
                  </a:lnTo>
                  <a:close/>
                </a:path>
              </a:pathLst>
            </a:custGeom>
            <a:solidFill>
              <a:srgbClr val="7F7F7F"/>
            </a:solidFill>
            <a:ln w="0">
              <a:solidFill>
                <a:srgbClr val="7F7F7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26" name="Freeform 14"/>
            <p:cNvSpPr>
              <a:spLocks/>
            </p:cNvSpPr>
            <p:nvPr/>
          </p:nvSpPr>
          <p:spPr bwMode="auto">
            <a:xfrm>
              <a:off x="3342578" y="5783845"/>
              <a:ext cx="235642" cy="122279"/>
            </a:xfrm>
            <a:custGeom>
              <a:avLst/>
              <a:gdLst>
                <a:gd name="T0" fmla="*/ 185 w 185"/>
                <a:gd name="T1" fmla="*/ 0 h 96"/>
                <a:gd name="T2" fmla="*/ 180 w 185"/>
                <a:gd name="T3" fmla="*/ 96 h 96"/>
                <a:gd name="T4" fmla="*/ 0 w 185"/>
                <a:gd name="T5" fmla="*/ 85 h 96"/>
                <a:gd name="T6" fmla="*/ 4 w 185"/>
                <a:gd name="T7" fmla="*/ 20 h 96"/>
                <a:gd name="T8" fmla="*/ 59 w 185"/>
                <a:gd name="T9" fmla="*/ 13 h 96"/>
                <a:gd name="T10" fmla="*/ 163 w 185"/>
                <a:gd name="T11" fmla="*/ 19 h 96"/>
                <a:gd name="T12" fmla="*/ 163 w 185"/>
                <a:gd name="T13" fmla="*/ 3 h 96"/>
                <a:gd name="T14" fmla="*/ 185 w 185"/>
                <a:gd name="T15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" h="96">
                  <a:moveTo>
                    <a:pt x="185" y="0"/>
                  </a:moveTo>
                  <a:lnTo>
                    <a:pt x="180" y="96"/>
                  </a:lnTo>
                  <a:lnTo>
                    <a:pt x="0" y="85"/>
                  </a:lnTo>
                  <a:lnTo>
                    <a:pt x="4" y="20"/>
                  </a:lnTo>
                  <a:lnTo>
                    <a:pt x="59" y="13"/>
                  </a:lnTo>
                  <a:lnTo>
                    <a:pt x="163" y="19"/>
                  </a:lnTo>
                  <a:lnTo>
                    <a:pt x="163" y="3"/>
                  </a:lnTo>
                  <a:lnTo>
                    <a:pt x="185" y="0"/>
                  </a:lnTo>
                  <a:close/>
                </a:path>
              </a:pathLst>
            </a:custGeom>
            <a:solidFill>
              <a:sysClr val="window" lastClr="FFFFFF">
                <a:lumMod val="65000"/>
              </a:sysClr>
            </a:solidFill>
            <a:ln w="0">
              <a:solidFill>
                <a:srgbClr val="9D9D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27" name="Freeform 15"/>
            <p:cNvSpPr>
              <a:spLocks/>
            </p:cNvSpPr>
            <p:nvPr/>
          </p:nvSpPr>
          <p:spPr bwMode="auto">
            <a:xfrm>
              <a:off x="2834356" y="5809320"/>
              <a:ext cx="513317" cy="82793"/>
            </a:xfrm>
            <a:custGeom>
              <a:avLst/>
              <a:gdLst>
                <a:gd name="T0" fmla="*/ 403 w 403"/>
                <a:gd name="T1" fmla="*/ 0 h 65"/>
                <a:gd name="T2" fmla="*/ 399 w 403"/>
                <a:gd name="T3" fmla="*/ 65 h 65"/>
                <a:gd name="T4" fmla="*/ 0 w 403"/>
                <a:gd name="T5" fmla="*/ 40 h 65"/>
                <a:gd name="T6" fmla="*/ 403 w 403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3" h="65">
                  <a:moveTo>
                    <a:pt x="403" y="0"/>
                  </a:moveTo>
                  <a:lnTo>
                    <a:pt x="399" y="65"/>
                  </a:lnTo>
                  <a:lnTo>
                    <a:pt x="0" y="40"/>
                  </a:lnTo>
                  <a:lnTo>
                    <a:pt x="403" y="0"/>
                  </a:lnTo>
                  <a:close/>
                </a:path>
              </a:pathLst>
            </a:custGeom>
            <a:solidFill>
              <a:srgbClr val="4A4A4C"/>
            </a:solidFill>
            <a:ln w="0">
              <a:solidFill>
                <a:srgbClr val="4A4A4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28" name="Freeform 16"/>
            <p:cNvSpPr>
              <a:spLocks noEditPoints="1"/>
            </p:cNvSpPr>
            <p:nvPr/>
          </p:nvSpPr>
          <p:spPr bwMode="auto">
            <a:xfrm>
              <a:off x="3347673" y="5687041"/>
              <a:ext cx="236915" cy="122279"/>
            </a:xfrm>
            <a:custGeom>
              <a:avLst/>
              <a:gdLst>
                <a:gd name="T0" fmla="*/ 0 w 186"/>
                <a:gd name="T1" fmla="*/ 87 h 96"/>
                <a:gd name="T2" fmla="*/ 55 w 186"/>
                <a:gd name="T3" fmla="*/ 89 h 96"/>
                <a:gd name="T4" fmla="*/ 0 w 186"/>
                <a:gd name="T5" fmla="*/ 96 h 96"/>
                <a:gd name="T6" fmla="*/ 0 w 186"/>
                <a:gd name="T7" fmla="*/ 87 h 96"/>
                <a:gd name="T8" fmla="*/ 186 w 186"/>
                <a:gd name="T9" fmla="*/ 0 h 96"/>
                <a:gd name="T10" fmla="*/ 181 w 186"/>
                <a:gd name="T11" fmla="*/ 76 h 96"/>
                <a:gd name="T12" fmla="*/ 159 w 186"/>
                <a:gd name="T13" fmla="*/ 79 h 96"/>
                <a:gd name="T14" fmla="*/ 163 w 186"/>
                <a:gd name="T15" fmla="*/ 3 h 96"/>
                <a:gd name="T16" fmla="*/ 186 w 186"/>
                <a:gd name="T17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6" h="96">
                  <a:moveTo>
                    <a:pt x="0" y="87"/>
                  </a:moveTo>
                  <a:lnTo>
                    <a:pt x="55" y="89"/>
                  </a:lnTo>
                  <a:lnTo>
                    <a:pt x="0" y="96"/>
                  </a:lnTo>
                  <a:lnTo>
                    <a:pt x="0" y="87"/>
                  </a:lnTo>
                  <a:close/>
                  <a:moveTo>
                    <a:pt x="186" y="0"/>
                  </a:moveTo>
                  <a:lnTo>
                    <a:pt x="181" y="76"/>
                  </a:lnTo>
                  <a:lnTo>
                    <a:pt x="159" y="79"/>
                  </a:lnTo>
                  <a:lnTo>
                    <a:pt x="163" y="3"/>
                  </a:lnTo>
                  <a:lnTo>
                    <a:pt x="186" y="0"/>
                  </a:lnTo>
                  <a:close/>
                </a:path>
              </a:pathLst>
            </a:custGeom>
            <a:solidFill>
              <a:srgbClr val="023160"/>
            </a:solidFill>
            <a:ln w="0">
              <a:solidFill>
                <a:srgbClr val="02316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29" name="Freeform 17"/>
            <p:cNvSpPr>
              <a:spLocks/>
            </p:cNvSpPr>
            <p:nvPr/>
          </p:nvSpPr>
          <p:spPr bwMode="auto">
            <a:xfrm>
              <a:off x="2332503" y="5772382"/>
              <a:ext cx="1015169" cy="87888"/>
            </a:xfrm>
            <a:custGeom>
              <a:avLst/>
              <a:gdLst>
                <a:gd name="T0" fmla="*/ 399 w 797"/>
                <a:gd name="T1" fmla="*/ 0 h 69"/>
                <a:gd name="T2" fmla="*/ 797 w 797"/>
                <a:gd name="T3" fmla="*/ 20 h 69"/>
                <a:gd name="T4" fmla="*/ 797 w 797"/>
                <a:gd name="T5" fmla="*/ 29 h 69"/>
                <a:gd name="T6" fmla="*/ 394 w 797"/>
                <a:gd name="T7" fmla="*/ 69 h 69"/>
                <a:gd name="T8" fmla="*/ 0 w 797"/>
                <a:gd name="T9" fmla="*/ 46 h 69"/>
                <a:gd name="T10" fmla="*/ 399 w 797"/>
                <a:gd name="T1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7" h="69">
                  <a:moveTo>
                    <a:pt x="399" y="0"/>
                  </a:moveTo>
                  <a:lnTo>
                    <a:pt x="797" y="20"/>
                  </a:lnTo>
                  <a:lnTo>
                    <a:pt x="797" y="29"/>
                  </a:lnTo>
                  <a:lnTo>
                    <a:pt x="394" y="69"/>
                  </a:lnTo>
                  <a:lnTo>
                    <a:pt x="0" y="46"/>
                  </a:lnTo>
                  <a:lnTo>
                    <a:pt x="399" y="0"/>
                  </a:lnTo>
                  <a:close/>
                </a:path>
              </a:pathLst>
            </a:custGeom>
            <a:solidFill>
              <a:srgbClr val="26867C"/>
            </a:solidFill>
            <a:ln w="0">
              <a:solidFill>
                <a:srgbClr val="148BA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30" name="Freeform 18"/>
            <p:cNvSpPr>
              <a:spLocks noEditPoints="1"/>
            </p:cNvSpPr>
            <p:nvPr/>
          </p:nvSpPr>
          <p:spPr bwMode="auto">
            <a:xfrm>
              <a:off x="579841" y="1946079"/>
              <a:ext cx="3230199" cy="3782997"/>
            </a:xfrm>
            <a:custGeom>
              <a:avLst/>
              <a:gdLst>
                <a:gd name="T0" fmla="*/ 3 w 2536"/>
                <a:gd name="T1" fmla="*/ 2916 h 2970"/>
                <a:gd name="T2" fmla="*/ 55 w 2536"/>
                <a:gd name="T3" fmla="*/ 2919 h 2970"/>
                <a:gd name="T4" fmla="*/ 60 w 2536"/>
                <a:gd name="T5" fmla="*/ 2970 h 2970"/>
                <a:gd name="T6" fmla="*/ 0 w 2536"/>
                <a:gd name="T7" fmla="*/ 2966 h 2970"/>
                <a:gd name="T8" fmla="*/ 3 w 2536"/>
                <a:gd name="T9" fmla="*/ 2916 h 2970"/>
                <a:gd name="T10" fmla="*/ 2481 w 2536"/>
                <a:gd name="T11" fmla="*/ 0 h 2970"/>
                <a:gd name="T12" fmla="*/ 2536 w 2536"/>
                <a:gd name="T13" fmla="*/ 2 h 2970"/>
                <a:gd name="T14" fmla="*/ 2528 w 2536"/>
                <a:gd name="T15" fmla="*/ 153 h 2970"/>
                <a:gd name="T16" fmla="*/ 2474 w 2536"/>
                <a:gd name="T17" fmla="*/ 150 h 2970"/>
                <a:gd name="T18" fmla="*/ 2481 w 2536"/>
                <a:gd name="T19" fmla="*/ 0 h 29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6" h="2970">
                  <a:moveTo>
                    <a:pt x="3" y="2916"/>
                  </a:moveTo>
                  <a:lnTo>
                    <a:pt x="55" y="2919"/>
                  </a:lnTo>
                  <a:lnTo>
                    <a:pt x="60" y="2970"/>
                  </a:lnTo>
                  <a:lnTo>
                    <a:pt x="0" y="2966"/>
                  </a:lnTo>
                  <a:lnTo>
                    <a:pt x="3" y="2916"/>
                  </a:lnTo>
                  <a:close/>
                  <a:moveTo>
                    <a:pt x="2481" y="0"/>
                  </a:moveTo>
                  <a:lnTo>
                    <a:pt x="2536" y="2"/>
                  </a:lnTo>
                  <a:lnTo>
                    <a:pt x="2528" y="153"/>
                  </a:lnTo>
                  <a:lnTo>
                    <a:pt x="2474" y="150"/>
                  </a:lnTo>
                  <a:lnTo>
                    <a:pt x="2481" y="0"/>
                  </a:lnTo>
                  <a:close/>
                </a:path>
              </a:pathLst>
            </a:custGeom>
            <a:solidFill>
              <a:srgbClr val="26867C"/>
            </a:solidFill>
            <a:ln w="0">
              <a:solidFill>
                <a:srgbClr val="148BA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31" name="Freeform 19"/>
            <p:cNvSpPr>
              <a:spLocks/>
            </p:cNvSpPr>
            <p:nvPr/>
          </p:nvSpPr>
          <p:spPr bwMode="auto">
            <a:xfrm>
              <a:off x="3601146" y="2137140"/>
              <a:ext cx="198703" cy="2864633"/>
            </a:xfrm>
            <a:custGeom>
              <a:avLst/>
              <a:gdLst>
                <a:gd name="T0" fmla="*/ 102 w 156"/>
                <a:gd name="T1" fmla="*/ 0 h 2249"/>
                <a:gd name="T2" fmla="*/ 156 w 156"/>
                <a:gd name="T3" fmla="*/ 3 h 2249"/>
                <a:gd name="T4" fmla="*/ 19 w 156"/>
                <a:gd name="T5" fmla="*/ 2249 h 2249"/>
                <a:gd name="T6" fmla="*/ 0 w 156"/>
                <a:gd name="T7" fmla="*/ 2062 h 2249"/>
                <a:gd name="T8" fmla="*/ 102 w 156"/>
                <a:gd name="T9" fmla="*/ 0 h 2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2249">
                  <a:moveTo>
                    <a:pt x="102" y="0"/>
                  </a:moveTo>
                  <a:lnTo>
                    <a:pt x="156" y="3"/>
                  </a:lnTo>
                  <a:lnTo>
                    <a:pt x="19" y="2249"/>
                  </a:lnTo>
                  <a:lnTo>
                    <a:pt x="0" y="2062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rgbClr val="26867C"/>
            </a:solidFill>
            <a:ln w="0">
              <a:solidFill>
                <a:srgbClr val="148BA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32" name="Freeform 20"/>
            <p:cNvSpPr>
              <a:spLocks/>
            </p:cNvSpPr>
            <p:nvPr/>
          </p:nvSpPr>
          <p:spPr bwMode="auto">
            <a:xfrm>
              <a:off x="3589683" y="4763583"/>
              <a:ext cx="35665" cy="438165"/>
            </a:xfrm>
            <a:custGeom>
              <a:avLst/>
              <a:gdLst>
                <a:gd name="T0" fmla="*/ 9 w 28"/>
                <a:gd name="T1" fmla="*/ 0 h 344"/>
                <a:gd name="T2" fmla="*/ 28 w 28"/>
                <a:gd name="T3" fmla="*/ 187 h 344"/>
                <a:gd name="T4" fmla="*/ 18 w 28"/>
                <a:gd name="T5" fmla="*/ 344 h 344"/>
                <a:gd name="T6" fmla="*/ 0 w 28"/>
                <a:gd name="T7" fmla="*/ 181 h 344"/>
                <a:gd name="T8" fmla="*/ 9 w 28"/>
                <a:gd name="T9" fmla="*/ 0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344">
                  <a:moveTo>
                    <a:pt x="9" y="0"/>
                  </a:moveTo>
                  <a:lnTo>
                    <a:pt x="28" y="187"/>
                  </a:lnTo>
                  <a:lnTo>
                    <a:pt x="18" y="344"/>
                  </a:lnTo>
                  <a:lnTo>
                    <a:pt x="0" y="181"/>
                  </a:lnTo>
                  <a:lnTo>
                    <a:pt x="9" y="0"/>
                  </a:lnTo>
                  <a:close/>
                </a:path>
              </a:pathLst>
            </a:custGeom>
            <a:solidFill>
              <a:sysClr val="window" lastClr="FFFFFF">
                <a:lumMod val="65000"/>
              </a:sysClr>
            </a:solidFill>
            <a:ln w="0">
              <a:solidFill>
                <a:srgbClr val="9D9D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33" name="Freeform 21"/>
            <p:cNvSpPr>
              <a:spLocks noEditPoints="1"/>
            </p:cNvSpPr>
            <p:nvPr/>
          </p:nvSpPr>
          <p:spPr bwMode="auto">
            <a:xfrm>
              <a:off x="649897" y="4994129"/>
              <a:ext cx="2962714" cy="836845"/>
            </a:xfrm>
            <a:custGeom>
              <a:avLst/>
              <a:gdLst>
                <a:gd name="T0" fmla="*/ 596 w 2326"/>
                <a:gd name="T1" fmla="*/ 556 h 657"/>
                <a:gd name="T2" fmla="*/ 1720 w 2326"/>
                <a:gd name="T3" fmla="*/ 611 h 657"/>
                <a:gd name="T4" fmla="*/ 1321 w 2326"/>
                <a:gd name="T5" fmla="*/ 657 h 657"/>
                <a:gd name="T6" fmla="*/ 579 w 2326"/>
                <a:gd name="T7" fmla="*/ 611 h 657"/>
                <a:gd name="T8" fmla="*/ 596 w 2326"/>
                <a:gd name="T9" fmla="*/ 556 h 657"/>
                <a:gd name="T10" fmla="*/ 0 w 2326"/>
                <a:gd name="T11" fmla="*/ 526 h 657"/>
                <a:gd name="T12" fmla="*/ 412 w 2326"/>
                <a:gd name="T13" fmla="*/ 547 h 657"/>
                <a:gd name="T14" fmla="*/ 395 w 2326"/>
                <a:gd name="T15" fmla="*/ 601 h 657"/>
                <a:gd name="T16" fmla="*/ 5 w 2326"/>
                <a:gd name="T17" fmla="*/ 577 h 657"/>
                <a:gd name="T18" fmla="*/ 0 w 2326"/>
                <a:gd name="T19" fmla="*/ 526 h 657"/>
                <a:gd name="T20" fmla="*/ 2308 w 2326"/>
                <a:gd name="T21" fmla="*/ 0 h 657"/>
                <a:gd name="T22" fmla="*/ 2326 w 2326"/>
                <a:gd name="T23" fmla="*/ 163 h 657"/>
                <a:gd name="T24" fmla="*/ 2304 w 2326"/>
                <a:gd name="T25" fmla="*/ 544 h 657"/>
                <a:gd name="T26" fmla="*/ 2281 w 2326"/>
                <a:gd name="T27" fmla="*/ 547 h 657"/>
                <a:gd name="T28" fmla="*/ 2308 w 2326"/>
                <a:gd name="T29" fmla="*/ 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26" h="657">
                  <a:moveTo>
                    <a:pt x="596" y="556"/>
                  </a:moveTo>
                  <a:lnTo>
                    <a:pt x="1720" y="611"/>
                  </a:lnTo>
                  <a:lnTo>
                    <a:pt x="1321" y="657"/>
                  </a:lnTo>
                  <a:lnTo>
                    <a:pt x="579" y="611"/>
                  </a:lnTo>
                  <a:lnTo>
                    <a:pt x="596" y="556"/>
                  </a:lnTo>
                  <a:close/>
                  <a:moveTo>
                    <a:pt x="0" y="526"/>
                  </a:moveTo>
                  <a:lnTo>
                    <a:pt x="412" y="547"/>
                  </a:lnTo>
                  <a:lnTo>
                    <a:pt x="395" y="601"/>
                  </a:lnTo>
                  <a:lnTo>
                    <a:pt x="5" y="577"/>
                  </a:lnTo>
                  <a:lnTo>
                    <a:pt x="0" y="526"/>
                  </a:lnTo>
                  <a:close/>
                  <a:moveTo>
                    <a:pt x="2308" y="0"/>
                  </a:moveTo>
                  <a:lnTo>
                    <a:pt x="2326" y="163"/>
                  </a:lnTo>
                  <a:lnTo>
                    <a:pt x="2304" y="544"/>
                  </a:lnTo>
                  <a:lnTo>
                    <a:pt x="2281" y="547"/>
                  </a:lnTo>
                  <a:lnTo>
                    <a:pt x="2308" y="0"/>
                  </a:lnTo>
                  <a:close/>
                </a:path>
              </a:pathLst>
            </a:custGeom>
            <a:solidFill>
              <a:srgbClr val="D9D8D8"/>
            </a:solidFill>
            <a:ln w="0">
              <a:solidFill>
                <a:srgbClr val="D9D8D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34" name="Freeform 33"/>
            <p:cNvSpPr>
              <a:spLocks noEditPoints="1"/>
            </p:cNvSpPr>
            <p:nvPr/>
          </p:nvSpPr>
          <p:spPr bwMode="auto">
            <a:xfrm>
              <a:off x="497048" y="1730817"/>
              <a:ext cx="3092635" cy="3893811"/>
            </a:xfrm>
            <a:custGeom>
              <a:avLst/>
              <a:gdLst>
                <a:gd name="T0" fmla="*/ 13 w 2428"/>
                <a:gd name="T1" fmla="*/ 2520 h 3057"/>
                <a:gd name="T2" fmla="*/ 13 w 2428"/>
                <a:gd name="T3" fmla="*/ 3029 h 3057"/>
                <a:gd name="T4" fmla="*/ 49 w 2428"/>
                <a:gd name="T5" fmla="*/ 3029 h 3057"/>
                <a:gd name="T6" fmla="*/ 48 w 2428"/>
                <a:gd name="T7" fmla="*/ 3057 h 3057"/>
                <a:gd name="T8" fmla="*/ 0 w 2428"/>
                <a:gd name="T9" fmla="*/ 3055 h 3057"/>
                <a:gd name="T10" fmla="*/ 13 w 2428"/>
                <a:gd name="T11" fmla="*/ 2520 h 3057"/>
                <a:gd name="T12" fmla="*/ 2365 w 2428"/>
                <a:gd name="T13" fmla="*/ 0 h 3057"/>
                <a:gd name="T14" fmla="*/ 2428 w 2428"/>
                <a:gd name="T15" fmla="*/ 1 h 3057"/>
                <a:gd name="T16" fmla="*/ 2425 w 2428"/>
                <a:gd name="T17" fmla="*/ 74 h 3057"/>
                <a:gd name="T18" fmla="*/ 2365 w 2428"/>
                <a:gd name="T19" fmla="*/ 72 h 3057"/>
                <a:gd name="T20" fmla="*/ 2365 w 2428"/>
                <a:gd name="T21" fmla="*/ 0 h 30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28" h="3057">
                  <a:moveTo>
                    <a:pt x="13" y="2520"/>
                  </a:moveTo>
                  <a:lnTo>
                    <a:pt x="13" y="3029"/>
                  </a:lnTo>
                  <a:lnTo>
                    <a:pt x="49" y="3029"/>
                  </a:lnTo>
                  <a:lnTo>
                    <a:pt x="48" y="3057"/>
                  </a:lnTo>
                  <a:lnTo>
                    <a:pt x="0" y="3055"/>
                  </a:lnTo>
                  <a:lnTo>
                    <a:pt x="13" y="2520"/>
                  </a:lnTo>
                  <a:close/>
                  <a:moveTo>
                    <a:pt x="2365" y="0"/>
                  </a:moveTo>
                  <a:lnTo>
                    <a:pt x="2428" y="1"/>
                  </a:lnTo>
                  <a:lnTo>
                    <a:pt x="2425" y="74"/>
                  </a:lnTo>
                  <a:lnTo>
                    <a:pt x="2365" y="72"/>
                  </a:lnTo>
                  <a:lnTo>
                    <a:pt x="2365" y="0"/>
                  </a:lnTo>
                  <a:close/>
                </a:path>
              </a:pathLst>
            </a:custGeom>
            <a:solidFill>
              <a:srgbClr val="4A4A4C"/>
            </a:solidFill>
            <a:ln w="0">
              <a:solidFill>
                <a:srgbClr val="4A4A4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35" name="Freeform 40"/>
            <p:cNvSpPr>
              <a:spLocks/>
            </p:cNvSpPr>
            <p:nvPr/>
          </p:nvSpPr>
          <p:spPr bwMode="auto">
            <a:xfrm>
              <a:off x="1044755" y="5944336"/>
              <a:ext cx="290412" cy="99351"/>
            </a:xfrm>
            <a:custGeom>
              <a:avLst/>
              <a:gdLst>
                <a:gd name="T0" fmla="*/ 228 w 228"/>
                <a:gd name="T1" fmla="*/ 0 h 78"/>
                <a:gd name="T2" fmla="*/ 210 w 228"/>
                <a:gd name="T3" fmla="*/ 57 h 78"/>
                <a:gd name="T4" fmla="*/ 0 w 228"/>
                <a:gd name="T5" fmla="*/ 78 h 78"/>
                <a:gd name="T6" fmla="*/ 15 w 228"/>
                <a:gd name="T7" fmla="*/ 31 h 78"/>
                <a:gd name="T8" fmla="*/ 30 w 228"/>
                <a:gd name="T9" fmla="*/ 37 h 78"/>
                <a:gd name="T10" fmla="*/ 34 w 228"/>
                <a:gd name="T11" fmla="*/ 22 h 78"/>
                <a:gd name="T12" fmla="*/ 228 w 228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8" h="78">
                  <a:moveTo>
                    <a:pt x="228" y="0"/>
                  </a:moveTo>
                  <a:lnTo>
                    <a:pt x="210" y="57"/>
                  </a:lnTo>
                  <a:lnTo>
                    <a:pt x="0" y="78"/>
                  </a:lnTo>
                  <a:lnTo>
                    <a:pt x="15" y="31"/>
                  </a:lnTo>
                  <a:lnTo>
                    <a:pt x="30" y="37"/>
                  </a:lnTo>
                  <a:lnTo>
                    <a:pt x="34" y="22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rgbClr val="148BA2"/>
            </a:solidFill>
            <a:ln w="0">
              <a:solidFill>
                <a:srgbClr val="148BA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grpSp>
          <p:nvGrpSpPr>
            <p:cNvPr id="36" name="Group 35"/>
            <p:cNvGrpSpPr/>
            <p:nvPr/>
          </p:nvGrpSpPr>
          <p:grpSpPr>
            <a:xfrm>
              <a:off x="556913" y="1684963"/>
              <a:ext cx="3189439" cy="4123084"/>
              <a:chOff x="4340225" y="533400"/>
              <a:chExt cx="3975100" cy="5138738"/>
            </a:xfrm>
          </p:grpSpPr>
          <p:sp>
            <p:nvSpPr>
              <p:cNvPr id="73" name="Freeform 22"/>
              <p:cNvSpPr>
                <a:spLocks/>
              </p:cNvSpPr>
              <p:nvPr/>
            </p:nvSpPr>
            <p:spPr bwMode="auto">
              <a:xfrm>
                <a:off x="4340225" y="533400"/>
                <a:ext cx="3975100" cy="5138738"/>
              </a:xfrm>
              <a:custGeom>
                <a:avLst/>
                <a:gdLst>
                  <a:gd name="T0" fmla="*/ 153 w 2504"/>
                  <a:gd name="T1" fmla="*/ 0 h 3237"/>
                  <a:gd name="T2" fmla="*/ 2504 w 2504"/>
                  <a:gd name="T3" fmla="*/ 117 h 3237"/>
                  <a:gd name="T4" fmla="*/ 2350 w 2504"/>
                  <a:gd name="T5" fmla="*/ 3237 h 3237"/>
                  <a:gd name="T6" fmla="*/ 0 w 2504"/>
                  <a:gd name="T7" fmla="*/ 3120 h 3237"/>
                  <a:gd name="T8" fmla="*/ 153 w 2504"/>
                  <a:gd name="T9" fmla="*/ 0 h 3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04" h="3237">
                    <a:moveTo>
                      <a:pt x="153" y="0"/>
                    </a:moveTo>
                    <a:lnTo>
                      <a:pt x="2504" y="117"/>
                    </a:lnTo>
                    <a:lnTo>
                      <a:pt x="2350" y="3237"/>
                    </a:lnTo>
                    <a:lnTo>
                      <a:pt x="0" y="3120"/>
                    </a:lnTo>
                    <a:lnTo>
                      <a:pt x="153" y="0"/>
                    </a:lnTo>
                    <a:close/>
                  </a:path>
                </a:pathLst>
              </a:custGeom>
              <a:solidFill>
                <a:srgbClr val="F2F0F0"/>
              </a:solidFill>
              <a:ln w="0">
                <a:solidFill>
                  <a:srgbClr val="F2F0F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74" name="Freeform 42"/>
              <p:cNvSpPr>
                <a:spLocks/>
              </p:cNvSpPr>
              <p:nvPr/>
            </p:nvSpPr>
            <p:spPr bwMode="auto">
              <a:xfrm>
                <a:off x="5083175" y="5526088"/>
                <a:ext cx="319088" cy="101600"/>
              </a:xfrm>
              <a:custGeom>
                <a:avLst/>
                <a:gdLst>
                  <a:gd name="T0" fmla="*/ 17 w 201"/>
                  <a:gd name="T1" fmla="*/ 0 h 64"/>
                  <a:gd name="T2" fmla="*/ 201 w 201"/>
                  <a:gd name="T3" fmla="*/ 9 h 64"/>
                  <a:gd name="T4" fmla="*/ 184 w 201"/>
                  <a:gd name="T5" fmla="*/ 64 h 64"/>
                  <a:gd name="T6" fmla="*/ 0 w 201"/>
                  <a:gd name="T7" fmla="*/ 54 h 64"/>
                  <a:gd name="T8" fmla="*/ 17 w 201"/>
                  <a:gd name="T9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1" h="64">
                    <a:moveTo>
                      <a:pt x="17" y="0"/>
                    </a:moveTo>
                    <a:lnTo>
                      <a:pt x="201" y="9"/>
                    </a:lnTo>
                    <a:lnTo>
                      <a:pt x="184" y="64"/>
                    </a:lnTo>
                    <a:lnTo>
                      <a:pt x="0" y="54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D9D8D8"/>
              </a:solidFill>
              <a:ln w="0">
                <a:solidFill>
                  <a:srgbClr val="D9D8D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</p:grpSp>
        <p:grpSp>
          <p:nvGrpSpPr>
            <p:cNvPr id="37" name="Group 36"/>
            <p:cNvGrpSpPr/>
            <p:nvPr/>
          </p:nvGrpSpPr>
          <p:grpSpPr>
            <a:xfrm>
              <a:off x="558187" y="1822526"/>
              <a:ext cx="3027675" cy="3873431"/>
              <a:chOff x="4341813" y="704850"/>
              <a:chExt cx="3773488" cy="4827588"/>
            </a:xfrm>
          </p:grpSpPr>
          <p:sp>
            <p:nvSpPr>
              <p:cNvPr id="71" name="Freeform 24"/>
              <p:cNvSpPr>
                <a:spLocks noEditPoints="1"/>
              </p:cNvSpPr>
              <p:nvPr/>
            </p:nvSpPr>
            <p:spPr bwMode="auto">
              <a:xfrm>
                <a:off x="4341813" y="704850"/>
                <a:ext cx="3773488" cy="4827588"/>
              </a:xfrm>
              <a:custGeom>
                <a:avLst/>
                <a:gdLst>
                  <a:gd name="T0" fmla="*/ 694 w 2377"/>
                  <a:gd name="T1" fmla="*/ 2957 h 3041"/>
                  <a:gd name="T2" fmla="*/ 2305 w 2377"/>
                  <a:gd name="T3" fmla="*/ 2957 h 3041"/>
                  <a:gd name="T4" fmla="*/ 2304 w 2377"/>
                  <a:gd name="T5" fmla="*/ 3041 h 3041"/>
                  <a:gd name="T6" fmla="*/ 681 w 2377"/>
                  <a:gd name="T7" fmla="*/ 3000 h 3041"/>
                  <a:gd name="T8" fmla="*/ 694 w 2377"/>
                  <a:gd name="T9" fmla="*/ 2957 h 3041"/>
                  <a:gd name="T10" fmla="*/ 1 w 2377"/>
                  <a:gd name="T11" fmla="*/ 2957 h 3041"/>
                  <a:gd name="T12" fmla="*/ 508 w 2377"/>
                  <a:gd name="T13" fmla="*/ 2957 h 3041"/>
                  <a:gd name="T14" fmla="*/ 496 w 2377"/>
                  <a:gd name="T15" fmla="*/ 2996 h 3041"/>
                  <a:gd name="T16" fmla="*/ 0 w 2377"/>
                  <a:gd name="T17" fmla="*/ 2985 h 3041"/>
                  <a:gd name="T18" fmla="*/ 1 w 2377"/>
                  <a:gd name="T19" fmla="*/ 2957 h 3041"/>
                  <a:gd name="T20" fmla="*/ 2317 w 2377"/>
                  <a:gd name="T21" fmla="*/ 0 h 3041"/>
                  <a:gd name="T22" fmla="*/ 2377 w 2377"/>
                  <a:gd name="T23" fmla="*/ 2 h 3041"/>
                  <a:gd name="T24" fmla="*/ 2317 w 2377"/>
                  <a:gd name="T25" fmla="*/ 2477 h 3041"/>
                  <a:gd name="T26" fmla="*/ 2317 w 2377"/>
                  <a:gd name="T27" fmla="*/ 0 h 30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77" h="3041">
                    <a:moveTo>
                      <a:pt x="694" y="2957"/>
                    </a:moveTo>
                    <a:lnTo>
                      <a:pt x="2305" y="2957"/>
                    </a:lnTo>
                    <a:lnTo>
                      <a:pt x="2304" y="3041"/>
                    </a:lnTo>
                    <a:lnTo>
                      <a:pt x="681" y="3000"/>
                    </a:lnTo>
                    <a:lnTo>
                      <a:pt x="694" y="2957"/>
                    </a:lnTo>
                    <a:close/>
                    <a:moveTo>
                      <a:pt x="1" y="2957"/>
                    </a:moveTo>
                    <a:lnTo>
                      <a:pt x="508" y="2957"/>
                    </a:lnTo>
                    <a:lnTo>
                      <a:pt x="496" y="2996"/>
                    </a:lnTo>
                    <a:lnTo>
                      <a:pt x="0" y="2985"/>
                    </a:lnTo>
                    <a:lnTo>
                      <a:pt x="1" y="2957"/>
                    </a:lnTo>
                    <a:close/>
                    <a:moveTo>
                      <a:pt x="2317" y="0"/>
                    </a:moveTo>
                    <a:lnTo>
                      <a:pt x="2377" y="2"/>
                    </a:lnTo>
                    <a:lnTo>
                      <a:pt x="2317" y="2477"/>
                    </a:lnTo>
                    <a:lnTo>
                      <a:pt x="2317" y="0"/>
                    </a:lnTo>
                    <a:close/>
                  </a:path>
                </a:pathLst>
              </a:custGeom>
              <a:solidFill>
                <a:srgbClr val="D9D8D8"/>
              </a:solidFill>
              <a:ln w="0">
                <a:solidFill>
                  <a:srgbClr val="D9D8D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72" name="Freeform 44"/>
              <p:cNvSpPr>
                <a:spLocks/>
              </p:cNvSpPr>
              <p:nvPr/>
            </p:nvSpPr>
            <p:spPr bwMode="auto">
              <a:xfrm>
                <a:off x="5129213" y="5399088"/>
                <a:ext cx="314325" cy="68263"/>
              </a:xfrm>
              <a:custGeom>
                <a:avLst/>
                <a:gdLst>
                  <a:gd name="T0" fmla="*/ 12 w 198"/>
                  <a:gd name="T1" fmla="*/ 0 h 43"/>
                  <a:gd name="T2" fmla="*/ 198 w 198"/>
                  <a:gd name="T3" fmla="*/ 0 h 43"/>
                  <a:gd name="T4" fmla="*/ 185 w 198"/>
                  <a:gd name="T5" fmla="*/ 43 h 43"/>
                  <a:gd name="T6" fmla="*/ 0 w 198"/>
                  <a:gd name="T7" fmla="*/ 39 h 43"/>
                  <a:gd name="T8" fmla="*/ 12 w 198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43">
                    <a:moveTo>
                      <a:pt x="12" y="0"/>
                    </a:moveTo>
                    <a:lnTo>
                      <a:pt x="198" y="0"/>
                    </a:lnTo>
                    <a:lnTo>
                      <a:pt x="185" y="43"/>
                    </a:lnTo>
                    <a:lnTo>
                      <a:pt x="0" y="39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D9D8D8"/>
              </a:solidFill>
              <a:ln w="0">
                <a:solidFill>
                  <a:srgbClr val="D9D8D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</p:grpSp>
        <p:grpSp>
          <p:nvGrpSpPr>
            <p:cNvPr id="38" name="Group 37"/>
            <p:cNvGrpSpPr/>
            <p:nvPr/>
          </p:nvGrpSpPr>
          <p:grpSpPr>
            <a:xfrm>
              <a:off x="513606" y="1611086"/>
              <a:ext cx="2995831" cy="3977878"/>
              <a:chOff x="4286250" y="441325"/>
              <a:chExt cx="3733800" cy="4957763"/>
            </a:xfrm>
          </p:grpSpPr>
          <p:sp>
            <p:nvSpPr>
              <p:cNvPr id="50" name="Rectangle 49"/>
              <p:cNvSpPr>
                <a:spLocks noChangeArrowheads="1"/>
              </p:cNvSpPr>
              <p:nvPr/>
            </p:nvSpPr>
            <p:spPr bwMode="auto">
              <a:xfrm>
                <a:off x="4286250" y="441325"/>
                <a:ext cx="3733800" cy="4957763"/>
              </a:xfrm>
              <a:prstGeom prst="rect">
                <a:avLst/>
              </a:pr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grpSp>
            <p:nvGrpSpPr>
              <p:cNvPr id="51" name="Group 50"/>
              <p:cNvGrpSpPr/>
              <p:nvPr/>
            </p:nvGrpSpPr>
            <p:grpSpPr>
              <a:xfrm>
                <a:off x="4610100" y="1789113"/>
                <a:ext cx="3059113" cy="3078162"/>
                <a:chOff x="4610100" y="1789113"/>
                <a:chExt cx="3059113" cy="3078162"/>
              </a:xfrm>
            </p:grpSpPr>
            <p:sp>
              <p:nvSpPr>
                <p:cNvPr id="52" name="Freeform 26"/>
                <p:cNvSpPr>
                  <a:spLocks noEditPoints="1"/>
                </p:cNvSpPr>
                <p:nvPr/>
              </p:nvSpPr>
              <p:spPr bwMode="auto">
                <a:xfrm>
                  <a:off x="4684713" y="4268788"/>
                  <a:ext cx="600075" cy="73025"/>
                </a:xfrm>
                <a:custGeom>
                  <a:avLst/>
                  <a:gdLst>
                    <a:gd name="T0" fmla="*/ 0 w 378"/>
                    <a:gd name="T1" fmla="*/ 40 h 46"/>
                    <a:gd name="T2" fmla="*/ 8 w 378"/>
                    <a:gd name="T3" fmla="*/ 46 h 46"/>
                    <a:gd name="T4" fmla="*/ 0 w 378"/>
                    <a:gd name="T5" fmla="*/ 46 h 46"/>
                    <a:gd name="T6" fmla="*/ 0 w 378"/>
                    <a:gd name="T7" fmla="*/ 40 h 46"/>
                    <a:gd name="T8" fmla="*/ 0 w 378"/>
                    <a:gd name="T9" fmla="*/ 0 h 46"/>
                    <a:gd name="T10" fmla="*/ 378 w 378"/>
                    <a:gd name="T11" fmla="*/ 0 h 46"/>
                    <a:gd name="T12" fmla="*/ 378 w 378"/>
                    <a:gd name="T13" fmla="*/ 46 h 46"/>
                    <a:gd name="T14" fmla="*/ 21 w 378"/>
                    <a:gd name="T15" fmla="*/ 46 h 46"/>
                    <a:gd name="T16" fmla="*/ 11 w 378"/>
                    <a:gd name="T17" fmla="*/ 39 h 46"/>
                    <a:gd name="T18" fmla="*/ 0 w 378"/>
                    <a:gd name="T19" fmla="*/ 33 h 46"/>
                    <a:gd name="T20" fmla="*/ 0 w 378"/>
                    <a:gd name="T21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78" h="46">
                      <a:moveTo>
                        <a:pt x="0" y="40"/>
                      </a:moveTo>
                      <a:lnTo>
                        <a:pt x="8" y="46"/>
                      </a:lnTo>
                      <a:lnTo>
                        <a:pt x="0" y="46"/>
                      </a:lnTo>
                      <a:lnTo>
                        <a:pt x="0" y="40"/>
                      </a:lnTo>
                      <a:close/>
                      <a:moveTo>
                        <a:pt x="0" y="0"/>
                      </a:moveTo>
                      <a:lnTo>
                        <a:pt x="378" y="0"/>
                      </a:lnTo>
                      <a:lnTo>
                        <a:pt x="378" y="46"/>
                      </a:lnTo>
                      <a:lnTo>
                        <a:pt x="21" y="46"/>
                      </a:lnTo>
                      <a:lnTo>
                        <a:pt x="11" y="39"/>
                      </a:lnTo>
                      <a:lnTo>
                        <a:pt x="0" y="3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818287"/>
                </a:solidFill>
                <a:ln w="0">
                  <a:solidFill>
                    <a:srgbClr val="818287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53" name="Freeform 27"/>
                <p:cNvSpPr>
                  <a:spLocks noEditPoints="1"/>
                </p:cNvSpPr>
                <p:nvPr/>
              </p:nvSpPr>
              <p:spPr bwMode="auto">
                <a:xfrm>
                  <a:off x="4652963" y="4310063"/>
                  <a:ext cx="974725" cy="365125"/>
                </a:xfrm>
                <a:custGeom>
                  <a:avLst/>
                  <a:gdLst>
                    <a:gd name="T0" fmla="*/ 82 w 614"/>
                    <a:gd name="T1" fmla="*/ 151 h 230"/>
                    <a:gd name="T2" fmla="*/ 90 w 614"/>
                    <a:gd name="T3" fmla="*/ 190 h 230"/>
                    <a:gd name="T4" fmla="*/ 154 w 614"/>
                    <a:gd name="T5" fmla="*/ 194 h 230"/>
                    <a:gd name="T6" fmla="*/ 97 w 614"/>
                    <a:gd name="T7" fmla="*/ 126 h 230"/>
                    <a:gd name="T8" fmla="*/ 288 w 614"/>
                    <a:gd name="T9" fmla="*/ 136 h 230"/>
                    <a:gd name="T10" fmla="*/ 113 w 614"/>
                    <a:gd name="T11" fmla="*/ 114 h 230"/>
                    <a:gd name="T12" fmla="*/ 118 w 614"/>
                    <a:gd name="T13" fmla="*/ 122 h 230"/>
                    <a:gd name="T14" fmla="*/ 37 w 614"/>
                    <a:gd name="T15" fmla="*/ 52 h 230"/>
                    <a:gd name="T16" fmla="*/ 97 w 614"/>
                    <a:gd name="T17" fmla="*/ 115 h 230"/>
                    <a:gd name="T18" fmla="*/ 50 w 614"/>
                    <a:gd name="T19" fmla="*/ 38 h 230"/>
                    <a:gd name="T20" fmla="*/ 3 w 614"/>
                    <a:gd name="T21" fmla="*/ 0 h 230"/>
                    <a:gd name="T22" fmla="*/ 66 w 614"/>
                    <a:gd name="T23" fmla="*/ 43 h 230"/>
                    <a:gd name="T24" fmla="*/ 126 w 614"/>
                    <a:gd name="T25" fmla="*/ 101 h 230"/>
                    <a:gd name="T26" fmla="*/ 189 w 614"/>
                    <a:gd name="T27" fmla="*/ 127 h 230"/>
                    <a:gd name="T28" fmla="*/ 223 w 614"/>
                    <a:gd name="T29" fmla="*/ 175 h 230"/>
                    <a:gd name="T30" fmla="*/ 262 w 614"/>
                    <a:gd name="T31" fmla="*/ 152 h 230"/>
                    <a:gd name="T32" fmla="*/ 265 w 614"/>
                    <a:gd name="T33" fmla="*/ 162 h 230"/>
                    <a:gd name="T34" fmla="*/ 274 w 614"/>
                    <a:gd name="T35" fmla="*/ 173 h 230"/>
                    <a:gd name="T36" fmla="*/ 290 w 614"/>
                    <a:gd name="T37" fmla="*/ 169 h 230"/>
                    <a:gd name="T38" fmla="*/ 226 w 614"/>
                    <a:gd name="T39" fmla="*/ 114 h 230"/>
                    <a:gd name="T40" fmla="*/ 227 w 614"/>
                    <a:gd name="T41" fmla="*/ 107 h 230"/>
                    <a:gd name="T42" fmla="*/ 282 w 614"/>
                    <a:gd name="T43" fmla="*/ 123 h 230"/>
                    <a:gd name="T44" fmla="*/ 306 w 614"/>
                    <a:gd name="T45" fmla="*/ 145 h 230"/>
                    <a:gd name="T46" fmla="*/ 326 w 614"/>
                    <a:gd name="T47" fmla="*/ 64 h 230"/>
                    <a:gd name="T48" fmla="*/ 345 w 614"/>
                    <a:gd name="T49" fmla="*/ 55 h 230"/>
                    <a:gd name="T50" fmla="*/ 350 w 614"/>
                    <a:gd name="T51" fmla="*/ 143 h 230"/>
                    <a:gd name="T52" fmla="*/ 370 w 614"/>
                    <a:gd name="T53" fmla="*/ 165 h 230"/>
                    <a:gd name="T54" fmla="*/ 406 w 614"/>
                    <a:gd name="T55" fmla="*/ 177 h 230"/>
                    <a:gd name="T56" fmla="*/ 412 w 614"/>
                    <a:gd name="T57" fmla="*/ 192 h 230"/>
                    <a:gd name="T58" fmla="*/ 400 w 614"/>
                    <a:gd name="T59" fmla="*/ 203 h 230"/>
                    <a:gd name="T60" fmla="*/ 371 w 614"/>
                    <a:gd name="T61" fmla="*/ 217 h 230"/>
                    <a:gd name="T62" fmla="*/ 469 w 614"/>
                    <a:gd name="T63" fmla="*/ 190 h 230"/>
                    <a:gd name="T64" fmla="*/ 613 w 614"/>
                    <a:gd name="T65" fmla="*/ 182 h 230"/>
                    <a:gd name="T66" fmla="*/ 613 w 614"/>
                    <a:gd name="T67" fmla="*/ 189 h 230"/>
                    <a:gd name="T68" fmla="*/ 464 w 614"/>
                    <a:gd name="T69" fmla="*/ 198 h 230"/>
                    <a:gd name="T70" fmla="*/ 367 w 614"/>
                    <a:gd name="T71" fmla="*/ 225 h 230"/>
                    <a:gd name="T72" fmla="*/ 346 w 614"/>
                    <a:gd name="T73" fmla="*/ 219 h 230"/>
                    <a:gd name="T74" fmla="*/ 395 w 614"/>
                    <a:gd name="T75" fmla="*/ 198 h 230"/>
                    <a:gd name="T76" fmla="*/ 404 w 614"/>
                    <a:gd name="T77" fmla="*/ 190 h 230"/>
                    <a:gd name="T78" fmla="*/ 385 w 614"/>
                    <a:gd name="T79" fmla="*/ 174 h 230"/>
                    <a:gd name="T80" fmla="*/ 363 w 614"/>
                    <a:gd name="T81" fmla="*/ 172 h 230"/>
                    <a:gd name="T82" fmla="*/ 341 w 614"/>
                    <a:gd name="T83" fmla="*/ 136 h 230"/>
                    <a:gd name="T84" fmla="*/ 330 w 614"/>
                    <a:gd name="T85" fmla="*/ 71 h 230"/>
                    <a:gd name="T86" fmla="*/ 312 w 614"/>
                    <a:gd name="T87" fmla="*/ 152 h 230"/>
                    <a:gd name="T88" fmla="*/ 303 w 614"/>
                    <a:gd name="T89" fmla="*/ 152 h 230"/>
                    <a:gd name="T90" fmla="*/ 282 w 614"/>
                    <a:gd name="T91" fmla="*/ 181 h 230"/>
                    <a:gd name="T92" fmla="*/ 257 w 614"/>
                    <a:gd name="T93" fmla="*/ 161 h 230"/>
                    <a:gd name="T94" fmla="*/ 205 w 614"/>
                    <a:gd name="T95" fmla="*/ 191 h 230"/>
                    <a:gd name="T96" fmla="*/ 193 w 614"/>
                    <a:gd name="T97" fmla="*/ 151 h 230"/>
                    <a:gd name="T98" fmla="*/ 143 w 614"/>
                    <a:gd name="T99" fmla="*/ 107 h 230"/>
                    <a:gd name="T100" fmla="*/ 146 w 614"/>
                    <a:gd name="T101" fmla="*/ 155 h 230"/>
                    <a:gd name="T102" fmla="*/ 190 w 614"/>
                    <a:gd name="T103" fmla="*/ 227 h 230"/>
                    <a:gd name="T104" fmla="*/ 185 w 614"/>
                    <a:gd name="T105" fmla="*/ 229 h 230"/>
                    <a:gd name="T106" fmla="*/ 162 w 614"/>
                    <a:gd name="T107" fmla="*/ 195 h 230"/>
                    <a:gd name="T108" fmla="*/ 156 w 614"/>
                    <a:gd name="T109" fmla="*/ 200 h 230"/>
                    <a:gd name="T110" fmla="*/ 90 w 614"/>
                    <a:gd name="T111" fmla="*/ 199 h 230"/>
                    <a:gd name="T112" fmla="*/ 72 w 614"/>
                    <a:gd name="T113" fmla="*/ 152 h 230"/>
                    <a:gd name="T114" fmla="*/ 78 w 614"/>
                    <a:gd name="T115" fmla="*/ 106 h 230"/>
                    <a:gd name="T116" fmla="*/ 0 w 614"/>
                    <a:gd name="T117" fmla="*/ 4 h 2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614" h="230">
                      <a:moveTo>
                        <a:pt x="97" y="126"/>
                      </a:moveTo>
                      <a:lnTo>
                        <a:pt x="93" y="130"/>
                      </a:lnTo>
                      <a:lnTo>
                        <a:pt x="87" y="140"/>
                      </a:lnTo>
                      <a:lnTo>
                        <a:pt x="82" y="151"/>
                      </a:lnTo>
                      <a:lnTo>
                        <a:pt x="78" y="162"/>
                      </a:lnTo>
                      <a:lnTo>
                        <a:pt x="78" y="173"/>
                      </a:lnTo>
                      <a:lnTo>
                        <a:pt x="82" y="182"/>
                      </a:lnTo>
                      <a:lnTo>
                        <a:pt x="90" y="190"/>
                      </a:lnTo>
                      <a:lnTo>
                        <a:pt x="105" y="196"/>
                      </a:lnTo>
                      <a:lnTo>
                        <a:pt x="124" y="198"/>
                      </a:lnTo>
                      <a:lnTo>
                        <a:pt x="141" y="196"/>
                      </a:lnTo>
                      <a:lnTo>
                        <a:pt x="154" y="194"/>
                      </a:lnTo>
                      <a:lnTo>
                        <a:pt x="146" y="173"/>
                      </a:lnTo>
                      <a:lnTo>
                        <a:pt x="125" y="152"/>
                      </a:lnTo>
                      <a:lnTo>
                        <a:pt x="101" y="130"/>
                      </a:lnTo>
                      <a:lnTo>
                        <a:pt x="97" y="126"/>
                      </a:lnTo>
                      <a:close/>
                      <a:moveTo>
                        <a:pt x="254" y="120"/>
                      </a:moveTo>
                      <a:lnTo>
                        <a:pt x="270" y="127"/>
                      </a:lnTo>
                      <a:lnTo>
                        <a:pt x="290" y="138"/>
                      </a:lnTo>
                      <a:lnTo>
                        <a:pt x="288" y="136"/>
                      </a:lnTo>
                      <a:lnTo>
                        <a:pt x="275" y="127"/>
                      </a:lnTo>
                      <a:lnTo>
                        <a:pt x="260" y="122"/>
                      </a:lnTo>
                      <a:lnTo>
                        <a:pt x="254" y="120"/>
                      </a:lnTo>
                      <a:close/>
                      <a:moveTo>
                        <a:pt x="113" y="114"/>
                      </a:moveTo>
                      <a:lnTo>
                        <a:pt x="103" y="120"/>
                      </a:lnTo>
                      <a:lnTo>
                        <a:pt x="124" y="140"/>
                      </a:lnTo>
                      <a:lnTo>
                        <a:pt x="137" y="153"/>
                      </a:lnTo>
                      <a:lnTo>
                        <a:pt x="118" y="122"/>
                      </a:lnTo>
                      <a:lnTo>
                        <a:pt x="113" y="114"/>
                      </a:lnTo>
                      <a:close/>
                      <a:moveTo>
                        <a:pt x="12" y="11"/>
                      </a:moveTo>
                      <a:lnTo>
                        <a:pt x="21" y="29"/>
                      </a:lnTo>
                      <a:lnTo>
                        <a:pt x="37" y="52"/>
                      </a:lnTo>
                      <a:lnTo>
                        <a:pt x="57" y="75"/>
                      </a:lnTo>
                      <a:lnTo>
                        <a:pt x="76" y="96"/>
                      </a:lnTo>
                      <a:lnTo>
                        <a:pt x="97" y="115"/>
                      </a:lnTo>
                      <a:lnTo>
                        <a:pt x="97" y="115"/>
                      </a:lnTo>
                      <a:lnTo>
                        <a:pt x="109" y="107"/>
                      </a:lnTo>
                      <a:lnTo>
                        <a:pt x="95" y="88"/>
                      </a:lnTo>
                      <a:lnTo>
                        <a:pt x="74" y="62"/>
                      </a:lnTo>
                      <a:lnTo>
                        <a:pt x="50" y="38"/>
                      </a:lnTo>
                      <a:lnTo>
                        <a:pt x="36" y="25"/>
                      </a:lnTo>
                      <a:lnTo>
                        <a:pt x="20" y="14"/>
                      </a:lnTo>
                      <a:lnTo>
                        <a:pt x="12" y="11"/>
                      </a:lnTo>
                      <a:close/>
                      <a:moveTo>
                        <a:pt x="3" y="0"/>
                      </a:moveTo>
                      <a:lnTo>
                        <a:pt x="6" y="0"/>
                      </a:lnTo>
                      <a:lnTo>
                        <a:pt x="28" y="11"/>
                      </a:lnTo>
                      <a:lnTo>
                        <a:pt x="48" y="25"/>
                      </a:lnTo>
                      <a:lnTo>
                        <a:pt x="66" y="43"/>
                      </a:lnTo>
                      <a:lnTo>
                        <a:pt x="83" y="62"/>
                      </a:lnTo>
                      <a:lnTo>
                        <a:pt x="99" y="81"/>
                      </a:lnTo>
                      <a:lnTo>
                        <a:pt x="116" y="105"/>
                      </a:lnTo>
                      <a:lnTo>
                        <a:pt x="126" y="101"/>
                      </a:lnTo>
                      <a:lnTo>
                        <a:pt x="143" y="100"/>
                      </a:lnTo>
                      <a:lnTo>
                        <a:pt x="160" y="102"/>
                      </a:lnTo>
                      <a:lnTo>
                        <a:pt x="175" y="111"/>
                      </a:lnTo>
                      <a:lnTo>
                        <a:pt x="189" y="127"/>
                      </a:lnTo>
                      <a:lnTo>
                        <a:pt x="199" y="145"/>
                      </a:lnTo>
                      <a:lnTo>
                        <a:pt x="205" y="166"/>
                      </a:lnTo>
                      <a:lnTo>
                        <a:pt x="209" y="182"/>
                      </a:lnTo>
                      <a:lnTo>
                        <a:pt x="223" y="175"/>
                      </a:lnTo>
                      <a:lnTo>
                        <a:pt x="241" y="164"/>
                      </a:lnTo>
                      <a:lnTo>
                        <a:pt x="258" y="152"/>
                      </a:lnTo>
                      <a:lnTo>
                        <a:pt x="260" y="152"/>
                      </a:lnTo>
                      <a:lnTo>
                        <a:pt x="262" y="152"/>
                      </a:lnTo>
                      <a:lnTo>
                        <a:pt x="264" y="153"/>
                      </a:lnTo>
                      <a:lnTo>
                        <a:pt x="264" y="156"/>
                      </a:lnTo>
                      <a:lnTo>
                        <a:pt x="264" y="158"/>
                      </a:lnTo>
                      <a:lnTo>
                        <a:pt x="265" y="162"/>
                      </a:lnTo>
                      <a:lnTo>
                        <a:pt x="266" y="166"/>
                      </a:lnTo>
                      <a:lnTo>
                        <a:pt x="268" y="169"/>
                      </a:lnTo>
                      <a:lnTo>
                        <a:pt x="270" y="172"/>
                      </a:lnTo>
                      <a:lnTo>
                        <a:pt x="274" y="173"/>
                      </a:lnTo>
                      <a:lnTo>
                        <a:pt x="278" y="174"/>
                      </a:lnTo>
                      <a:lnTo>
                        <a:pt x="282" y="173"/>
                      </a:lnTo>
                      <a:lnTo>
                        <a:pt x="286" y="172"/>
                      </a:lnTo>
                      <a:lnTo>
                        <a:pt x="290" y="169"/>
                      </a:lnTo>
                      <a:lnTo>
                        <a:pt x="295" y="158"/>
                      </a:lnTo>
                      <a:lnTo>
                        <a:pt x="295" y="148"/>
                      </a:lnTo>
                      <a:lnTo>
                        <a:pt x="266" y="134"/>
                      </a:lnTo>
                      <a:lnTo>
                        <a:pt x="226" y="114"/>
                      </a:lnTo>
                      <a:lnTo>
                        <a:pt x="224" y="113"/>
                      </a:lnTo>
                      <a:lnTo>
                        <a:pt x="224" y="110"/>
                      </a:lnTo>
                      <a:lnTo>
                        <a:pt x="224" y="109"/>
                      </a:lnTo>
                      <a:lnTo>
                        <a:pt x="227" y="107"/>
                      </a:lnTo>
                      <a:lnTo>
                        <a:pt x="228" y="107"/>
                      </a:lnTo>
                      <a:lnTo>
                        <a:pt x="251" y="111"/>
                      </a:lnTo>
                      <a:lnTo>
                        <a:pt x="271" y="118"/>
                      </a:lnTo>
                      <a:lnTo>
                        <a:pt x="282" y="123"/>
                      </a:lnTo>
                      <a:lnTo>
                        <a:pt x="291" y="128"/>
                      </a:lnTo>
                      <a:lnTo>
                        <a:pt x="298" y="136"/>
                      </a:lnTo>
                      <a:lnTo>
                        <a:pt x="302" y="144"/>
                      </a:lnTo>
                      <a:lnTo>
                        <a:pt x="306" y="145"/>
                      </a:lnTo>
                      <a:lnTo>
                        <a:pt x="307" y="123"/>
                      </a:lnTo>
                      <a:lnTo>
                        <a:pt x="311" y="96"/>
                      </a:lnTo>
                      <a:lnTo>
                        <a:pt x="316" y="79"/>
                      </a:lnTo>
                      <a:lnTo>
                        <a:pt x="326" y="64"/>
                      </a:lnTo>
                      <a:lnTo>
                        <a:pt x="340" y="52"/>
                      </a:lnTo>
                      <a:lnTo>
                        <a:pt x="341" y="52"/>
                      </a:lnTo>
                      <a:lnTo>
                        <a:pt x="343" y="54"/>
                      </a:lnTo>
                      <a:lnTo>
                        <a:pt x="345" y="55"/>
                      </a:lnTo>
                      <a:lnTo>
                        <a:pt x="346" y="77"/>
                      </a:lnTo>
                      <a:lnTo>
                        <a:pt x="346" y="98"/>
                      </a:lnTo>
                      <a:lnTo>
                        <a:pt x="346" y="120"/>
                      </a:lnTo>
                      <a:lnTo>
                        <a:pt x="350" y="143"/>
                      </a:lnTo>
                      <a:lnTo>
                        <a:pt x="353" y="149"/>
                      </a:lnTo>
                      <a:lnTo>
                        <a:pt x="357" y="157"/>
                      </a:lnTo>
                      <a:lnTo>
                        <a:pt x="362" y="164"/>
                      </a:lnTo>
                      <a:lnTo>
                        <a:pt x="370" y="165"/>
                      </a:lnTo>
                      <a:lnTo>
                        <a:pt x="385" y="166"/>
                      </a:lnTo>
                      <a:lnTo>
                        <a:pt x="398" y="172"/>
                      </a:lnTo>
                      <a:lnTo>
                        <a:pt x="402" y="174"/>
                      </a:lnTo>
                      <a:lnTo>
                        <a:pt x="406" y="177"/>
                      </a:lnTo>
                      <a:lnTo>
                        <a:pt x="409" y="181"/>
                      </a:lnTo>
                      <a:lnTo>
                        <a:pt x="412" y="185"/>
                      </a:lnTo>
                      <a:lnTo>
                        <a:pt x="412" y="189"/>
                      </a:lnTo>
                      <a:lnTo>
                        <a:pt x="412" y="192"/>
                      </a:lnTo>
                      <a:lnTo>
                        <a:pt x="409" y="195"/>
                      </a:lnTo>
                      <a:lnTo>
                        <a:pt x="406" y="198"/>
                      </a:lnTo>
                      <a:lnTo>
                        <a:pt x="404" y="200"/>
                      </a:lnTo>
                      <a:lnTo>
                        <a:pt x="400" y="203"/>
                      </a:lnTo>
                      <a:lnTo>
                        <a:pt x="384" y="211"/>
                      </a:lnTo>
                      <a:lnTo>
                        <a:pt x="367" y="216"/>
                      </a:lnTo>
                      <a:lnTo>
                        <a:pt x="364" y="217"/>
                      </a:lnTo>
                      <a:lnTo>
                        <a:pt x="371" y="217"/>
                      </a:lnTo>
                      <a:lnTo>
                        <a:pt x="391" y="213"/>
                      </a:lnTo>
                      <a:lnTo>
                        <a:pt x="410" y="206"/>
                      </a:lnTo>
                      <a:lnTo>
                        <a:pt x="439" y="196"/>
                      </a:lnTo>
                      <a:lnTo>
                        <a:pt x="469" y="190"/>
                      </a:lnTo>
                      <a:lnTo>
                        <a:pt x="516" y="185"/>
                      </a:lnTo>
                      <a:lnTo>
                        <a:pt x="563" y="183"/>
                      </a:lnTo>
                      <a:lnTo>
                        <a:pt x="611" y="182"/>
                      </a:lnTo>
                      <a:lnTo>
                        <a:pt x="613" y="182"/>
                      </a:lnTo>
                      <a:lnTo>
                        <a:pt x="614" y="183"/>
                      </a:lnTo>
                      <a:lnTo>
                        <a:pt x="614" y="186"/>
                      </a:lnTo>
                      <a:lnTo>
                        <a:pt x="614" y="187"/>
                      </a:lnTo>
                      <a:lnTo>
                        <a:pt x="613" y="189"/>
                      </a:lnTo>
                      <a:lnTo>
                        <a:pt x="611" y="190"/>
                      </a:lnTo>
                      <a:lnTo>
                        <a:pt x="562" y="190"/>
                      </a:lnTo>
                      <a:lnTo>
                        <a:pt x="512" y="192"/>
                      </a:lnTo>
                      <a:lnTo>
                        <a:pt x="464" y="198"/>
                      </a:lnTo>
                      <a:lnTo>
                        <a:pt x="432" y="206"/>
                      </a:lnTo>
                      <a:lnTo>
                        <a:pt x="404" y="216"/>
                      </a:lnTo>
                      <a:lnTo>
                        <a:pt x="385" y="223"/>
                      </a:lnTo>
                      <a:lnTo>
                        <a:pt x="367" y="225"/>
                      </a:lnTo>
                      <a:lnTo>
                        <a:pt x="349" y="224"/>
                      </a:lnTo>
                      <a:lnTo>
                        <a:pt x="346" y="223"/>
                      </a:lnTo>
                      <a:lnTo>
                        <a:pt x="346" y="221"/>
                      </a:lnTo>
                      <a:lnTo>
                        <a:pt x="346" y="219"/>
                      </a:lnTo>
                      <a:lnTo>
                        <a:pt x="347" y="217"/>
                      </a:lnTo>
                      <a:lnTo>
                        <a:pt x="363" y="211"/>
                      </a:lnTo>
                      <a:lnTo>
                        <a:pt x="379" y="204"/>
                      </a:lnTo>
                      <a:lnTo>
                        <a:pt x="395" y="198"/>
                      </a:lnTo>
                      <a:lnTo>
                        <a:pt x="397" y="196"/>
                      </a:lnTo>
                      <a:lnTo>
                        <a:pt x="400" y="195"/>
                      </a:lnTo>
                      <a:lnTo>
                        <a:pt x="402" y="192"/>
                      </a:lnTo>
                      <a:lnTo>
                        <a:pt x="404" y="190"/>
                      </a:lnTo>
                      <a:lnTo>
                        <a:pt x="405" y="187"/>
                      </a:lnTo>
                      <a:lnTo>
                        <a:pt x="404" y="185"/>
                      </a:lnTo>
                      <a:lnTo>
                        <a:pt x="396" y="178"/>
                      </a:lnTo>
                      <a:lnTo>
                        <a:pt x="385" y="174"/>
                      </a:lnTo>
                      <a:lnTo>
                        <a:pt x="375" y="173"/>
                      </a:lnTo>
                      <a:lnTo>
                        <a:pt x="371" y="173"/>
                      </a:lnTo>
                      <a:lnTo>
                        <a:pt x="367" y="173"/>
                      </a:lnTo>
                      <a:lnTo>
                        <a:pt x="363" y="172"/>
                      </a:lnTo>
                      <a:lnTo>
                        <a:pt x="359" y="170"/>
                      </a:lnTo>
                      <a:lnTo>
                        <a:pt x="357" y="168"/>
                      </a:lnTo>
                      <a:lnTo>
                        <a:pt x="346" y="153"/>
                      </a:lnTo>
                      <a:lnTo>
                        <a:pt x="341" y="136"/>
                      </a:lnTo>
                      <a:lnTo>
                        <a:pt x="340" y="110"/>
                      </a:lnTo>
                      <a:lnTo>
                        <a:pt x="340" y="84"/>
                      </a:lnTo>
                      <a:lnTo>
                        <a:pt x="338" y="63"/>
                      </a:lnTo>
                      <a:lnTo>
                        <a:pt x="330" y="71"/>
                      </a:lnTo>
                      <a:lnTo>
                        <a:pt x="321" y="85"/>
                      </a:lnTo>
                      <a:lnTo>
                        <a:pt x="317" y="101"/>
                      </a:lnTo>
                      <a:lnTo>
                        <a:pt x="315" y="126"/>
                      </a:lnTo>
                      <a:lnTo>
                        <a:pt x="312" y="152"/>
                      </a:lnTo>
                      <a:lnTo>
                        <a:pt x="312" y="153"/>
                      </a:lnTo>
                      <a:lnTo>
                        <a:pt x="309" y="155"/>
                      </a:lnTo>
                      <a:lnTo>
                        <a:pt x="307" y="155"/>
                      </a:lnTo>
                      <a:lnTo>
                        <a:pt x="303" y="152"/>
                      </a:lnTo>
                      <a:lnTo>
                        <a:pt x="303" y="156"/>
                      </a:lnTo>
                      <a:lnTo>
                        <a:pt x="299" y="168"/>
                      </a:lnTo>
                      <a:lnTo>
                        <a:pt x="292" y="175"/>
                      </a:lnTo>
                      <a:lnTo>
                        <a:pt x="282" y="181"/>
                      </a:lnTo>
                      <a:lnTo>
                        <a:pt x="271" y="179"/>
                      </a:lnTo>
                      <a:lnTo>
                        <a:pt x="264" y="174"/>
                      </a:lnTo>
                      <a:lnTo>
                        <a:pt x="258" y="166"/>
                      </a:lnTo>
                      <a:lnTo>
                        <a:pt x="257" y="161"/>
                      </a:lnTo>
                      <a:lnTo>
                        <a:pt x="244" y="170"/>
                      </a:lnTo>
                      <a:lnTo>
                        <a:pt x="226" y="182"/>
                      </a:lnTo>
                      <a:lnTo>
                        <a:pt x="206" y="191"/>
                      </a:lnTo>
                      <a:lnTo>
                        <a:pt x="205" y="191"/>
                      </a:lnTo>
                      <a:lnTo>
                        <a:pt x="202" y="190"/>
                      </a:lnTo>
                      <a:lnTo>
                        <a:pt x="202" y="187"/>
                      </a:lnTo>
                      <a:lnTo>
                        <a:pt x="198" y="169"/>
                      </a:lnTo>
                      <a:lnTo>
                        <a:pt x="193" y="151"/>
                      </a:lnTo>
                      <a:lnTo>
                        <a:pt x="184" y="132"/>
                      </a:lnTo>
                      <a:lnTo>
                        <a:pt x="172" y="118"/>
                      </a:lnTo>
                      <a:lnTo>
                        <a:pt x="159" y="110"/>
                      </a:lnTo>
                      <a:lnTo>
                        <a:pt x="143" y="107"/>
                      </a:lnTo>
                      <a:lnTo>
                        <a:pt x="127" y="107"/>
                      </a:lnTo>
                      <a:lnTo>
                        <a:pt x="120" y="111"/>
                      </a:lnTo>
                      <a:lnTo>
                        <a:pt x="124" y="117"/>
                      </a:lnTo>
                      <a:lnTo>
                        <a:pt x="146" y="155"/>
                      </a:lnTo>
                      <a:lnTo>
                        <a:pt x="152" y="170"/>
                      </a:lnTo>
                      <a:lnTo>
                        <a:pt x="172" y="194"/>
                      </a:lnTo>
                      <a:lnTo>
                        <a:pt x="190" y="224"/>
                      </a:lnTo>
                      <a:lnTo>
                        <a:pt x="190" y="227"/>
                      </a:lnTo>
                      <a:lnTo>
                        <a:pt x="190" y="228"/>
                      </a:lnTo>
                      <a:lnTo>
                        <a:pt x="189" y="229"/>
                      </a:lnTo>
                      <a:lnTo>
                        <a:pt x="186" y="230"/>
                      </a:lnTo>
                      <a:lnTo>
                        <a:pt x="185" y="229"/>
                      </a:lnTo>
                      <a:lnTo>
                        <a:pt x="184" y="228"/>
                      </a:lnTo>
                      <a:lnTo>
                        <a:pt x="167" y="200"/>
                      </a:lnTo>
                      <a:lnTo>
                        <a:pt x="162" y="192"/>
                      </a:lnTo>
                      <a:lnTo>
                        <a:pt x="162" y="195"/>
                      </a:lnTo>
                      <a:lnTo>
                        <a:pt x="163" y="196"/>
                      </a:lnTo>
                      <a:lnTo>
                        <a:pt x="162" y="199"/>
                      </a:lnTo>
                      <a:lnTo>
                        <a:pt x="160" y="199"/>
                      </a:lnTo>
                      <a:lnTo>
                        <a:pt x="156" y="200"/>
                      </a:lnTo>
                      <a:lnTo>
                        <a:pt x="135" y="204"/>
                      </a:lnTo>
                      <a:lnTo>
                        <a:pt x="116" y="204"/>
                      </a:lnTo>
                      <a:lnTo>
                        <a:pt x="103" y="203"/>
                      </a:lnTo>
                      <a:lnTo>
                        <a:pt x="90" y="199"/>
                      </a:lnTo>
                      <a:lnTo>
                        <a:pt x="80" y="191"/>
                      </a:lnTo>
                      <a:lnTo>
                        <a:pt x="72" y="179"/>
                      </a:lnTo>
                      <a:lnTo>
                        <a:pt x="70" y="166"/>
                      </a:lnTo>
                      <a:lnTo>
                        <a:pt x="72" y="152"/>
                      </a:lnTo>
                      <a:lnTo>
                        <a:pt x="79" y="138"/>
                      </a:lnTo>
                      <a:lnTo>
                        <a:pt x="87" y="126"/>
                      </a:lnTo>
                      <a:lnTo>
                        <a:pt x="92" y="120"/>
                      </a:lnTo>
                      <a:lnTo>
                        <a:pt x="78" y="106"/>
                      </a:lnTo>
                      <a:lnTo>
                        <a:pt x="55" y="84"/>
                      </a:lnTo>
                      <a:lnTo>
                        <a:pt x="35" y="59"/>
                      </a:lnTo>
                      <a:lnTo>
                        <a:pt x="16" y="33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2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148BA2"/>
                </a:solidFill>
                <a:ln w="0">
                  <a:solidFill>
                    <a:srgbClr val="148BA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54" name="Freeform 28"/>
                <p:cNvSpPr>
                  <a:spLocks noEditPoints="1"/>
                </p:cNvSpPr>
                <p:nvPr/>
              </p:nvSpPr>
              <p:spPr bwMode="auto">
                <a:xfrm>
                  <a:off x="6473825" y="4283075"/>
                  <a:ext cx="301625" cy="423863"/>
                </a:xfrm>
                <a:custGeom>
                  <a:avLst/>
                  <a:gdLst>
                    <a:gd name="T0" fmla="*/ 125 w 190"/>
                    <a:gd name="T1" fmla="*/ 11 h 267"/>
                    <a:gd name="T2" fmla="*/ 81 w 190"/>
                    <a:gd name="T3" fmla="*/ 30 h 267"/>
                    <a:gd name="T4" fmla="*/ 53 w 190"/>
                    <a:gd name="T5" fmla="*/ 63 h 267"/>
                    <a:gd name="T6" fmla="*/ 41 w 190"/>
                    <a:gd name="T7" fmla="*/ 103 h 267"/>
                    <a:gd name="T8" fmla="*/ 45 w 190"/>
                    <a:gd name="T9" fmla="*/ 162 h 267"/>
                    <a:gd name="T10" fmla="*/ 91 w 190"/>
                    <a:gd name="T11" fmla="*/ 147 h 267"/>
                    <a:gd name="T12" fmla="*/ 143 w 190"/>
                    <a:gd name="T13" fmla="*/ 115 h 267"/>
                    <a:gd name="T14" fmla="*/ 169 w 190"/>
                    <a:gd name="T15" fmla="*/ 88 h 267"/>
                    <a:gd name="T16" fmla="*/ 182 w 190"/>
                    <a:gd name="T17" fmla="*/ 52 h 267"/>
                    <a:gd name="T18" fmla="*/ 181 w 190"/>
                    <a:gd name="T19" fmla="*/ 29 h 267"/>
                    <a:gd name="T20" fmla="*/ 167 w 190"/>
                    <a:gd name="T21" fmla="*/ 12 h 267"/>
                    <a:gd name="T22" fmla="*/ 147 w 190"/>
                    <a:gd name="T23" fmla="*/ 8 h 267"/>
                    <a:gd name="T24" fmla="*/ 155 w 190"/>
                    <a:gd name="T25" fmla="*/ 1 h 267"/>
                    <a:gd name="T26" fmla="*/ 178 w 190"/>
                    <a:gd name="T27" fmla="*/ 12 h 267"/>
                    <a:gd name="T28" fmla="*/ 190 w 190"/>
                    <a:gd name="T29" fmla="*/ 35 h 267"/>
                    <a:gd name="T30" fmla="*/ 184 w 190"/>
                    <a:gd name="T31" fmla="*/ 76 h 267"/>
                    <a:gd name="T32" fmla="*/ 160 w 190"/>
                    <a:gd name="T33" fmla="*/ 110 h 267"/>
                    <a:gd name="T34" fmla="*/ 112 w 190"/>
                    <a:gd name="T35" fmla="*/ 144 h 267"/>
                    <a:gd name="T36" fmla="*/ 46 w 190"/>
                    <a:gd name="T37" fmla="*/ 170 h 267"/>
                    <a:gd name="T38" fmla="*/ 55 w 190"/>
                    <a:gd name="T39" fmla="*/ 207 h 267"/>
                    <a:gd name="T40" fmla="*/ 57 w 190"/>
                    <a:gd name="T41" fmla="*/ 234 h 267"/>
                    <a:gd name="T42" fmla="*/ 46 w 190"/>
                    <a:gd name="T43" fmla="*/ 259 h 267"/>
                    <a:gd name="T44" fmla="*/ 32 w 190"/>
                    <a:gd name="T45" fmla="*/ 267 h 267"/>
                    <a:gd name="T46" fmla="*/ 29 w 190"/>
                    <a:gd name="T47" fmla="*/ 263 h 267"/>
                    <a:gd name="T48" fmla="*/ 30 w 190"/>
                    <a:gd name="T49" fmla="*/ 258 h 267"/>
                    <a:gd name="T50" fmla="*/ 33 w 190"/>
                    <a:gd name="T51" fmla="*/ 254 h 267"/>
                    <a:gd name="T52" fmla="*/ 40 w 190"/>
                    <a:gd name="T53" fmla="*/ 251 h 267"/>
                    <a:gd name="T54" fmla="*/ 43 w 190"/>
                    <a:gd name="T55" fmla="*/ 250 h 267"/>
                    <a:gd name="T56" fmla="*/ 50 w 190"/>
                    <a:gd name="T57" fmla="*/ 234 h 267"/>
                    <a:gd name="T58" fmla="*/ 49 w 190"/>
                    <a:gd name="T59" fmla="*/ 211 h 267"/>
                    <a:gd name="T60" fmla="*/ 43 w 190"/>
                    <a:gd name="T61" fmla="*/ 189 h 267"/>
                    <a:gd name="T62" fmla="*/ 5 w 190"/>
                    <a:gd name="T63" fmla="*/ 182 h 267"/>
                    <a:gd name="T64" fmla="*/ 2 w 190"/>
                    <a:gd name="T65" fmla="*/ 181 h 267"/>
                    <a:gd name="T66" fmla="*/ 0 w 190"/>
                    <a:gd name="T67" fmla="*/ 177 h 267"/>
                    <a:gd name="T68" fmla="*/ 3 w 190"/>
                    <a:gd name="T69" fmla="*/ 174 h 267"/>
                    <a:gd name="T70" fmla="*/ 38 w 190"/>
                    <a:gd name="T71" fmla="*/ 165 h 267"/>
                    <a:gd name="T72" fmla="*/ 33 w 190"/>
                    <a:gd name="T73" fmla="*/ 136 h 267"/>
                    <a:gd name="T74" fmla="*/ 36 w 190"/>
                    <a:gd name="T75" fmla="*/ 89 h 267"/>
                    <a:gd name="T76" fmla="*/ 50 w 190"/>
                    <a:gd name="T77" fmla="*/ 52 h 267"/>
                    <a:gd name="T78" fmla="*/ 85 w 190"/>
                    <a:gd name="T79" fmla="*/ 20 h 267"/>
                    <a:gd name="T80" fmla="*/ 142 w 190"/>
                    <a:gd name="T81" fmla="*/ 0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90" h="267">
                      <a:moveTo>
                        <a:pt x="147" y="8"/>
                      </a:moveTo>
                      <a:lnTo>
                        <a:pt x="125" y="11"/>
                      </a:lnTo>
                      <a:lnTo>
                        <a:pt x="102" y="18"/>
                      </a:lnTo>
                      <a:lnTo>
                        <a:pt x="81" y="30"/>
                      </a:lnTo>
                      <a:lnTo>
                        <a:pt x="64" y="46"/>
                      </a:lnTo>
                      <a:lnTo>
                        <a:pt x="53" y="63"/>
                      </a:lnTo>
                      <a:lnTo>
                        <a:pt x="45" y="83"/>
                      </a:lnTo>
                      <a:lnTo>
                        <a:pt x="41" y="103"/>
                      </a:lnTo>
                      <a:lnTo>
                        <a:pt x="40" y="124"/>
                      </a:lnTo>
                      <a:lnTo>
                        <a:pt x="45" y="162"/>
                      </a:lnTo>
                      <a:lnTo>
                        <a:pt x="62" y="157"/>
                      </a:lnTo>
                      <a:lnTo>
                        <a:pt x="91" y="147"/>
                      </a:lnTo>
                      <a:lnTo>
                        <a:pt x="118" y="132"/>
                      </a:lnTo>
                      <a:lnTo>
                        <a:pt x="143" y="115"/>
                      </a:lnTo>
                      <a:lnTo>
                        <a:pt x="157" y="102"/>
                      </a:lnTo>
                      <a:lnTo>
                        <a:pt x="169" y="88"/>
                      </a:lnTo>
                      <a:lnTo>
                        <a:pt x="177" y="71"/>
                      </a:lnTo>
                      <a:lnTo>
                        <a:pt x="182" y="52"/>
                      </a:lnTo>
                      <a:lnTo>
                        <a:pt x="182" y="41"/>
                      </a:lnTo>
                      <a:lnTo>
                        <a:pt x="181" y="29"/>
                      </a:lnTo>
                      <a:lnTo>
                        <a:pt x="174" y="18"/>
                      </a:lnTo>
                      <a:lnTo>
                        <a:pt x="167" y="12"/>
                      </a:lnTo>
                      <a:lnTo>
                        <a:pt x="157" y="9"/>
                      </a:lnTo>
                      <a:lnTo>
                        <a:pt x="147" y="8"/>
                      </a:lnTo>
                      <a:close/>
                      <a:moveTo>
                        <a:pt x="142" y="0"/>
                      </a:moveTo>
                      <a:lnTo>
                        <a:pt x="155" y="1"/>
                      </a:lnTo>
                      <a:lnTo>
                        <a:pt x="168" y="5"/>
                      </a:lnTo>
                      <a:lnTo>
                        <a:pt x="178" y="12"/>
                      </a:lnTo>
                      <a:lnTo>
                        <a:pt x="186" y="22"/>
                      </a:lnTo>
                      <a:lnTo>
                        <a:pt x="190" y="35"/>
                      </a:lnTo>
                      <a:lnTo>
                        <a:pt x="189" y="56"/>
                      </a:lnTo>
                      <a:lnTo>
                        <a:pt x="184" y="76"/>
                      </a:lnTo>
                      <a:lnTo>
                        <a:pt x="173" y="94"/>
                      </a:lnTo>
                      <a:lnTo>
                        <a:pt x="160" y="110"/>
                      </a:lnTo>
                      <a:lnTo>
                        <a:pt x="138" y="128"/>
                      </a:lnTo>
                      <a:lnTo>
                        <a:pt x="112" y="144"/>
                      </a:lnTo>
                      <a:lnTo>
                        <a:pt x="85" y="156"/>
                      </a:lnTo>
                      <a:lnTo>
                        <a:pt x="46" y="170"/>
                      </a:lnTo>
                      <a:lnTo>
                        <a:pt x="50" y="187"/>
                      </a:lnTo>
                      <a:lnTo>
                        <a:pt x="55" y="207"/>
                      </a:lnTo>
                      <a:lnTo>
                        <a:pt x="57" y="220"/>
                      </a:lnTo>
                      <a:lnTo>
                        <a:pt x="57" y="234"/>
                      </a:lnTo>
                      <a:lnTo>
                        <a:pt x="53" y="247"/>
                      </a:lnTo>
                      <a:lnTo>
                        <a:pt x="46" y="259"/>
                      </a:lnTo>
                      <a:lnTo>
                        <a:pt x="34" y="267"/>
                      </a:lnTo>
                      <a:lnTo>
                        <a:pt x="32" y="267"/>
                      </a:lnTo>
                      <a:lnTo>
                        <a:pt x="30" y="266"/>
                      </a:lnTo>
                      <a:lnTo>
                        <a:pt x="29" y="263"/>
                      </a:lnTo>
                      <a:lnTo>
                        <a:pt x="29" y="261"/>
                      </a:lnTo>
                      <a:lnTo>
                        <a:pt x="30" y="258"/>
                      </a:lnTo>
                      <a:lnTo>
                        <a:pt x="32" y="255"/>
                      </a:lnTo>
                      <a:lnTo>
                        <a:pt x="33" y="254"/>
                      </a:lnTo>
                      <a:lnTo>
                        <a:pt x="37" y="253"/>
                      </a:lnTo>
                      <a:lnTo>
                        <a:pt x="40" y="251"/>
                      </a:lnTo>
                      <a:lnTo>
                        <a:pt x="43" y="250"/>
                      </a:lnTo>
                      <a:lnTo>
                        <a:pt x="43" y="250"/>
                      </a:lnTo>
                      <a:lnTo>
                        <a:pt x="47" y="245"/>
                      </a:lnTo>
                      <a:lnTo>
                        <a:pt x="50" y="234"/>
                      </a:lnTo>
                      <a:lnTo>
                        <a:pt x="50" y="223"/>
                      </a:lnTo>
                      <a:lnTo>
                        <a:pt x="49" y="211"/>
                      </a:lnTo>
                      <a:lnTo>
                        <a:pt x="46" y="199"/>
                      </a:lnTo>
                      <a:lnTo>
                        <a:pt x="43" y="189"/>
                      </a:lnTo>
                      <a:lnTo>
                        <a:pt x="40" y="172"/>
                      </a:lnTo>
                      <a:lnTo>
                        <a:pt x="5" y="182"/>
                      </a:lnTo>
                      <a:lnTo>
                        <a:pt x="3" y="182"/>
                      </a:lnTo>
                      <a:lnTo>
                        <a:pt x="2" y="181"/>
                      </a:lnTo>
                      <a:lnTo>
                        <a:pt x="2" y="179"/>
                      </a:lnTo>
                      <a:lnTo>
                        <a:pt x="0" y="177"/>
                      </a:lnTo>
                      <a:lnTo>
                        <a:pt x="2" y="175"/>
                      </a:lnTo>
                      <a:lnTo>
                        <a:pt x="3" y="174"/>
                      </a:lnTo>
                      <a:lnTo>
                        <a:pt x="33" y="166"/>
                      </a:lnTo>
                      <a:lnTo>
                        <a:pt x="38" y="165"/>
                      </a:lnTo>
                      <a:lnTo>
                        <a:pt x="37" y="162"/>
                      </a:lnTo>
                      <a:lnTo>
                        <a:pt x="33" y="136"/>
                      </a:lnTo>
                      <a:lnTo>
                        <a:pt x="33" y="109"/>
                      </a:lnTo>
                      <a:lnTo>
                        <a:pt x="36" y="89"/>
                      </a:lnTo>
                      <a:lnTo>
                        <a:pt x="41" y="71"/>
                      </a:lnTo>
                      <a:lnTo>
                        <a:pt x="50" y="52"/>
                      </a:lnTo>
                      <a:lnTo>
                        <a:pt x="63" y="37"/>
                      </a:lnTo>
                      <a:lnTo>
                        <a:pt x="85" y="20"/>
                      </a:lnTo>
                      <a:lnTo>
                        <a:pt x="113" y="7"/>
                      </a:lnTo>
                      <a:lnTo>
                        <a:pt x="142" y="0"/>
                      </a:lnTo>
                      <a:close/>
                    </a:path>
                  </a:pathLst>
                </a:custGeom>
                <a:solidFill>
                  <a:srgbClr val="148BA2"/>
                </a:solidFill>
                <a:ln w="0">
                  <a:solidFill>
                    <a:srgbClr val="148BA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55" name="Freeform 29"/>
                <p:cNvSpPr>
                  <a:spLocks noEditPoints="1"/>
                </p:cNvSpPr>
                <p:nvPr/>
              </p:nvSpPr>
              <p:spPr bwMode="auto">
                <a:xfrm>
                  <a:off x="6473825" y="4422775"/>
                  <a:ext cx="811213" cy="433388"/>
                </a:xfrm>
                <a:custGeom>
                  <a:avLst/>
                  <a:gdLst>
                    <a:gd name="T0" fmla="*/ 144 w 511"/>
                    <a:gd name="T1" fmla="*/ 97 h 273"/>
                    <a:gd name="T2" fmla="*/ 117 w 511"/>
                    <a:gd name="T3" fmla="*/ 129 h 273"/>
                    <a:gd name="T4" fmla="*/ 155 w 511"/>
                    <a:gd name="T5" fmla="*/ 121 h 273"/>
                    <a:gd name="T6" fmla="*/ 184 w 511"/>
                    <a:gd name="T7" fmla="*/ 90 h 273"/>
                    <a:gd name="T8" fmla="*/ 410 w 511"/>
                    <a:gd name="T9" fmla="*/ 0 h 273"/>
                    <a:gd name="T10" fmla="*/ 423 w 511"/>
                    <a:gd name="T11" fmla="*/ 9 h 273"/>
                    <a:gd name="T12" fmla="*/ 423 w 511"/>
                    <a:gd name="T13" fmla="*/ 38 h 273"/>
                    <a:gd name="T14" fmla="*/ 428 w 511"/>
                    <a:gd name="T15" fmla="*/ 69 h 273"/>
                    <a:gd name="T16" fmla="*/ 461 w 511"/>
                    <a:gd name="T17" fmla="*/ 60 h 273"/>
                    <a:gd name="T18" fmla="*/ 506 w 511"/>
                    <a:gd name="T19" fmla="*/ 23 h 273"/>
                    <a:gd name="T20" fmla="*/ 511 w 511"/>
                    <a:gd name="T21" fmla="*/ 26 h 273"/>
                    <a:gd name="T22" fmla="*/ 502 w 511"/>
                    <a:gd name="T23" fmla="*/ 64 h 273"/>
                    <a:gd name="T24" fmla="*/ 458 w 511"/>
                    <a:gd name="T25" fmla="*/ 133 h 273"/>
                    <a:gd name="T26" fmla="*/ 393 w 511"/>
                    <a:gd name="T27" fmla="*/ 246 h 273"/>
                    <a:gd name="T28" fmla="*/ 380 w 511"/>
                    <a:gd name="T29" fmla="*/ 273 h 273"/>
                    <a:gd name="T30" fmla="*/ 376 w 511"/>
                    <a:gd name="T31" fmla="*/ 272 h 273"/>
                    <a:gd name="T32" fmla="*/ 410 w 511"/>
                    <a:gd name="T33" fmla="*/ 199 h 273"/>
                    <a:gd name="T34" fmla="*/ 483 w 511"/>
                    <a:gd name="T35" fmla="*/ 82 h 273"/>
                    <a:gd name="T36" fmla="*/ 503 w 511"/>
                    <a:gd name="T37" fmla="*/ 35 h 273"/>
                    <a:gd name="T38" fmla="*/ 466 w 511"/>
                    <a:gd name="T39" fmla="*/ 65 h 273"/>
                    <a:gd name="T40" fmla="*/ 430 w 511"/>
                    <a:gd name="T41" fmla="*/ 77 h 273"/>
                    <a:gd name="T42" fmla="*/ 414 w 511"/>
                    <a:gd name="T43" fmla="*/ 56 h 273"/>
                    <a:gd name="T44" fmla="*/ 419 w 511"/>
                    <a:gd name="T45" fmla="*/ 29 h 273"/>
                    <a:gd name="T46" fmla="*/ 407 w 511"/>
                    <a:gd name="T47" fmla="*/ 6 h 273"/>
                    <a:gd name="T48" fmla="*/ 385 w 511"/>
                    <a:gd name="T49" fmla="*/ 25 h 273"/>
                    <a:gd name="T50" fmla="*/ 389 w 511"/>
                    <a:gd name="T51" fmla="*/ 65 h 273"/>
                    <a:gd name="T52" fmla="*/ 401 w 511"/>
                    <a:gd name="T53" fmla="*/ 78 h 273"/>
                    <a:gd name="T54" fmla="*/ 385 w 511"/>
                    <a:gd name="T55" fmla="*/ 89 h 273"/>
                    <a:gd name="T56" fmla="*/ 333 w 511"/>
                    <a:gd name="T57" fmla="*/ 91 h 273"/>
                    <a:gd name="T58" fmla="*/ 259 w 511"/>
                    <a:gd name="T59" fmla="*/ 91 h 273"/>
                    <a:gd name="T60" fmla="*/ 218 w 511"/>
                    <a:gd name="T61" fmla="*/ 115 h 273"/>
                    <a:gd name="T62" fmla="*/ 194 w 511"/>
                    <a:gd name="T63" fmla="*/ 118 h 273"/>
                    <a:gd name="T64" fmla="*/ 186 w 511"/>
                    <a:gd name="T65" fmla="*/ 108 h 273"/>
                    <a:gd name="T66" fmla="*/ 180 w 511"/>
                    <a:gd name="T67" fmla="*/ 108 h 273"/>
                    <a:gd name="T68" fmla="*/ 142 w 511"/>
                    <a:gd name="T69" fmla="*/ 136 h 273"/>
                    <a:gd name="T70" fmla="*/ 109 w 511"/>
                    <a:gd name="T71" fmla="*/ 135 h 273"/>
                    <a:gd name="T72" fmla="*/ 115 w 511"/>
                    <a:gd name="T73" fmla="*/ 116 h 273"/>
                    <a:gd name="T74" fmla="*/ 160 w 511"/>
                    <a:gd name="T75" fmla="*/ 77 h 273"/>
                    <a:gd name="T76" fmla="*/ 187 w 511"/>
                    <a:gd name="T77" fmla="*/ 65 h 273"/>
                    <a:gd name="T78" fmla="*/ 194 w 511"/>
                    <a:gd name="T79" fmla="*/ 69 h 273"/>
                    <a:gd name="T80" fmla="*/ 172 w 511"/>
                    <a:gd name="T81" fmla="*/ 46 h 273"/>
                    <a:gd name="T82" fmla="*/ 96 w 511"/>
                    <a:gd name="T83" fmla="*/ 98 h 273"/>
                    <a:gd name="T84" fmla="*/ 34 w 511"/>
                    <a:gd name="T85" fmla="*/ 141 h 273"/>
                    <a:gd name="T86" fmla="*/ 5 w 511"/>
                    <a:gd name="T87" fmla="*/ 169 h 273"/>
                    <a:gd name="T88" fmla="*/ 2 w 511"/>
                    <a:gd name="T89" fmla="*/ 166 h 273"/>
                    <a:gd name="T90" fmla="*/ 13 w 511"/>
                    <a:gd name="T91" fmla="*/ 149 h 273"/>
                    <a:gd name="T92" fmla="*/ 70 w 511"/>
                    <a:gd name="T93" fmla="*/ 108 h 273"/>
                    <a:gd name="T94" fmla="*/ 143 w 511"/>
                    <a:gd name="T95" fmla="*/ 53 h 273"/>
                    <a:gd name="T96" fmla="*/ 201 w 511"/>
                    <a:gd name="T97" fmla="*/ 27 h 273"/>
                    <a:gd name="T98" fmla="*/ 206 w 511"/>
                    <a:gd name="T99" fmla="*/ 47 h 273"/>
                    <a:gd name="T100" fmla="*/ 191 w 511"/>
                    <a:gd name="T101" fmla="*/ 93 h 273"/>
                    <a:gd name="T102" fmla="*/ 193 w 511"/>
                    <a:gd name="T103" fmla="*/ 106 h 273"/>
                    <a:gd name="T104" fmla="*/ 198 w 511"/>
                    <a:gd name="T105" fmla="*/ 112 h 273"/>
                    <a:gd name="T106" fmla="*/ 212 w 511"/>
                    <a:gd name="T107" fmla="*/ 108 h 273"/>
                    <a:gd name="T108" fmla="*/ 266 w 511"/>
                    <a:gd name="T109" fmla="*/ 82 h 273"/>
                    <a:gd name="T110" fmla="*/ 335 w 511"/>
                    <a:gd name="T111" fmla="*/ 84 h 273"/>
                    <a:gd name="T112" fmla="*/ 383 w 511"/>
                    <a:gd name="T113" fmla="*/ 81 h 273"/>
                    <a:gd name="T114" fmla="*/ 384 w 511"/>
                    <a:gd name="T115" fmla="*/ 69 h 273"/>
                    <a:gd name="T116" fmla="*/ 379 w 511"/>
                    <a:gd name="T117" fmla="*/ 22 h 273"/>
                    <a:gd name="T118" fmla="*/ 401 w 511"/>
                    <a:gd name="T119" fmla="*/ 0 h 2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511" h="273">
                      <a:moveTo>
                        <a:pt x="182" y="73"/>
                      </a:moveTo>
                      <a:lnTo>
                        <a:pt x="164" y="82"/>
                      </a:lnTo>
                      <a:lnTo>
                        <a:pt x="144" y="97"/>
                      </a:lnTo>
                      <a:lnTo>
                        <a:pt x="132" y="107"/>
                      </a:lnTo>
                      <a:lnTo>
                        <a:pt x="122" y="119"/>
                      </a:lnTo>
                      <a:lnTo>
                        <a:pt x="117" y="129"/>
                      </a:lnTo>
                      <a:lnTo>
                        <a:pt x="127" y="132"/>
                      </a:lnTo>
                      <a:lnTo>
                        <a:pt x="142" y="128"/>
                      </a:lnTo>
                      <a:lnTo>
                        <a:pt x="155" y="121"/>
                      </a:lnTo>
                      <a:lnTo>
                        <a:pt x="167" y="112"/>
                      </a:lnTo>
                      <a:lnTo>
                        <a:pt x="176" y="102"/>
                      </a:lnTo>
                      <a:lnTo>
                        <a:pt x="184" y="90"/>
                      </a:lnTo>
                      <a:lnTo>
                        <a:pt x="184" y="86"/>
                      </a:lnTo>
                      <a:lnTo>
                        <a:pt x="182" y="73"/>
                      </a:lnTo>
                      <a:close/>
                      <a:moveTo>
                        <a:pt x="410" y="0"/>
                      </a:moveTo>
                      <a:lnTo>
                        <a:pt x="414" y="1"/>
                      </a:lnTo>
                      <a:lnTo>
                        <a:pt x="419" y="4"/>
                      </a:lnTo>
                      <a:lnTo>
                        <a:pt x="423" y="9"/>
                      </a:lnTo>
                      <a:lnTo>
                        <a:pt x="424" y="13"/>
                      </a:lnTo>
                      <a:lnTo>
                        <a:pt x="426" y="18"/>
                      </a:lnTo>
                      <a:lnTo>
                        <a:pt x="423" y="38"/>
                      </a:lnTo>
                      <a:lnTo>
                        <a:pt x="420" y="57"/>
                      </a:lnTo>
                      <a:lnTo>
                        <a:pt x="423" y="65"/>
                      </a:lnTo>
                      <a:lnTo>
                        <a:pt x="428" y="69"/>
                      </a:lnTo>
                      <a:lnTo>
                        <a:pt x="436" y="69"/>
                      </a:lnTo>
                      <a:lnTo>
                        <a:pt x="445" y="68"/>
                      </a:lnTo>
                      <a:lnTo>
                        <a:pt x="461" y="60"/>
                      </a:lnTo>
                      <a:lnTo>
                        <a:pt x="477" y="48"/>
                      </a:lnTo>
                      <a:lnTo>
                        <a:pt x="491" y="36"/>
                      </a:lnTo>
                      <a:lnTo>
                        <a:pt x="506" y="23"/>
                      </a:lnTo>
                      <a:lnTo>
                        <a:pt x="507" y="23"/>
                      </a:lnTo>
                      <a:lnTo>
                        <a:pt x="509" y="23"/>
                      </a:lnTo>
                      <a:lnTo>
                        <a:pt x="511" y="26"/>
                      </a:lnTo>
                      <a:lnTo>
                        <a:pt x="511" y="27"/>
                      </a:lnTo>
                      <a:lnTo>
                        <a:pt x="508" y="46"/>
                      </a:lnTo>
                      <a:lnTo>
                        <a:pt x="502" y="64"/>
                      </a:lnTo>
                      <a:lnTo>
                        <a:pt x="492" y="81"/>
                      </a:lnTo>
                      <a:lnTo>
                        <a:pt x="475" y="107"/>
                      </a:lnTo>
                      <a:lnTo>
                        <a:pt x="458" y="133"/>
                      </a:lnTo>
                      <a:lnTo>
                        <a:pt x="419" y="199"/>
                      </a:lnTo>
                      <a:lnTo>
                        <a:pt x="406" y="222"/>
                      </a:lnTo>
                      <a:lnTo>
                        <a:pt x="393" y="246"/>
                      </a:lnTo>
                      <a:lnTo>
                        <a:pt x="383" y="272"/>
                      </a:lnTo>
                      <a:lnTo>
                        <a:pt x="383" y="273"/>
                      </a:lnTo>
                      <a:lnTo>
                        <a:pt x="380" y="273"/>
                      </a:lnTo>
                      <a:lnTo>
                        <a:pt x="379" y="273"/>
                      </a:lnTo>
                      <a:lnTo>
                        <a:pt x="377" y="273"/>
                      </a:lnTo>
                      <a:lnTo>
                        <a:pt x="376" y="272"/>
                      </a:lnTo>
                      <a:lnTo>
                        <a:pt x="376" y="269"/>
                      </a:lnTo>
                      <a:lnTo>
                        <a:pt x="392" y="233"/>
                      </a:lnTo>
                      <a:lnTo>
                        <a:pt x="410" y="199"/>
                      </a:lnTo>
                      <a:lnTo>
                        <a:pt x="449" y="135"/>
                      </a:lnTo>
                      <a:lnTo>
                        <a:pt x="466" y="108"/>
                      </a:lnTo>
                      <a:lnTo>
                        <a:pt x="483" y="82"/>
                      </a:lnTo>
                      <a:lnTo>
                        <a:pt x="492" y="65"/>
                      </a:lnTo>
                      <a:lnTo>
                        <a:pt x="500" y="47"/>
                      </a:lnTo>
                      <a:lnTo>
                        <a:pt x="503" y="35"/>
                      </a:lnTo>
                      <a:lnTo>
                        <a:pt x="495" y="42"/>
                      </a:lnTo>
                      <a:lnTo>
                        <a:pt x="482" y="53"/>
                      </a:lnTo>
                      <a:lnTo>
                        <a:pt x="466" y="65"/>
                      </a:lnTo>
                      <a:lnTo>
                        <a:pt x="451" y="73"/>
                      </a:lnTo>
                      <a:lnTo>
                        <a:pt x="440" y="76"/>
                      </a:lnTo>
                      <a:lnTo>
                        <a:pt x="430" y="77"/>
                      </a:lnTo>
                      <a:lnTo>
                        <a:pt x="420" y="73"/>
                      </a:lnTo>
                      <a:lnTo>
                        <a:pt x="415" y="65"/>
                      </a:lnTo>
                      <a:lnTo>
                        <a:pt x="414" y="56"/>
                      </a:lnTo>
                      <a:lnTo>
                        <a:pt x="414" y="47"/>
                      </a:lnTo>
                      <a:lnTo>
                        <a:pt x="417" y="38"/>
                      </a:lnTo>
                      <a:lnTo>
                        <a:pt x="419" y="29"/>
                      </a:lnTo>
                      <a:lnTo>
                        <a:pt x="419" y="18"/>
                      </a:lnTo>
                      <a:lnTo>
                        <a:pt x="415" y="10"/>
                      </a:lnTo>
                      <a:lnTo>
                        <a:pt x="407" y="6"/>
                      </a:lnTo>
                      <a:lnTo>
                        <a:pt x="400" y="8"/>
                      </a:lnTo>
                      <a:lnTo>
                        <a:pt x="393" y="13"/>
                      </a:lnTo>
                      <a:lnTo>
                        <a:pt x="385" y="25"/>
                      </a:lnTo>
                      <a:lnTo>
                        <a:pt x="383" y="39"/>
                      </a:lnTo>
                      <a:lnTo>
                        <a:pt x="384" y="52"/>
                      </a:lnTo>
                      <a:lnTo>
                        <a:pt x="389" y="65"/>
                      </a:lnTo>
                      <a:lnTo>
                        <a:pt x="400" y="74"/>
                      </a:lnTo>
                      <a:lnTo>
                        <a:pt x="401" y="76"/>
                      </a:lnTo>
                      <a:lnTo>
                        <a:pt x="401" y="78"/>
                      </a:lnTo>
                      <a:lnTo>
                        <a:pt x="401" y="80"/>
                      </a:lnTo>
                      <a:lnTo>
                        <a:pt x="400" y="81"/>
                      </a:lnTo>
                      <a:lnTo>
                        <a:pt x="385" y="89"/>
                      </a:lnTo>
                      <a:lnTo>
                        <a:pt x="367" y="91"/>
                      </a:lnTo>
                      <a:lnTo>
                        <a:pt x="350" y="91"/>
                      </a:lnTo>
                      <a:lnTo>
                        <a:pt x="333" y="91"/>
                      </a:lnTo>
                      <a:lnTo>
                        <a:pt x="292" y="89"/>
                      </a:lnTo>
                      <a:lnTo>
                        <a:pt x="275" y="89"/>
                      </a:lnTo>
                      <a:lnTo>
                        <a:pt x="259" y="91"/>
                      </a:lnTo>
                      <a:lnTo>
                        <a:pt x="245" y="98"/>
                      </a:lnTo>
                      <a:lnTo>
                        <a:pt x="231" y="107"/>
                      </a:lnTo>
                      <a:lnTo>
                        <a:pt x="218" y="115"/>
                      </a:lnTo>
                      <a:lnTo>
                        <a:pt x="203" y="120"/>
                      </a:lnTo>
                      <a:lnTo>
                        <a:pt x="198" y="120"/>
                      </a:lnTo>
                      <a:lnTo>
                        <a:pt x="194" y="118"/>
                      </a:lnTo>
                      <a:lnTo>
                        <a:pt x="191" y="116"/>
                      </a:lnTo>
                      <a:lnTo>
                        <a:pt x="187" y="112"/>
                      </a:lnTo>
                      <a:lnTo>
                        <a:pt x="186" y="108"/>
                      </a:lnTo>
                      <a:lnTo>
                        <a:pt x="185" y="104"/>
                      </a:lnTo>
                      <a:lnTo>
                        <a:pt x="185" y="102"/>
                      </a:lnTo>
                      <a:lnTo>
                        <a:pt x="180" y="108"/>
                      </a:lnTo>
                      <a:lnTo>
                        <a:pt x="169" y="119"/>
                      </a:lnTo>
                      <a:lnTo>
                        <a:pt x="156" y="129"/>
                      </a:lnTo>
                      <a:lnTo>
                        <a:pt x="142" y="136"/>
                      </a:lnTo>
                      <a:lnTo>
                        <a:pt x="127" y="139"/>
                      </a:lnTo>
                      <a:lnTo>
                        <a:pt x="110" y="136"/>
                      </a:lnTo>
                      <a:lnTo>
                        <a:pt x="109" y="135"/>
                      </a:lnTo>
                      <a:lnTo>
                        <a:pt x="109" y="133"/>
                      </a:lnTo>
                      <a:lnTo>
                        <a:pt x="109" y="132"/>
                      </a:lnTo>
                      <a:lnTo>
                        <a:pt x="115" y="116"/>
                      </a:lnTo>
                      <a:lnTo>
                        <a:pt x="126" y="103"/>
                      </a:lnTo>
                      <a:lnTo>
                        <a:pt x="139" y="91"/>
                      </a:lnTo>
                      <a:lnTo>
                        <a:pt x="160" y="77"/>
                      </a:lnTo>
                      <a:lnTo>
                        <a:pt x="184" y="64"/>
                      </a:lnTo>
                      <a:lnTo>
                        <a:pt x="185" y="64"/>
                      </a:lnTo>
                      <a:lnTo>
                        <a:pt x="187" y="65"/>
                      </a:lnTo>
                      <a:lnTo>
                        <a:pt x="189" y="67"/>
                      </a:lnTo>
                      <a:lnTo>
                        <a:pt x="190" y="80"/>
                      </a:lnTo>
                      <a:lnTo>
                        <a:pt x="194" y="69"/>
                      </a:lnTo>
                      <a:lnTo>
                        <a:pt x="198" y="51"/>
                      </a:lnTo>
                      <a:lnTo>
                        <a:pt x="197" y="36"/>
                      </a:lnTo>
                      <a:lnTo>
                        <a:pt x="172" y="46"/>
                      </a:lnTo>
                      <a:lnTo>
                        <a:pt x="146" y="61"/>
                      </a:lnTo>
                      <a:lnTo>
                        <a:pt x="121" y="80"/>
                      </a:lnTo>
                      <a:lnTo>
                        <a:pt x="96" y="98"/>
                      </a:lnTo>
                      <a:lnTo>
                        <a:pt x="74" y="115"/>
                      </a:lnTo>
                      <a:lnTo>
                        <a:pt x="50" y="131"/>
                      </a:lnTo>
                      <a:lnTo>
                        <a:pt x="34" y="141"/>
                      </a:lnTo>
                      <a:lnTo>
                        <a:pt x="20" y="153"/>
                      </a:lnTo>
                      <a:lnTo>
                        <a:pt x="7" y="167"/>
                      </a:lnTo>
                      <a:lnTo>
                        <a:pt x="5" y="169"/>
                      </a:lnTo>
                      <a:lnTo>
                        <a:pt x="4" y="169"/>
                      </a:lnTo>
                      <a:lnTo>
                        <a:pt x="3" y="167"/>
                      </a:lnTo>
                      <a:lnTo>
                        <a:pt x="2" y="166"/>
                      </a:lnTo>
                      <a:lnTo>
                        <a:pt x="0" y="165"/>
                      </a:lnTo>
                      <a:lnTo>
                        <a:pt x="2" y="163"/>
                      </a:lnTo>
                      <a:lnTo>
                        <a:pt x="13" y="149"/>
                      </a:lnTo>
                      <a:lnTo>
                        <a:pt x="29" y="136"/>
                      </a:lnTo>
                      <a:lnTo>
                        <a:pt x="45" y="125"/>
                      </a:lnTo>
                      <a:lnTo>
                        <a:pt x="70" y="108"/>
                      </a:lnTo>
                      <a:lnTo>
                        <a:pt x="95" y="90"/>
                      </a:lnTo>
                      <a:lnTo>
                        <a:pt x="118" y="72"/>
                      </a:lnTo>
                      <a:lnTo>
                        <a:pt x="143" y="53"/>
                      </a:lnTo>
                      <a:lnTo>
                        <a:pt x="169" y="38"/>
                      </a:lnTo>
                      <a:lnTo>
                        <a:pt x="198" y="27"/>
                      </a:lnTo>
                      <a:lnTo>
                        <a:pt x="201" y="27"/>
                      </a:lnTo>
                      <a:lnTo>
                        <a:pt x="202" y="29"/>
                      </a:lnTo>
                      <a:lnTo>
                        <a:pt x="203" y="30"/>
                      </a:lnTo>
                      <a:lnTo>
                        <a:pt x="206" y="47"/>
                      </a:lnTo>
                      <a:lnTo>
                        <a:pt x="203" y="63"/>
                      </a:lnTo>
                      <a:lnTo>
                        <a:pt x="198" y="80"/>
                      </a:lnTo>
                      <a:lnTo>
                        <a:pt x="191" y="93"/>
                      </a:lnTo>
                      <a:lnTo>
                        <a:pt x="191" y="99"/>
                      </a:lnTo>
                      <a:lnTo>
                        <a:pt x="191" y="103"/>
                      </a:lnTo>
                      <a:lnTo>
                        <a:pt x="193" y="106"/>
                      </a:lnTo>
                      <a:lnTo>
                        <a:pt x="194" y="108"/>
                      </a:lnTo>
                      <a:lnTo>
                        <a:pt x="195" y="111"/>
                      </a:lnTo>
                      <a:lnTo>
                        <a:pt x="198" y="112"/>
                      </a:lnTo>
                      <a:lnTo>
                        <a:pt x="201" y="112"/>
                      </a:lnTo>
                      <a:lnTo>
                        <a:pt x="207" y="111"/>
                      </a:lnTo>
                      <a:lnTo>
                        <a:pt x="212" y="108"/>
                      </a:lnTo>
                      <a:lnTo>
                        <a:pt x="229" y="99"/>
                      </a:lnTo>
                      <a:lnTo>
                        <a:pt x="246" y="89"/>
                      </a:lnTo>
                      <a:lnTo>
                        <a:pt x="266" y="82"/>
                      </a:lnTo>
                      <a:lnTo>
                        <a:pt x="288" y="81"/>
                      </a:lnTo>
                      <a:lnTo>
                        <a:pt x="312" y="82"/>
                      </a:lnTo>
                      <a:lnTo>
                        <a:pt x="335" y="84"/>
                      </a:lnTo>
                      <a:lnTo>
                        <a:pt x="350" y="85"/>
                      </a:lnTo>
                      <a:lnTo>
                        <a:pt x="367" y="85"/>
                      </a:lnTo>
                      <a:lnTo>
                        <a:pt x="383" y="81"/>
                      </a:lnTo>
                      <a:lnTo>
                        <a:pt x="390" y="77"/>
                      </a:lnTo>
                      <a:lnTo>
                        <a:pt x="388" y="74"/>
                      </a:lnTo>
                      <a:lnTo>
                        <a:pt x="384" y="69"/>
                      </a:lnTo>
                      <a:lnTo>
                        <a:pt x="376" y="55"/>
                      </a:lnTo>
                      <a:lnTo>
                        <a:pt x="375" y="39"/>
                      </a:lnTo>
                      <a:lnTo>
                        <a:pt x="379" y="22"/>
                      </a:lnTo>
                      <a:lnTo>
                        <a:pt x="388" y="9"/>
                      </a:lnTo>
                      <a:lnTo>
                        <a:pt x="393" y="4"/>
                      </a:lnTo>
                      <a:lnTo>
                        <a:pt x="401" y="0"/>
                      </a:lnTo>
                      <a:lnTo>
                        <a:pt x="410" y="0"/>
                      </a:lnTo>
                      <a:close/>
                    </a:path>
                  </a:pathLst>
                </a:custGeom>
                <a:solidFill>
                  <a:srgbClr val="148BA2"/>
                </a:solidFill>
                <a:ln w="0">
                  <a:solidFill>
                    <a:srgbClr val="148BA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56" name="Freeform 30"/>
                <p:cNvSpPr>
                  <a:spLocks/>
                </p:cNvSpPr>
                <p:nvPr/>
              </p:nvSpPr>
              <p:spPr bwMode="auto">
                <a:xfrm>
                  <a:off x="4684713" y="4794250"/>
                  <a:ext cx="646113" cy="73025"/>
                </a:xfrm>
                <a:custGeom>
                  <a:avLst/>
                  <a:gdLst>
                    <a:gd name="T0" fmla="*/ 0 w 407"/>
                    <a:gd name="T1" fmla="*/ 0 h 46"/>
                    <a:gd name="T2" fmla="*/ 407 w 407"/>
                    <a:gd name="T3" fmla="*/ 0 h 46"/>
                    <a:gd name="T4" fmla="*/ 394 w 407"/>
                    <a:gd name="T5" fmla="*/ 46 h 46"/>
                    <a:gd name="T6" fmla="*/ 0 w 407"/>
                    <a:gd name="T7" fmla="*/ 46 h 46"/>
                    <a:gd name="T8" fmla="*/ 0 w 407"/>
                    <a:gd name="T9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7" h="46">
                      <a:moveTo>
                        <a:pt x="0" y="0"/>
                      </a:moveTo>
                      <a:lnTo>
                        <a:pt x="407" y="0"/>
                      </a:lnTo>
                      <a:lnTo>
                        <a:pt x="394" y="46"/>
                      </a:lnTo>
                      <a:lnTo>
                        <a:pt x="0" y="4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rgbClr val="E3FDF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57" name="Rectangle 31"/>
                <p:cNvSpPr>
                  <a:spLocks noChangeArrowheads="1"/>
                </p:cNvSpPr>
                <p:nvPr/>
              </p:nvSpPr>
              <p:spPr bwMode="auto">
                <a:xfrm>
                  <a:off x="4610100" y="1789113"/>
                  <a:ext cx="2095500" cy="73025"/>
                </a:xfrm>
                <a:prstGeom prst="rect">
                  <a:avLst/>
                </a:prstGeom>
                <a:solidFill>
                  <a:srgbClr val="7F7F7F"/>
                </a:solidFill>
                <a:ln w="0">
                  <a:solidFill>
                    <a:srgbClr val="7F7F7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58" name="Rectangle 32"/>
                <p:cNvSpPr>
                  <a:spLocks noChangeArrowheads="1"/>
                </p:cNvSpPr>
                <p:nvPr/>
              </p:nvSpPr>
              <p:spPr bwMode="auto">
                <a:xfrm>
                  <a:off x="4610100" y="1938338"/>
                  <a:ext cx="3052763" cy="73025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ysClr val="window" lastClr="FFFFFF">
                      <a:lumMod val="85000"/>
                    </a:sys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59" name="Rectangle 33"/>
                <p:cNvSpPr>
                  <a:spLocks noChangeArrowheads="1"/>
                </p:cNvSpPr>
                <p:nvPr/>
              </p:nvSpPr>
              <p:spPr bwMode="auto">
                <a:xfrm>
                  <a:off x="4610100" y="2265363"/>
                  <a:ext cx="1385888" cy="69850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ysClr val="window" lastClr="FFFFFF">
                      <a:lumMod val="85000"/>
                    </a:sys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60" name="Rectangle 34"/>
                <p:cNvSpPr>
                  <a:spLocks noChangeArrowheads="1"/>
                </p:cNvSpPr>
                <p:nvPr/>
              </p:nvSpPr>
              <p:spPr bwMode="auto">
                <a:xfrm>
                  <a:off x="6370638" y="4119563"/>
                  <a:ext cx="1011238" cy="69850"/>
                </a:xfrm>
                <a:prstGeom prst="rect">
                  <a:avLst/>
                </a:prstGeom>
                <a:solidFill>
                  <a:srgbClr val="818287"/>
                </a:solidFill>
                <a:ln w="0">
                  <a:solidFill>
                    <a:srgbClr val="81828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61" name="Freeform 35"/>
                <p:cNvSpPr>
                  <a:spLocks noEditPoints="1"/>
                </p:cNvSpPr>
                <p:nvPr/>
              </p:nvSpPr>
              <p:spPr bwMode="auto">
                <a:xfrm>
                  <a:off x="6370638" y="4268788"/>
                  <a:ext cx="598488" cy="73025"/>
                </a:xfrm>
                <a:custGeom>
                  <a:avLst/>
                  <a:gdLst>
                    <a:gd name="T0" fmla="*/ 211 w 377"/>
                    <a:gd name="T1" fmla="*/ 17 h 46"/>
                    <a:gd name="T2" fmla="*/ 212 w 377"/>
                    <a:gd name="T3" fmla="*/ 17 h 46"/>
                    <a:gd name="T4" fmla="*/ 222 w 377"/>
                    <a:gd name="T5" fmla="*/ 18 h 46"/>
                    <a:gd name="T6" fmla="*/ 232 w 377"/>
                    <a:gd name="T7" fmla="*/ 21 h 46"/>
                    <a:gd name="T8" fmla="*/ 239 w 377"/>
                    <a:gd name="T9" fmla="*/ 27 h 46"/>
                    <a:gd name="T10" fmla="*/ 243 w 377"/>
                    <a:gd name="T11" fmla="*/ 31 h 46"/>
                    <a:gd name="T12" fmla="*/ 245 w 377"/>
                    <a:gd name="T13" fmla="*/ 35 h 46"/>
                    <a:gd name="T14" fmla="*/ 246 w 377"/>
                    <a:gd name="T15" fmla="*/ 40 h 46"/>
                    <a:gd name="T16" fmla="*/ 247 w 377"/>
                    <a:gd name="T17" fmla="*/ 46 h 46"/>
                    <a:gd name="T18" fmla="*/ 140 w 377"/>
                    <a:gd name="T19" fmla="*/ 46 h 46"/>
                    <a:gd name="T20" fmla="*/ 161 w 377"/>
                    <a:gd name="T21" fmla="*/ 30 h 46"/>
                    <a:gd name="T22" fmla="*/ 186 w 377"/>
                    <a:gd name="T23" fmla="*/ 20 h 46"/>
                    <a:gd name="T24" fmla="*/ 211 w 377"/>
                    <a:gd name="T25" fmla="*/ 17 h 46"/>
                    <a:gd name="T26" fmla="*/ 0 w 377"/>
                    <a:gd name="T27" fmla="*/ 0 h 46"/>
                    <a:gd name="T28" fmla="*/ 377 w 377"/>
                    <a:gd name="T29" fmla="*/ 0 h 46"/>
                    <a:gd name="T30" fmla="*/ 377 w 377"/>
                    <a:gd name="T31" fmla="*/ 46 h 46"/>
                    <a:gd name="T32" fmla="*/ 255 w 377"/>
                    <a:gd name="T33" fmla="*/ 46 h 46"/>
                    <a:gd name="T34" fmla="*/ 255 w 377"/>
                    <a:gd name="T35" fmla="*/ 44 h 46"/>
                    <a:gd name="T36" fmla="*/ 251 w 377"/>
                    <a:gd name="T37" fmla="*/ 31 h 46"/>
                    <a:gd name="T38" fmla="*/ 243 w 377"/>
                    <a:gd name="T39" fmla="*/ 22 h 46"/>
                    <a:gd name="T40" fmla="*/ 234 w 377"/>
                    <a:gd name="T41" fmla="*/ 14 h 46"/>
                    <a:gd name="T42" fmla="*/ 222 w 377"/>
                    <a:gd name="T43" fmla="*/ 10 h 46"/>
                    <a:gd name="T44" fmla="*/ 209 w 377"/>
                    <a:gd name="T45" fmla="*/ 9 h 46"/>
                    <a:gd name="T46" fmla="*/ 207 w 377"/>
                    <a:gd name="T47" fmla="*/ 9 h 46"/>
                    <a:gd name="T48" fmla="*/ 178 w 377"/>
                    <a:gd name="T49" fmla="*/ 14 h 46"/>
                    <a:gd name="T50" fmla="*/ 152 w 377"/>
                    <a:gd name="T51" fmla="*/ 27 h 46"/>
                    <a:gd name="T52" fmla="*/ 129 w 377"/>
                    <a:gd name="T53" fmla="*/ 46 h 46"/>
                    <a:gd name="T54" fmla="*/ 0 w 377"/>
                    <a:gd name="T55" fmla="*/ 46 h 46"/>
                    <a:gd name="T56" fmla="*/ 0 w 377"/>
                    <a:gd name="T57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77" h="46">
                      <a:moveTo>
                        <a:pt x="211" y="17"/>
                      </a:moveTo>
                      <a:lnTo>
                        <a:pt x="212" y="17"/>
                      </a:lnTo>
                      <a:lnTo>
                        <a:pt x="222" y="18"/>
                      </a:lnTo>
                      <a:lnTo>
                        <a:pt x="232" y="21"/>
                      </a:lnTo>
                      <a:lnTo>
                        <a:pt x="239" y="27"/>
                      </a:lnTo>
                      <a:lnTo>
                        <a:pt x="243" y="31"/>
                      </a:lnTo>
                      <a:lnTo>
                        <a:pt x="245" y="35"/>
                      </a:lnTo>
                      <a:lnTo>
                        <a:pt x="246" y="40"/>
                      </a:lnTo>
                      <a:lnTo>
                        <a:pt x="247" y="46"/>
                      </a:lnTo>
                      <a:lnTo>
                        <a:pt x="140" y="46"/>
                      </a:lnTo>
                      <a:lnTo>
                        <a:pt x="161" y="30"/>
                      </a:lnTo>
                      <a:lnTo>
                        <a:pt x="186" y="20"/>
                      </a:lnTo>
                      <a:lnTo>
                        <a:pt x="211" y="17"/>
                      </a:lnTo>
                      <a:close/>
                      <a:moveTo>
                        <a:pt x="0" y="0"/>
                      </a:moveTo>
                      <a:lnTo>
                        <a:pt x="377" y="0"/>
                      </a:lnTo>
                      <a:lnTo>
                        <a:pt x="377" y="46"/>
                      </a:lnTo>
                      <a:lnTo>
                        <a:pt x="255" y="46"/>
                      </a:lnTo>
                      <a:lnTo>
                        <a:pt x="255" y="44"/>
                      </a:lnTo>
                      <a:lnTo>
                        <a:pt x="251" y="31"/>
                      </a:lnTo>
                      <a:lnTo>
                        <a:pt x="243" y="22"/>
                      </a:lnTo>
                      <a:lnTo>
                        <a:pt x="234" y="14"/>
                      </a:lnTo>
                      <a:lnTo>
                        <a:pt x="222" y="10"/>
                      </a:lnTo>
                      <a:lnTo>
                        <a:pt x="209" y="9"/>
                      </a:lnTo>
                      <a:lnTo>
                        <a:pt x="207" y="9"/>
                      </a:lnTo>
                      <a:lnTo>
                        <a:pt x="178" y="14"/>
                      </a:lnTo>
                      <a:lnTo>
                        <a:pt x="152" y="27"/>
                      </a:lnTo>
                      <a:lnTo>
                        <a:pt x="129" y="46"/>
                      </a:lnTo>
                      <a:lnTo>
                        <a:pt x="0" y="4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75000"/>
                  </a:sysClr>
                </a:solidFill>
                <a:ln w="0">
                  <a:solidFill>
                    <a:sysClr val="window" lastClr="FFFFFF">
                      <a:lumMod val="75000"/>
                    </a:sys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62" name="Freeform 36"/>
                <p:cNvSpPr>
                  <a:spLocks/>
                </p:cNvSpPr>
                <p:nvPr/>
              </p:nvSpPr>
              <p:spPr bwMode="auto">
                <a:xfrm>
                  <a:off x="6575425" y="4283075"/>
                  <a:ext cx="200025" cy="58738"/>
                </a:xfrm>
                <a:custGeom>
                  <a:avLst/>
                  <a:gdLst>
                    <a:gd name="T0" fmla="*/ 80 w 126"/>
                    <a:gd name="T1" fmla="*/ 0 h 37"/>
                    <a:gd name="T2" fmla="*/ 93 w 126"/>
                    <a:gd name="T3" fmla="*/ 1 h 37"/>
                    <a:gd name="T4" fmla="*/ 105 w 126"/>
                    <a:gd name="T5" fmla="*/ 5 h 37"/>
                    <a:gd name="T6" fmla="*/ 114 w 126"/>
                    <a:gd name="T7" fmla="*/ 13 h 37"/>
                    <a:gd name="T8" fmla="*/ 122 w 126"/>
                    <a:gd name="T9" fmla="*/ 22 h 37"/>
                    <a:gd name="T10" fmla="*/ 126 w 126"/>
                    <a:gd name="T11" fmla="*/ 35 h 37"/>
                    <a:gd name="T12" fmla="*/ 126 w 126"/>
                    <a:gd name="T13" fmla="*/ 37 h 37"/>
                    <a:gd name="T14" fmla="*/ 118 w 126"/>
                    <a:gd name="T15" fmla="*/ 37 h 37"/>
                    <a:gd name="T16" fmla="*/ 117 w 126"/>
                    <a:gd name="T17" fmla="*/ 31 h 37"/>
                    <a:gd name="T18" fmla="*/ 116 w 126"/>
                    <a:gd name="T19" fmla="*/ 26 h 37"/>
                    <a:gd name="T20" fmla="*/ 114 w 126"/>
                    <a:gd name="T21" fmla="*/ 22 h 37"/>
                    <a:gd name="T22" fmla="*/ 110 w 126"/>
                    <a:gd name="T23" fmla="*/ 18 h 37"/>
                    <a:gd name="T24" fmla="*/ 103 w 126"/>
                    <a:gd name="T25" fmla="*/ 12 h 37"/>
                    <a:gd name="T26" fmla="*/ 93 w 126"/>
                    <a:gd name="T27" fmla="*/ 9 h 37"/>
                    <a:gd name="T28" fmla="*/ 83 w 126"/>
                    <a:gd name="T29" fmla="*/ 8 h 37"/>
                    <a:gd name="T30" fmla="*/ 82 w 126"/>
                    <a:gd name="T31" fmla="*/ 8 h 37"/>
                    <a:gd name="T32" fmla="*/ 57 w 126"/>
                    <a:gd name="T33" fmla="*/ 11 h 37"/>
                    <a:gd name="T34" fmla="*/ 32 w 126"/>
                    <a:gd name="T35" fmla="*/ 21 h 37"/>
                    <a:gd name="T36" fmla="*/ 11 w 126"/>
                    <a:gd name="T37" fmla="*/ 37 h 37"/>
                    <a:gd name="T38" fmla="*/ 0 w 126"/>
                    <a:gd name="T39" fmla="*/ 37 h 37"/>
                    <a:gd name="T40" fmla="*/ 23 w 126"/>
                    <a:gd name="T41" fmla="*/ 18 h 37"/>
                    <a:gd name="T42" fmla="*/ 49 w 126"/>
                    <a:gd name="T43" fmla="*/ 5 h 37"/>
                    <a:gd name="T44" fmla="*/ 78 w 126"/>
                    <a:gd name="T45" fmla="*/ 0 h 37"/>
                    <a:gd name="T46" fmla="*/ 80 w 126"/>
                    <a:gd name="T47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26" h="37">
                      <a:moveTo>
                        <a:pt x="80" y="0"/>
                      </a:moveTo>
                      <a:lnTo>
                        <a:pt x="93" y="1"/>
                      </a:lnTo>
                      <a:lnTo>
                        <a:pt x="105" y="5"/>
                      </a:lnTo>
                      <a:lnTo>
                        <a:pt x="114" y="13"/>
                      </a:lnTo>
                      <a:lnTo>
                        <a:pt x="122" y="22"/>
                      </a:lnTo>
                      <a:lnTo>
                        <a:pt x="126" y="35"/>
                      </a:lnTo>
                      <a:lnTo>
                        <a:pt x="126" y="37"/>
                      </a:lnTo>
                      <a:lnTo>
                        <a:pt x="118" y="37"/>
                      </a:lnTo>
                      <a:lnTo>
                        <a:pt x="117" y="31"/>
                      </a:lnTo>
                      <a:lnTo>
                        <a:pt x="116" y="26"/>
                      </a:lnTo>
                      <a:lnTo>
                        <a:pt x="114" y="22"/>
                      </a:lnTo>
                      <a:lnTo>
                        <a:pt x="110" y="18"/>
                      </a:lnTo>
                      <a:lnTo>
                        <a:pt x="103" y="12"/>
                      </a:lnTo>
                      <a:lnTo>
                        <a:pt x="93" y="9"/>
                      </a:lnTo>
                      <a:lnTo>
                        <a:pt x="83" y="8"/>
                      </a:lnTo>
                      <a:lnTo>
                        <a:pt x="82" y="8"/>
                      </a:lnTo>
                      <a:lnTo>
                        <a:pt x="57" y="11"/>
                      </a:lnTo>
                      <a:lnTo>
                        <a:pt x="32" y="21"/>
                      </a:lnTo>
                      <a:lnTo>
                        <a:pt x="11" y="37"/>
                      </a:lnTo>
                      <a:lnTo>
                        <a:pt x="0" y="37"/>
                      </a:lnTo>
                      <a:lnTo>
                        <a:pt x="23" y="18"/>
                      </a:lnTo>
                      <a:lnTo>
                        <a:pt x="49" y="5"/>
                      </a:lnTo>
                      <a:lnTo>
                        <a:pt x="78" y="0"/>
                      </a:ln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148BA2"/>
                </a:solidFill>
                <a:ln w="0">
                  <a:solidFill>
                    <a:srgbClr val="148BA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63" name="Freeform 37"/>
                <p:cNvSpPr>
                  <a:spLocks/>
                </p:cNvSpPr>
                <p:nvPr/>
              </p:nvSpPr>
              <p:spPr bwMode="auto">
                <a:xfrm>
                  <a:off x="6370638" y="4794250"/>
                  <a:ext cx="842963" cy="73025"/>
                </a:xfrm>
                <a:custGeom>
                  <a:avLst/>
                  <a:gdLst>
                    <a:gd name="T0" fmla="*/ 0 w 531"/>
                    <a:gd name="T1" fmla="*/ 0 h 46"/>
                    <a:gd name="T2" fmla="*/ 455 w 531"/>
                    <a:gd name="T3" fmla="*/ 0 h 46"/>
                    <a:gd name="T4" fmla="*/ 441 w 531"/>
                    <a:gd name="T5" fmla="*/ 35 h 46"/>
                    <a:gd name="T6" fmla="*/ 441 w 531"/>
                    <a:gd name="T7" fmla="*/ 37 h 46"/>
                    <a:gd name="T8" fmla="*/ 442 w 531"/>
                    <a:gd name="T9" fmla="*/ 39 h 46"/>
                    <a:gd name="T10" fmla="*/ 444 w 531"/>
                    <a:gd name="T11" fmla="*/ 39 h 46"/>
                    <a:gd name="T12" fmla="*/ 445 w 531"/>
                    <a:gd name="T13" fmla="*/ 39 h 46"/>
                    <a:gd name="T14" fmla="*/ 446 w 531"/>
                    <a:gd name="T15" fmla="*/ 39 h 46"/>
                    <a:gd name="T16" fmla="*/ 448 w 531"/>
                    <a:gd name="T17" fmla="*/ 39 h 46"/>
                    <a:gd name="T18" fmla="*/ 448 w 531"/>
                    <a:gd name="T19" fmla="*/ 38 h 46"/>
                    <a:gd name="T20" fmla="*/ 455 w 531"/>
                    <a:gd name="T21" fmla="*/ 18 h 46"/>
                    <a:gd name="T22" fmla="*/ 465 w 531"/>
                    <a:gd name="T23" fmla="*/ 0 h 46"/>
                    <a:gd name="T24" fmla="*/ 531 w 531"/>
                    <a:gd name="T25" fmla="*/ 0 h 46"/>
                    <a:gd name="T26" fmla="*/ 531 w 531"/>
                    <a:gd name="T27" fmla="*/ 46 h 46"/>
                    <a:gd name="T28" fmla="*/ 0 w 531"/>
                    <a:gd name="T29" fmla="*/ 46 h 46"/>
                    <a:gd name="T30" fmla="*/ 0 w 531"/>
                    <a:gd name="T31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531" h="46">
                      <a:moveTo>
                        <a:pt x="0" y="0"/>
                      </a:moveTo>
                      <a:lnTo>
                        <a:pt x="455" y="0"/>
                      </a:lnTo>
                      <a:lnTo>
                        <a:pt x="441" y="35"/>
                      </a:lnTo>
                      <a:lnTo>
                        <a:pt x="441" y="37"/>
                      </a:lnTo>
                      <a:lnTo>
                        <a:pt x="442" y="39"/>
                      </a:lnTo>
                      <a:lnTo>
                        <a:pt x="444" y="39"/>
                      </a:lnTo>
                      <a:lnTo>
                        <a:pt x="445" y="39"/>
                      </a:lnTo>
                      <a:lnTo>
                        <a:pt x="446" y="39"/>
                      </a:lnTo>
                      <a:lnTo>
                        <a:pt x="448" y="39"/>
                      </a:lnTo>
                      <a:lnTo>
                        <a:pt x="448" y="38"/>
                      </a:lnTo>
                      <a:lnTo>
                        <a:pt x="455" y="18"/>
                      </a:lnTo>
                      <a:lnTo>
                        <a:pt x="465" y="0"/>
                      </a:lnTo>
                      <a:lnTo>
                        <a:pt x="531" y="0"/>
                      </a:lnTo>
                      <a:lnTo>
                        <a:pt x="531" y="46"/>
                      </a:lnTo>
                      <a:lnTo>
                        <a:pt x="0" y="4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rgbClr val="E3FDF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64" name="Freeform 38"/>
                <p:cNvSpPr>
                  <a:spLocks/>
                </p:cNvSpPr>
                <p:nvPr/>
              </p:nvSpPr>
              <p:spPr bwMode="auto">
                <a:xfrm>
                  <a:off x="7070725" y="4794250"/>
                  <a:ext cx="38100" cy="61913"/>
                </a:xfrm>
                <a:custGeom>
                  <a:avLst/>
                  <a:gdLst>
                    <a:gd name="T0" fmla="*/ 14 w 24"/>
                    <a:gd name="T1" fmla="*/ 0 h 39"/>
                    <a:gd name="T2" fmla="*/ 24 w 24"/>
                    <a:gd name="T3" fmla="*/ 0 h 39"/>
                    <a:gd name="T4" fmla="*/ 14 w 24"/>
                    <a:gd name="T5" fmla="*/ 18 h 39"/>
                    <a:gd name="T6" fmla="*/ 7 w 24"/>
                    <a:gd name="T7" fmla="*/ 38 h 39"/>
                    <a:gd name="T8" fmla="*/ 7 w 24"/>
                    <a:gd name="T9" fmla="*/ 39 h 39"/>
                    <a:gd name="T10" fmla="*/ 5 w 24"/>
                    <a:gd name="T11" fmla="*/ 39 h 39"/>
                    <a:gd name="T12" fmla="*/ 4 w 24"/>
                    <a:gd name="T13" fmla="*/ 39 h 39"/>
                    <a:gd name="T14" fmla="*/ 3 w 24"/>
                    <a:gd name="T15" fmla="*/ 39 h 39"/>
                    <a:gd name="T16" fmla="*/ 1 w 24"/>
                    <a:gd name="T17" fmla="*/ 39 h 39"/>
                    <a:gd name="T18" fmla="*/ 0 w 24"/>
                    <a:gd name="T19" fmla="*/ 37 h 39"/>
                    <a:gd name="T20" fmla="*/ 0 w 24"/>
                    <a:gd name="T21" fmla="*/ 35 h 39"/>
                    <a:gd name="T22" fmla="*/ 14 w 24"/>
                    <a:gd name="T23" fmla="*/ 0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4" h="39">
                      <a:moveTo>
                        <a:pt x="14" y="0"/>
                      </a:moveTo>
                      <a:lnTo>
                        <a:pt x="24" y="0"/>
                      </a:lnTo>
                      <a:lnTo>
                        <a:pt x="14" y="18"/>
                      </a:lnTo>
                      <a:lnTo>
                        <a:pt x="7" y="38"/>
                      </a:lnTo>
                      <a:lnTo>
                        <a:pt x="7" y="39"/>
                      </a:lnTo>
                      <a:lnTo>
                        <a:pt x="5" y="39"/>
                      </a:lnTo>
                      <a:lnTo>
                        <a:pt x="4" y="39"/>
                      </a:lnTo>
                      <a:lnTo>
                        <a:pt x="3" y="39"/>
                      </a:lnTo>
                      <a:lnTo>
                        <a:pt x="1" y="39"/>
                      </a:lnTo>
                      <a:lnTo>
                        <a:pt x="0" y="37"/>
                      </a:lnTo>
                      <a:lnTo>
                        <a:pt x="0" y="35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solidFill>
                  <a:srgbClr val="148BA2"/>
                </a:solidFill>
                <a:ln w="0">
                  <a:solidFill>
                    <a:srgbClr val="148BA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65" name="Rectangle 49"/>
                <p:cNvSpPr>
                  <a:spLocks noChangeArrowheads="1"/>
                </p:cNvSpPr>
                <p:nvPr/>
              </p:nvSpPr>
              <p:spPr bwMode="auto">
                <a:xfrm>
                  <a:off x="4610100" y="2994025"/>
                  <a:ext cx="3052763" cy="73025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ysClr val="window" lastClr="FFFFFF">
                      <a:lumMod val="85000"/>
                    </a:sys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66" name="Freeform 50"/>
                <p:cNvSpPr>
                  <a:spLocks noEditPoints="1"/>
                </p:cNvSpPr>
                <p:nvPr/>
              </p:nvSpPr>
              <p:spPr bwMode="auto">
                <a:xfrm>
                  <a:off x="4610100" y="3146425"/>
                  <a:ext cx="1385888" cy="69850"/>
                </a:xfrm>
                <a:custGeom>
                  <a:avLst/>
                  <a:gdLst>
                    <a:gd name="T0" fmla="*/ 864 w 873"/>
                    <a:gd name="T1" fmla="*/ 0 h 44"/>
                    <a:gd name="T2" fmla="*/ 873 w 873"/>
                    <a:gd name="T3" fmla="*/ 0 h 44"/>
                    <a:gd name="T4" fmla="*/ 873 w 873"/>
                    <a:gd name="T5" fmla="*/ 44 h 44"/>
                    <a:gd name="T6" fmla="*/ 872 w 873"/>
                    <a:gd name="T7" fmla="*/ 44 h 44"/>
                    <a:gd name="T8" fmla="*/ 872 w 873"/>
                    <a:gd name="T9" fmla="*/ 21 h 44"/>
                    <a:gd name="T10" fmla="*/ 861 w 873"/>
                    <a:gd name="T11" fmla="*/ 18 h 44"/>
                    <a:gd name="T12" fmla="*/ 864 w 873"/>
                    <a:gd name="T13" fmla="*/ 0 h 44"/>
                    <a:gd name="T14" fmla="*/ 0 w 873"/>
                    <a:gd name="T15" fmla="*/ 0 h 44"/>
                    <a:gd name="T16" fmla="*/ 854 w 873"/>
                    <a:gd name="T17" fmla="*/ 0 h 44"/>
                    <a:gd name="T18" fmla="*/ 847 w 873"/>
                    <a:gd name="T19" fmla="*/ 14 h 44"/>
                    <a:gd name="T20" fmla="*/ 847 w 873"/>
                    <a:gd name="T21" fmla="*/ 13 h 44"/>
                    <a:gd name="T22" fmla="*/ 838 w 873"/>
                    <a:gd name="T23" fmla="*/ 10 h 44"/>
                    <a:gd name="T24" fmla="*/ 816 w 873"/>
                    <a:gd name="T25" fmla="*/ 44 h 44"/>
                    <a:gd name="T26" fmla="*/ 0 w 873"/>
                    <a:gd name="T27" fmla="*/ 44 h 44"/>
                    <a:gd name="T28" fmla="*/ 0 w 873"/>
                    <a:gd name="T29" fmla="*/ 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873" h="44">
                      <a:moveTo>
                        <a:pt x="864" y="0"/>
                      </a:moveTo>
                      <a:lnTo>
                        <a:pt x="873" y="0"/>
                      </a:lnTo>
                      <a:lnTo>
                        <a:pt x="873" y="44"/>
                      </a:lnTo>
                      <a:lnTo>
                        <a:pt x="872" y="44"/>
                      </a:lnTo>
                      <a:lnTo>
                        <a:pt x="872" y="21"/>
                      </a:lnTo>
                      <a:lnTo>
                        <a:pt x="861" y="18"/>
                      </a:lnTo>
                      <a:lnTo>
                        <a:pt x="864" y="0"/>
                      </a:lnTo>
                      <a:close/>
                      <a:moveTo>
                        <a:pt x="0" y="0"/>
                      </a:moveTo>
                      <a:lnTo>
                        <a:pt x="854" y="0"/>
                      </a:lnTo>
                      <a:lnTo>
                        <a:pt x="847" y="14"/>
                      </a:lnTo>
                      <a:lnTo>
                        <a:pt x="847" y="13"/>
                      </a:lnTo>
                      <a:lnTo>
                        <a:pt x="838" y="10"/>
                      </a:lnTo>
                      <a:lnTo>
                        <a:pt x="816" y="44"/>
                      </a:lnTo>
                      <a:lnTo>
                        <a:pt x="0" y="4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ysClr val="window" lastClr="FFFFFF">
                      <a:lumMod val="85000"/>
                    </a:sys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67" name="Rectangle 62"/>
                <p:cNvSpPr>
                  <a:spLocks noChangeArrowheads="1"/>
                </p:cNvSpPr>
                <p:nvPr/>
              </p:nvSpPr>
              <p:spPr bwMode="auto">
                <a:xfrm>
                  <a:off x="4610100" y="2846388"/>
                  <a:ext cx="3059113" cy="73025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ysClr val="window" lastClr="FFFFFF">
                      <a:lumMod val="85000"/>
                    </a:sys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68" name="Rectangle 63"/>
                <p:cNvSpPr>
                  <a:spLocks noChangeArrowheads="1"/>
                </p:cNvSpPr>
                <p:nvPr/>
              </p:nvSpPr>
              <p:spPr bwMode="auto">
                <a:xfrm>
                  <a:off x="4610100" y="2543175"/>
                  <a:ext cx="3059113" cy="74613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ysClr val="window" lastClr="FFFFFF">
                      <a:lumMod val="85000"/>
                    </a:sys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69" name="Rectangle 64"/>
                <p:cNvSpPr>
                  <a:spLocks noChangeArrowheads="1"/>
                </p:cNvSpPr>
                <p:nvPr/>
              </p:nvSpPr>
              <p:spPr bwMode="auto">
                <a:xfrm>
                  <a:off x="4610100" y="2693988"/>
                  <a:ext cx="3052763" cy="71438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ysClr val="window" lastClr="FFFFFF">
                      <a:lumMod val="85000"/>
                    </a:sys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70" name="Rectangle 65"/>
                <p:cNvSpPr>
                  <a:spLocks noChangeArrowheads="1"/>
                </p:cNvSpPr>
                <p:nvPr/>
              </p:nvSpPr>
              <p:spPr bwMode="auto">
                <a:xfrm>
                  <a:off x="4610100" y="2100263"/>
                  <a:ext cx="3052763" cy="73025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ysClr val="window" lastClr="FFFFFF">
                      <a:lumMod val="85000"/>
                    </a:sys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</p:grpSp>
        </p:grpSp>
        <p:grpSp>
          <p:nvGrpSpPr>
            <p:cNvPr id="39" name="Group 38"/>
            <p:cNvGrpSpPr/>
            <p:nvPr/>
          </p:nvGrpSpPr>
          <p:grpSpPr>
            <a:xfrm>
              <a:off x="925023" y="3631231"/>
              <a:ext cx="948934" cy="2713059"/>
              <a:chOff x="4799013" y="2959100"/>
              <a:chExt cx="1182687" cy="3381376"/>
            </a:xfrm>
          </p:grpSpPr>
          <p:sp>
            <p:nvSpPr>
              <p:cNvPr id="40" name="Freeform 52"/>
              <p:cNvSpPr>
                <a:spLocks/>
              </p:cNvSpPr>
              <p:nvPr/>
            </p:nvSpPr>
            <p:spPr bwMode="auto">
              <a:xfrm>
                <a:off x="4900613" y="3327400"/>
                <a:ext cx="1074738" cy="2752725"/>
              </a:xfrm>
              <a:custGeom>
                <a:avLst/>
                <a:gdLst>
                  <a:gd name="T0" fmla="*/ 511 w 677"/>
                  <a:gd name="T1" fmla="*/ 0 h 1734"/>
                  <a:gd name="T2" fmla="*/ 677 w 677"/>
                  <a:gd name="T3" fmla="*/ 50 h 1734"/>
                  <a:gd name="T4" fmla="*/ 167 w 677"/>
                  <a:gd name="T5" fmla="*/ 1734 h 1734"/>
                  <a:gd name="T6" fmla="*/ 0 w 677"/>
                  <a:gd name="T7" fmla="*/ 1683 h 1734"/>
                  <a:gd name="T8" fmla="*/ 511 w 677"/>
                  <a:gd name="T9" fmla="*/ 0 h 17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7" h="1734">
                    <a:moveTo>
                      <a:pt x="511" y="0"/>
                    </a:moveTo>
                    <a:lnTo>
                      <a:pt x="677" y="50"/>
                    </a:lnTo>
                    <a:lnTo>
                      <a:pt x="167" y="1734"/>
                    </a:lnTo>
                    <a:lnTo>
                      <a:pt x="0" y="1683"/>
                    </a:lnTo>
                    <a:lnTo>
                      <a:pt x="511" y="0"/>
                    </a:lnTo>
                    <a:close/>
                  </a:path>
                </a:pathLst>
              </a:custGeom>
              <a:solidFill>
                <a:srgbClr val="26867C"/>
              </a:solidFill>
              <a:ln w="0">
                <a:solidFill>
                  <a:srgbClr val="148BA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41" name="Freeform 53"/>
              <p:cNvSpPr>
                <a:spLocks/>
              </p:cNvSpPr>
              <p:nvPr/>
            </p:nvSpPr>
            <p:spPr bwMode="auto">
              <a:xfrm>
                <a:off x="5045074" y="3370264"/>
                <a:ext cx="936626" cy="2713039"/>
              </a:xfrm>
              <a:custGeom>
                <a:avLst/>
                <a:gdLst>
                  <a:gd name="T0" fmla="*/ 510 w 590"/>
                  <a:gd name="T1" fmla="*/ 0 h 1709"/>
                  <a:gd name="T2" fmla="*/ 590 w 590"/>
                  <a:gd name="T3" fmla="*/ 24 h 1709"/>
                  <a:gd name="T4" fmla="*/ 79 w 590"/>
                  <a:gd name="T5" fmla="*/ 1709 h 1709"/>
                  <a:gd name="T6" fmla="*/ 0 w 590"/>
                  <a:gd name="T7" fmla="*/ 1684 h 1709"/>
                  <a:gd name="T8" fmla="*/ 510 w 590"/>
                  <a:gd name="T9" fmla="*/ 0 h 1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0" h="1709">
                    <a:moveTo>
                      <a:pt x="510" y="0"/>
                    </a:moveTo>
                    <a:lnTo>
                      <a:pt x="590" y="24"/>
                    </a:lnTo>
                    <a:lnTo>
                      <a:pt x="79" y="1709"/>
                    </a:lnTo>
                    <a:lnTo>
                      <a:pt x="0" y="1684"/>
                    </a:lnTo>
                    <a:lnTo>
                      <a:pt x="510" y="0"/>
                    </a:lnTo>
                    <a:close/>
                  </a:path>
                </a:pathLst>
              </a:custGeom>
              <a:solidFill>
                <a:srgbClr val="26867C"/>
              </a:solidFill>
              <a:ln w="0">
                <a:solidFill>
                  <a:srgbClr val="148BA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42" name="Freeform 54"/>
              <p:cNvSpPr>
                <a:spLocks/>
              </p:cNvSpPr>
              <p:nvPr/>
            </p:nvSpPr>
            <p:spPr bwMode="auto">
              <a:xfrm>
                <a:off x="4799013" y="5757863"/>
                <a:ext cx="463550" cy="582613"/>
              </a:xfrm>
              <a:custGeom>
                <a:avLst/>
                <a:gdLst>
                  <a:gd name="T0" fmla="*/ 93 w 292"/>
                  <a:gd name="T1" fmla="*/ 0 h 367"/>
                  <a:gd name="T2" fmla="*/ 292 w 292"/>
                  <a:gd name="T3" fmla="*/ 61 h 367"/>
                  <a:gd name="T4" fmla="*/ 199 w 292"/>
                  <a:gd name="T5" fmla="*/ 367 h 367"/>
                  <a:gd name="T6" fmla="*/ 0 w 292"/>
                  <a:gd name="T7" fmla="*/ 307 h 367"/>
                  <a:gd name="T8" fmla="*/ 93 w 292"/>
                  <a:gd name="T9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2" h="367">
                    <a:moveTo>
                      <a:pt x="93" y="0"/>
                    </a:moveTo>
                    <a:lnTo>
                      <a:pt x="292" y="61"/>
                    </a:lnTo>
                    <a:lnTo>
                      <a:pt x="199" y="367"/>
                    </a:lnTo>
                    <a:lnTo>
                      <a:pt x="0" y="307"/>
                    </a:lnTo>
                    <a:lnTo>
                      <a:pt x="93" y="0"/>
                    </a:lnTo>
                    <a:close/>
                  </a:path>
                </a:pathLst>
              </a:custGeom>
              <a:solidFill>
                <a:srgbClr val="8F9095"/>
              </a:solidFill>
              <a:ln w="0">
                <a:solidFill>
                  <a:srgbClr val="8F909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43" name="Freeform 55"/>
              <p:cNvSpPr>
                <a:spLocks/>
              </p:cNvSpPr>
              <p:nvPr/>
            </p:nvSpPr>
            <p:spPr bwMode="auto">
              <a:xfrm>
                <a:off x="5875338" y="2959100"/>
                <a:ext cx="87313" cy="209550"/>
              </a:xfrm>
              <a:custGeom>
                <a:avLst/>
                <a:gdLst>
                  <a:gd name="T0" fmla="*/ 55 w 55"/>
                  <a:gd name="T1" fmla="*/ 0 h 132"/>
                  <a:gd name="T2" fmla="*/ 40 w 55"/>
                  <a:gd name="T3" fmla="*/ 132 h 132"/>
                  <a:gd name="T4" fmla="*/ 0 w 55"/>
                  <a:gd name="T5" fmla="*/ 119 h 132"/>
                  <a:gd name="T6" fmla="*/ 55 w 55"/>
                  <a:gd name="T7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5" h="132">
                    <a:moveTo>
                      <a:pt x="55" y="0"/>
                    </a:moveTo>
                    <a:lnTo>
                      <a:pt x="40" y="132"/>
                    </a:lnTo>
                    <a:lnTo>
                      <a:pt x="0" y="119"/>
                    </a:lnTo>
                    <a:lnTo>
                      <a:pt x="55" y="0"/>
                    </a:lnTo>
                    <a:close/>
                  </a:path>
                </a:pathLst>
              </a:custGeom>
              <a:solidFill>
                <a:srgbClr val="333333"/>
              </a:solidFill>
              <a:ln w="0">
                <a:solidFill>
                  <a:srgbClr val="333333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44" name="Rectangle 56"/>
              <p:cNvSpPr>
                <a:spLocks noChangeArrowheads="1"/>
              </p:cNvSpPr>
              <p:nvPr/>
            </p:nvSpPr>
            <p:spPr bwMode="auto">
              <a:xfrm>
                <a:off x="5967413" y="3152775"/>
                <a:ext cx="1588" cy="1588"/>
              </a:xfrm>
              <a:prstGeom prst="rect">
                <a:avLst/>
              </a:prstGeom>
              <a:solidFill>
                <a:srgbClr val="E8C27E"/>
              </a:solidFill>
              <a:ln w="0">
                <a:solidFill>
                  <a:srgbClr val="E8C27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45" name="Freeform 57"/>
              <p:cNvSpPr>
                <a:spLocks/>
              </p:cNvSpPr>
              <p:nvPr/>
            </p:nvSpPr>
            <p:spPr bwMode="auto">
              <a:xfrm>
                <a:off x="5711825" y="3030538"/>
                <a:ext cx="263525" cy="376238"/>
              </a:xfrm>
              <a:custGeom>
                <a:avLst/>
                <a:gdLst>
                  <a:gd name="T0" fmla="*/ 128 w 166"/>
                  <a:gd name="T1" fmla="*/ 0 h 237"/>
                  <a:gd name="T2" fmla="*/ 162 w 166"/>
                  <a:gd name="T3" fmla="*/ 10 h 237"/>
                  <a:gd name="T4" fmla="*/ 166 w 166"/>
                  <a:gd name="T5" fmla="*/ 237 h 237"/>
                  <a:gd name="T6" fmla="*/ 0 w 166"/>
                  <a:gd name="T7" fmla="*/ 187 h 237"/>
                  <a:gd name="T8" fmla="*/ 128 w 166"/>
                  <a:gd name="T9" fmla="*/ 0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6" h="237">
                    <a:moveTo>
                      <a:pt x="128" y="0"/>
                    </a:moveTo>
                    <a:lnTo>
                      <a:pt x="162" y="10"/>
                    </a:lnTo>
                    <a:lnTo>
                      <a:pt x="166" y="237"/>
                    </a:lnTo>
                    <a:lnTo>
                      <a:pt x="0" y="187"/>
                    </a:lnTo>
                    <a:lnTo>
                      <a:pt x="128" y="0"/>
                    </a:lnTo>
                    <a:close/>
                  </a:path>
                </a:pathLst>
              </a:custGeom>
              <a:solidFill>
                <a:srgbClr val="BFBFBF"/>
              </a:solidFill>
              <a:ln w="0">
                <a:solidFill>
                  <a:srgbClr val="BFBFB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46" name="Freeform 58"/>
              <p:cNvSpPr>
                <a:spLocks/>
              </p:cNvSpPr>
              <p:nvPr/>
            </p:nvSpPr>
            <p:spPr bwMode="auto">
              <a:xfrm>
                <a:off x="5375275" y="3327400"/>
                <a:ext cx="606425" cy="1190625"/>
              </a:xfrm>
              <a:custGeom>
                <a:avLst/>
                <a:gdLst>
                  <a:gd name="T0" fmla="*/ 212 w 382"/>
                  <a:gd name="T1" fmla="*/ 0 h 750"/>
                  <a:gd name="T2" fmla="*/ 382 w 382"/>
                  <a:gd name="T3" fmla="*/ 51 h 750"/>
                  <a:gd name="T4" fmla="*/ 170 w 382"/>
                  <a:gd name="T5" fmla="*/ 750 h 750"/>
                  <a:gd name="T6" fmla="*/ 0 w 382"/>
                  <a:gd name="T7" fmla="*/ 699 h 750"/>
                  <a:gd name="T8" fmla="*/ 212 w 382"/>
                  <a:gd name="T9" fmla="*/ 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750">
                    <a:moveTo>
                      <a:pt x="212" y="0"/>
                    </a:moveTo>
                    <a:lnTo>
                      <a:pt x="382" y="51"/>
                    </a:lnTo>
                    <a:lnTo>
                      <a:pt x="170" y="750"/>
                    </a:lnTo>
                    <a:lnTo>
                      <a:pt x="0" y="699"/>
                    </a:lnTo>
                    <a:lnTo>
                      <a:pt x="212" y="0"/>
                    </a:lnTo>
                    <a:close/>
                  </a:path>
                </a:pathLst>
              </a:custGeom>
              <a:solidFill>
                <a:srgbClr val="26867C"/>
              </a:solidFill>
              <a:ln w="0">
                <a:solidFill>
                  <a:srgbClr val="148BA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47" name="Freeform 59"/>
              <p:cNvSpPr>
                <a:spLocks/>
              </p:cNvSpPr>
              <p:nvPr/>
            </p:nvSpPr>
            <p:spPr bwMode="auto">
              <a:xfrm>
                <a:off x="5757863" y="3033713"/>
                <a:ext cx="192088" cy="333375"/>
              </a:xfrm>
              <a:custGeom>
                <a:avLst/>
                <a:gdLst>
                  <a:gd name="T0" fmla="*/ 107 w 121"/>
                  <a:gd name="T1" fmla="*/ 0 h 210"/>
                  <a:gd name="T2" fmla="*/ 121 w 121"/>
                  <a:gd name="T3" fmla="*/ 4 h 210"/>
                  <a:gd name="T4" fmla="*/ 53 w 121"/>
                  <a:gd name="T5" fmla="*/ 210 h 210"/>
                  <a:gd name="T6" fmla="*/ 0 w 121"/>
                  <a:gd name="T7" fmla="*/ 193 h 210"/>
                  <a:gd name="T8" fmla="*/ 107 w 121"/>
                  <a:gd name="T9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1" h="210">
                    <a:moveTo>
                      <a:pt x="107" y="0"/>
                    </a:moveTo>
                    <a:lnTo>
                      <a:pt x="121" y="4"/>
                    </a:lnTo>
                    <a:lnTo>
                      <a:pt x="53" y="210"/>
                    </a:lnTo>
                    <a:lnTo>
                      <a:pt x="0" y="193"/>
                    </a:lnTo>
                    <a:lnTo>
                      <a:pt x="107" y="0"/>
                    </a:lnTo>
                    <a:close/>
                  </a:path>
                </a:pathLst>
              </a:custGeom>
              <a:solidFill>
                <a:srgbClr val="E8E8E8"/>
              </a:solidFill>
              <a:ln w="0">
                <a:solidFill>
                  <a:srgbClr val="E8E8E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48" name="Freeform 60"/>
              <p:cNvSpPr>
                <a:spLocks/>
              </p:cNvSpPr>
              <p:nvPr/>
            </p:nvSpPr>
            <p:spPr bwMode="auto">
              <a:xfrm>
                <a:off x="4799013" y="6157913"/>
                <a:ext cx="342900" cy="182563"/>
              </a:xfrm>
              <a:custGeom>
                <a:avLst/>
                <a:gdLst>
                  <a:gd name="T0" fmla="*/ 17 w 216"/>
                  <a:gd name="T1" fmla="*/ 0 h 115"/>
                  <a:gd name="T2" fmla="*/ 216 w 216"/>
                  <a:gd name="T3" fmla="*/ 60 h 115"/>
                  <a:gd name="T4" fmla="*/ 199 w 216"/>
                  <a:gd name="T5" fmla="*/ 115 h 115"/>
                  <a:gd name="T6" fmla="*/ 0 w 216"/>
                  <a:gd name="T7" fmla="*/ 55 h 115"/>
                  <a:gd name="T8" fmla="*/ 17 w 216"/>
                  <a:gd name="T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6" h="115">
                    <a:moveTo>
                      <a:pt x="17" y="0"/>
                    </a:moveTo>
                    <a:lnTo>
                      <a:pt x="216" y="60"/>
                    </a:lnTo>
                    <a:lnTo>
                      <a:pt x="199" y="115"/>
                    </a:lnTo>
                    <a:lnTo>
                      <a:pt x="0" y="55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7F7F7F"/>
              </a:solidFill>
              <a:ln w="0">
                <a:solidFill>
                  <a:srgbClr val="7F7F7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49" name="Freeform 61"/>
              <p:cNvSpPr>
                <a:spLocks/>
              </p:cNvSpPr>
              <p:nvPr/>
            </p:nvSpPr>
            <p:spPr bwMode="auto">
              <a:xfrm>
                <a:off x="4918075" y="5319713"/>
                <a:ext cx="379413" cy="1000125"/>
              </a:xfrm>
              <a:custGeom>
                <a:avLst/>
                <a:gdLst>
                  <a:gd name="T0" fmla="*/ 186 w 239"/>
                  <a:gd name="T1" fmla="*/ 0 h 630"/>
                  <a:gd name="T2" fmla="*/ 239 w 239"/>
                  <a:gd name="T3" fmla="*/ 16 h 630"/>
                  <a:gd name="T4" fmla="*/ 53 w 239"/>
                  <a:gd name="T5" fmla="*/ 630 h 630"/>
                  <a:gd name="T6" fmla="*/ 0 w 239"/>
                  <a:gd name="T7" fmla="*/ 613 h 630"/>
                  <a:gd name="T8" fmla="*/ 186 w 239"/>
                  <a:gd name="T9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9" h="630">
                    <a:moveTo>
                      <a:pt x="186" y="0"/>
                    </a:moveTo>
                    <a:lnTo>
                      <a:pt x="239" y="16"/>
                    </a:lnTo>
                    <a:lnTo>
                      <a:pt x="53" y="630"/>
                    </a:lnTo>
                    <a:lnTo>
                      <a:pt x="0" y="613"/>
                    </a:lnTo>
                    <a:lnTo>
                      <a:pt x="186" y="0"/>
                    </a:ln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0">
                <a:solidFill>
                  <a:sysClr val="window" lastClr="FFFFFF">
                    <a:lumMod val="75000"/>
                  </a:sys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</p:grpSp>
      </p:grpSp>
      <p:grpSp>
        <p:nvGrpSpPr>
          <p:cNvPr id="75" name="Group 74"/>
          <p:cNvGrpSpPr>
            <a:grpSpLocks noChangeAspect="1"/>
          </p:cNvGrpSpPr>
          <p:nvPr/>
        </p:nvGrpSpPr>
        <p:grpSpPr bwMode="auto">
          <a:xfrm>
            <a:off x="768853" y="4762801"/>
            <a:ext cx="413014" cy="454414"/>
            <a:chOff x="-576" y="3243"/>
            <a:chExt cx="419" cy="461"/>
          </a:xfrm>
          <a:solidFill>
            <a:schemeClr val="bg1"/>
          </a:solidFill>
        </p:grpSpPr>
        <p:sp>
          <p:nvSpPr>
            <p:cNvPr id="76" name="Freeform 6"/>
            <p:cNvSpPr>
              <a:spLocks noEditPoints="1"/>
            </p:cNvSpPr>
            <p:nvPr/>
          </p:nvSpPr>
          <p:spPr bwMode="auto">
            <a:xfrm>
              <a:off x="-365" y="3496"/>
              <a:ext cx="208" cy="208"/>
            </a:xfrm>
            <a:custGeom>
              <a:avLst/>
              <a:gdLst>
                <a:gd name="T0" fmla="*/ 732 w 1672"/>
                <a:gd name="T1" fmla="*/ 934 h 1666"/>
                <a:gd name="T2" fmla="*/ 238 w 1672"/>
                <a:gd name="T3" fmla="*/ 797 h 1666"/>
                <a:gd name="T4" fmla="*/ 1380 w 1672"/>
                <a:gd name="T5" fmla="*/ 642 h 1666"/>
                <a:gd name="T6" fmla="*/ 836 w 1672"/>
                <a:gd name="T7" fmla="*/ 0 h 1666"/>
                <a:gd name="T8" fmla="*/ 986 w 1672"/>
                <a:gd name="T9" fmla="*/ 13 h 1666"/>
                <a:gd name="T10" fmla="*/ 1127 w 1672"/>
                <a:gd name="T11" fmla="*/ 51 h 1666"/>
                <a:gd name="T12" fmla="*/ 1257 w 1672"/>
                <a:gd name="T13" fmla="*/ 114 h 1666"/>
                <a:gd name="T14" fmla="*/ 1374 w 1672"/>
                <a:gd name="T15" fmla="*/ 195 h 1666"/>
                <a:gd name="T16" fmla="*/ 1474 w 1672"/>
                <a:gd name="T17" fmla="*/ 296 h 1666"/>
                <a:gd name="T18" fmla="*/ 1557 w 1672"/>
                <a:gd name="T19" fmla="*/ 412 h 1666"/>
                <a:gd name="T20" fmla="*/ 1619 w 1672"/>
                <a:gd name="T21" fmla="*/ 542 h 1666"/>
                <a:gd name="T22" fmla="*/ 1658 w 1672"/>
                <a:gd name="T23" fmla="*/ 683 h 1666"/>
                <a:gd name="T24" fmla="*/ 1672 w 1672"/>
                <a:gd name="T25" fmla="*/ 832 h 1666"/>
                <a:gd name="T26" fmla="*/ 1658 w 1672"/>
                <a:gd name="T27" fmla="*/ 982 h 1666"/>
                <a:gd name="T28" fmla="*/ 1619 w 1672"/>
                <a:gd name="T29" fmla="*/ 1123 h 1666"/>
                <a:gd name="T30" fmla="*/ 1557 w 1672"/>
                <a:gd name="T31" fmla="*/ 1252 h 1666"/>
                <a:gd name="T32" fmla="*/ 1474 w 1672"/>
                <a:gd name="T33" fmla="*/ 1369 h 1666"/>
                <a:gd name="T34" fmla="*/ 1374 w 1672"/>
                <a:gd name="T35" fmla="*/ 1469 h 1666"/>
                <a:gd name="T36" fmla="*/ 1257 w 1672"/>
                <a:gd name="T37" fmla="*/ 1552 h 1666"/>
                <a:gd name="T38" fmla="*/ 1127 w 1672"/>
                <a:gd name="T39" fmla="*/ 1613 h 1666"/>
                <a:gd name="T40" fmla="*/ 986 w 1672"/>
                <a:gd name="T41" fmla="*/ 1653 h 1666"/>
                <a:gd name="T42" fmla="*/ 836 w 1672"/>
                <a:gd name="T43" fmla="*/ 1666 h 1666"/>
                <a:gd name="T44" fmla="*/ 686 w 1672"/>
                <a:gd name="T45" fmla="*/ 1653 h 1666"/>
                <a:gd name="T46" fmla="*/ 545 w 1672"/>
                <a:gd name="T47" fmla="*/ 1613 h 1666"/>
                <a:gd name="T48" fmla="*/ 415 w 1672"/>
                <a:gd name="T49" fmla="*/ 1552 h 1666"/>
                <a:gd name="T50" fmla="*/ 298 w 1672"/>
                <a:gd name="T51" fmla="*/ 1469 h 1666"/>
                <a:gd name="T52" fmla="*/ 198 w 1672"/>
                <a:gd name="T53" fmla="*/ 1369 h 1666"/>
                <a:gd name="T54" fmla="*/ 115 w 1672"/>
                <a:gd name="T55" fmla="*/ 1252 h 1666"/>
                <a:gd name="T56" fmla="*/ 53 w 1672"/>
                <a:gd name="T57" fmla="*/ 1123 h 1666"/>
                <a:gd name="T58" fmla="*/ 14 w 1672"/>
                <a:gd name="T59" fmla="*/ 982 h 1666"/>
                <a:gd name="T60" fmla="*/ 0 w 1672"/>
                <a:gd name="T61" fmla="*/ 832 h 1666"/>
                <a:gd name="T62" fmla="*/ 14 w 1672"/>
                <a:gd name="T63" fmla="*/ 683 h 1666"/>
                <a:gd name="T64" fmla="*/ 53 w 1672"/>
                <a:gd name="T65" fmla="*/ 542 h 1666"/>
                <a:gd name="T66" fmla="*/ 115 w 1672"/>
                <a:gd name="T67" fmla="*/ 412 h 1666"/>
                <a:gd name="T68" fmla="*/ 198 w 1672"/>
                <a:gd name="T69" fmla="*/ 296 h 1666"/>
                <a:gd name="T70" fmla="*/ 298 w 1672"/>
                <a:gd name="T71" fmla="*/ 195 h 1666"/>
                <a:gd name="T72" fmla="*/ 415 w 1672"/>
                <a:gd name="T73" fmla="*/ 114 h 1666"/>
                <a:gd name="T74" fmla="*/ 545 w 1672"/>
                <a:gd name="T75" fmla="*/ 51 h 1666"/>
                <a:gd name="T76" fmla="*/ 686 w 1672"/>
                <a:gd name="T77" fmla="*/ 13 h 1666"/>
                <a:gd name="T78" fmla="*/ 836 w 1672"/>
                <a:gd name="T79" fmla="*/ 0 h 1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72" h="1666">
                  <a:moveTo>
                    <a:pt x="1202" y="465"/>
                  </a:moveTo>
                  <a:lnTo>
                    <a:pt x="732" y="934"/>
                  </a:lnTo>
                  <a:lnTo>
                    <a:pt x="416" y="619"/>
                  </a:lnTo>
                  <a:lnTo>
                    <a:pt x="238" y="797"/>
                  </a:lnTo>
                  <a:lnTo>
                    <a:pt x="732" y="1289"/>
                  </a:lnTo>
                  <a:lnTo>
                    <a:pt x="1380" y="642"/>
                  </a:lnTo>
                  <a:lnTo>
                    <a:pt x="1202" y="465"/>
                  </a:lnTo>
                  <a:close/>
                  <a:moveTo>
                    <a:pt x="836" y="0"/>
                  </a:moveTo>
                  <a:lnTo>
                    <a:pt x="912" y="3"/>
                  </a:lnTo>
                  <a:lnTo>
                    <a:pt x="986" y="13"/>
                  </a:lnTo>
                  <a:lnTo>
                    <a:pt x="1058" y="29"/>
                  </a:lnTo>
                  <a:lnTo>
                    <a:pt x="1127" y="51"/>
                  </a:lnTo>
                  <a:lnTo>
                    <a:pt x="1193" y="79"/>
                  </a:lnTo>
                  <a:lnTo>
                    <a:pt x="1257" y="114"/>
                  </a:lnTo>
                  <a:lnTo>
                    <a:pt x="1318" y="152"/>
                  </a:lnTo>
                  <a:lnTo>
                    <a:pt x="1374" y="195"/>
                  </a:lnTo>
                  <a:lnTo>
                    <a:pt x="1426" y="243"/>
                  </a:lnTo>
                  <a:lnTo>
                    <a:pt x="1474" y="296"/>
                  </a:lnTo>
                  <a:lnTo>
                    <a:pt x="1518" y="353"/>
                  </a:lnTo>
                  <a:lnTo>
                    <a:pt x="1557" y="412"/>
                  </a:lnTo>
                  <a:lnTo>
                    <a:pt x="1591" y="476"/>
                  </a:lnTo>
                  <a:lnTo>
                    <a:pt x="1619" y="542"/>
                  </a:lnTo>
                  <a:lnTo>
                    <a:pt x="1641" y="611"/>
                  </a:lnTo>
                  <a:lnTo>
                    <a:pt x="1658" y="683"/>
                  </a:lnTo>
                  <a:lnTo>
                    <a:pt x="1668" y="757"/>
                  </a:lnTo>
                  <a:lnTo>
                    <a:pt x="1672" y="832"/>
                  </a:lnTo>
                  <a:lnTo>
                    <a:pt x="1668" y="908"/>
                  </a:lnTo>
                  <a:lnTo>
                    <a:pt x="1658" y="982"/>
                  </a:lnTo>
                  <a:lnTo>
                    <a:pt x="1641" y="1054"/>
                  </a:lnTo>
                  <a:lnTo>
                    <a:pt x="1619" y="1123"/>
                  </a:lnTo>
                  <a:lnTo>
                    <a:pt x="1591" y="1190"/>
                  </a:lnTo>
                  <a:lnTo>
                    <a:pt x="1557" y="1252"/>
                  </a:lnTo>
                  <a:lnTo>
                    <a:pt x="1518" y="1313"/>
                  </a:lnTo>
                  <a:lnTo>
                    <a:pt x="1474" y="1369"/>
                  </a:lnTo>
                  <a:lnTo>
                    <a:pt x="1426" y="1421"/>
                  </a:lnTo>
                  <a:lnTo>
                    <a:pt x="1374" y="1469"/>
                  </a:lnTo>
                  <a:lnTo>
                    <a:pt x="1318" y="1513"/>
                  </a:lnTo>
                  <a:lnTo>
                    <a:pt x="1257" y="1552"/>
                  </a:lnTo>
                  <a:lnTo>
                    <a:pt x="1193" y="1586"/>
                  </a:lnTo>
                  <a:lnTo>
                    <a:pt x="1127" y="1613"/>
                  </a:lnTo>
                  <a:lnTo>
                    <a:pt x="1058" y="1636"/>
                  </a:lnTo>
                  <a:lnTo>
                    <a:pt x="986" y="1653"/>
                  </a:lnTo>
                  <a:lnTo>
                    <a:pt x="912" y="1663"/>
                  </a:lnTo>
                  <a:lnTo>
                    <a:pt x="836" y="1666"/>
                  </a:lnTo>
                  <a:lnTo>
                    <a:pt x="760" y="1663"/>
                  </a:lnTo>
                  <a:lnTo>
                    <a:pt x="686" y="1653"/>
                  </a:lnTo>
                  <a:lnTo>
                    <a:pt x="614" y="1636"/>
                  </a:lnTo>
                  <a:lnTo>
                    <a:pt x="545" y="1613"/>
                  </a:lnTo>
                  <a:lnTo>
                    <a:pt x="479" y="1586"/>
                  </a:lnTo>
                  <a:lnTo>
                    <a:pt x="415" y="1552"/>
                  </a:lnTo>
                  <a:lnTo>
                    <a:pt x="354" y="1513"/>
                  </a:lnTo>
                  <a:lnTo>
                    <a:pt x="298" y="1469"/>
                  </a:lnTo>
                  <a:lnTo>
                    <a:pt x="246" y="1421"/>
                  </a:lnTo>
                  <a:lnTo>
                    <a:pt x="198" y="1369"/>
                  </a:lnTo>
                  <a:lnTo>
                    <a:pt x="154" y="1313"/>
                  </a:lnTo>
                  <a:lnTo>
                    <a:pt x="115" y="1252"/>
                  </a:lnTo>
                  <a:lnTo>
                    <a:pt x="81" y="1190"/>
                  </a:lnTo>
                  <a:lnTo>
                    <a:pt x="53" y="1123"/>
                  </a:lnTo>
                  <a:lnTo>
                    <a:pt x="31" y="1054"/>
                  </a:lnTo>
                  <a:lnTo>
                    <a:pt x="14" y="982"/>
                  </a:lnTo>
                  <a:lnTo>
                    <a:pt x="4" y="908"/>
                  </a:lnTo>
                  <a:lnTo>
                    <a:pt x="0" y="832"/>
                  </a:lnTo>
                  <a:lnTo>
                    <a:pt x="4" y="757"/>
                  </a:lnTo>
                  <a:lnTo>
                    <a:pt x="14" y="683"/>
                  </a:lnTo>
                  <a:lnTo>
                    <a:pt x="31" y="611"/>
                  </a:lnTo>
                  <a:lnTo>
                    <a:pt x="53" y="542"/>
                  </a:lnTo>
                  <a:lnTo>
                    <a:pt x="81" y="476"/>
                  </a:lnTo>
                  <a:lnTo>
                    <a:pt x="115" y="412"/>
                  </a:lnTo>
                  <a:lnTo>
                    <a:pt x="154" y="353"/>
                  </a:lnTo>
                  <a:lnTo>
                    <a:pt x="198" y="296"/>
                  </a:lnTo>
                  <a:lnTo>
                    <a:pt x="246" y="243"/>
                  </a:lnTo>
                  <a:lnTo>
                    <a:pt x="298" y="195"/>
                  </a:lnTo>
                  <a:lnTo>
                    <a:pt x="354" y="152"/>
                  </a:lnTo>
                  <a:lnTo>
                    <a:pt x="415" y="114"/>
                  </a:lnTo>
                  <a:lnTo>
                    <a:pt x="479" y="79"/>
                  </a:lnTo>
                  <a:lnTo>
                    <a:pt x="545" y="51"/>
                  </a:lnTo>
                  <a:lnTo>
                    <a:pt x="614" y="29"/>
                  </a:lnTo>
                  <a:lnTo>
                    <a:pt x="686" y="13"/>
                  </a:lnTo>
                  <a:lnTo>
                    <a:pt x="760" y="3"/>
                  </a:lnTo>
                  <a:lnTo>
                    <a:pt x="83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7"/>
            <p:cNvSpPr>
              <a:spLocks/>
            </p:cNvSpPr>
            <p:nvPr/>
          </p:nvSpPr>
          <p:spPr bwMode="auto">
            <a:xfrm>
              <a:off x="-350" y="3259"/>
              <a:ext cx="73" cy="73"/>
            </a:xfrm>
            <a:custGeom>
              <a:avLst/>
              <a:gdLst>
                <a:gd name="T0" fmla="*/ 0 w 590"/>
                <a:gd name="T1" fmla="*/ 0 h 588"/>
                <a:gd name="T2" fmla="*/ 590 w 590"/>
                <a:gd name="T3" fmla="*/ 588 h 588"/>
                <a:gd name="T4" fmla="*/ 0 w 590"/>
                <a:gd name="T5" fmla="*/ 588 h 588"/>
                <a:gd name="T6" fmla="*/ 0 w 590"/>
                <a:gd name="T7" fmla="*/ 0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0" h="588">
                  <a:moveTo>
                    <a:pt x="0" y="0"/>
                  </a:moveTo>
                  <a:lnTo>
                    <a:pt x="590" y="588"/>
                  </a:lnTo>
                  <a:lnTo>
                    <a:pt x="0" y="5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8"/>
            <p:cNvSpPr>
              <a:spLocks noEditPoints="1"/>
            </p:cNvSpPr>
            <p:nvPr/>
          </p:nvSpPr>
          <p:spPr bwMode="auto">
            <a:xfrm>
              <a:off x="-576" y="3243"/>
              <a:ext cx="315" cy="435"/>
            </a:xfrm>
            <a:custGeom>
              <a:avLst/>
              <a:gdLst>
                <a:gd name="T0" fmla="*/ 420 w 2520"/>
                <a:gd name="T1" fmla="*/ 1487 h 3479"/>
                <a:gd name="T2" fmla="*/ 420 w 2520"/>
                <a:gd name="T3" fmla="*/ 1739 h 3479"/>
                <a:gd name="T4" fmla="*/ 2100 w 2520"/>
                <a:gd name="T5" fmla="*/ 1739 h 3479"/>
                <a:gd name="T6" fmla="*/ 2100 w 2520"/>
                <a:gd name="T7" fmla="*/ 1487 h 3479"/>
                <a:gd name="T8" fmla="*/ 420 w 2520"/>
                <a:gd name="T9" fmla="*/ 1487 h 3479"/>
                <a:gd name="T10" fmla="*/ 0 w 2520"/>
                <a:gd name="T11" fmla="*/ 0 h 3479"/>
                <a:gd name="T12" fmla="*/ 1555 w 2520"/>
                <a:gd name="T13" fmla="*/ 0 h 3479"/>
                <a:gd name="T14" fmla="*/ 1555 w 2520"/>
                <a:gd name="T15" fmla="*/ 964 h 3479"/>
                <a:gd name="T16" fmla="*/ 2520 w 2520"/>
                <a:gd name="T17" fmla="*/ 964 h 3479"/>
                <a:gd name="T18" fmla="*/ 2520 w 2520"/>
                <a:gd name="T19" fmla="*/ 1770 h 3479"/>
                <a:gd name="T20" fmla="*/ 2433 w 2520"/>
                <a:gd name="T21" fmla="*/ 1774 h 3479"/>
                <a:gd name="T22" fmla="*/ 2348 w 2520"/>
                <a:gd name="T23" fmla="*/ 1784 h 3479"/>
                <a:gd name="T24" fmla="*/ 2265 w 2520"/>
                <a:gd name="T25" fmla="*/ 1800 h 3479"/>
                <a:gd name="T26" fmla="*/ 2184 w 2520"/>
                <a:gd name="T27" fmla="*/ 1823 h 3479"/>
                <a:gd name="T28" fmla="*/ 2107 w 2520"/>
                <a:gd name="T29" fmla="*/ 1852 h 3479"/>
                <a:gd name="T30" fmla="*/ 2031 w 2520"/>
                <a:gd name="T31" fmla="*/ 1885 h 3479"/>
                <a:gd name="T32" fmla="*/ 1959 w 2520"/>
                <a:gd name="T33" fmla="*/ 1926 h 3479"/>
                <a:gd name="T34" fmla="*/ 1891 w 2520"/>
                <a:gd name="T35" fmla="*/ 1970 h 3479"/>
                <a:gd name="T36" fmla="*/ 1826 w 2520"/>
                <a:gd name="T37" fmla="*/ 2021 h 3479"/>
                <a:gd name="T38" fmla="*/ 1765 w 2520"/>
                <a:gd name="T39" fmla="*/ 2074 h 3479"/>
                <a:gd name="T40" fmla="*/ 420 w 2520"/>
                <a:gd name="T41" fmla="*/ 2074 h 3479"/>
                <a:gd name="T42" fmla="*/ 420 w 2520"/>
                <a:gd name="T43" fmla="*/ 2326 h 3479"/>
                <a:gd name="T44" fmla="*/ 1571 w 2520"/>
                <a:gd name="T45" fmla="*/ 2326 h 3479"/>
                <a:gd name="T46" fmla="*/ 1538 w 2520"/>
                <a:gd name="T47" fmla="*/ 2388 h 3479"/>
                <a:gd name="T48" fmla="*/ 1510 w 2520"/>
                <a:gd name="T49" fmla="*/ 2454 h 3479"/>
                <a:gd name="T50" fmla="*/ 1485 w 2520"/>
                <a:gd name="T51" fmla="*/ 2521 h 3479"/>
                <a:gd name="T52" fmla="*/ 1465 w 2520"/>
                <a:gd name="T53" fmla="*/ 2591 h 3479"/>
                <a:gd name="T54" fmla="*/ 1450 w 2520"/>
                <a:gd name="T55" fmla="*/ 2661 h 3479"/>
                <a:gd name="T56" fmla="*/ 420 w 2520"/>
                <a:gd name="T57" fmla="*/ 2661 h 3479"/>
                <a:gd name="T58" fmla="*/ 420 w 2520"/>
                <a:gd name="T59" fmla="*/ 2912 h 3479"/>
                <a:gd name="T60" fmla="*/ 1435 w 2520"/>
                <a:gd name="T61" fmla="*/ 2912 h 3479"/>
                <a:gd name="T62" fmla="*/ 1441 w 2520"/>
                <a:gd name="T63" fmla="*/ 2991 h 3479"/>
                <a:gd name="T64" fmla="*/ 1454 w 2520"/>
                <a:gd name="T65" fmla="*/ 3067 h 3479"/>
                <a:gd name="T66" fmla="*/ 1472 w 2520"/>
                <a:gd name="T67" fmla="*/ 3142 h 3479"/>
                <a:gd name="T68" fmla="*/ 1494 w 2520"/>
                <a:gd name="T69" fmla="*/ 3214 h 3479"/>
                <a:gd name="T70" fmla="*/ 1522 w 2520"/>
                <a:gd name="T71" fmla="*/ 3283 h 3479"/>
                <a:gd name="T72" fmla="*/ 1553 w 2520"/>
                <a:gd name="T73" fmla="*/ 3352 h 3479"/>
                <a:gd name="T74" fmla="*/ 1590 w 2520"/>
                <a:gd name="T75" fmla="*/ 3416 h 3479"/>
                <a:gd name="T76" fmla="*/ 1631 w 2520"/>
                <a:gd name="T77" fmla="*/ 3479 h 3479"/>
                <a:gd name="T78" fmla="*/ 0 w 2520"/>
                <a:gd name="T79" fmla="*/ 3479 h 3479"/>
                <a:gd name="T80" fmla="*/ 0 w 2520"/>
                <a:gd name="T81" fmla="*/ 0 h 3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520" h="3479">
                  <a:moveTo>
                    <a:pt x="420" y="1487"/>
                  </a:moveTo>
                  <a:lnTo>
                    <a:pt x="420" y="1739"/>
                  </a:lnTo>
                  <a:lnTo>
                    <a:pt x="2100" y="1739"/>
                  </a:lnTo>
                  <a:lnTo>
                    <a:pt x="2100" y="1487"/>
                  </a:lnTo>
                  <a:lnTo>
                    <a:pt x="420" y="1487"/>
                  </a:lnTo>
                  <a:close/>
                  <a:moveTo>
                    <a:pt x="0" y="0"/>
                  </a:moveTo>
                  <a:lnTo>
                    <a:pt x="1555" y="0"/>
                  </a:lnTo>
                  <a:lnTo>
                    <a:pt x="1555" y="964"/>
                  </a:lnTo>
                  <a:lnTo>
                    <a:pt x="2520" y="964"/>
                  </a:lnTo>
                  <a:lnTo>
                    <a:pt x="2520" y="1770"/>
                  </a:lnTo>
                  <a:lnTo>
                    <a:pt x="2433" y="1774"/>
                  </a:lnTo>
                  <a:lnTo>
                    <a:pt x="2348" y="1784"/>
                  </a:lnTo>
                  <a:lnTo>
                    <a:pt x="2265" y="1800"/>
                  </a:lnTo>
                  <a:lnTo>
                    <a:pt x="2184" y="1823"/>
                  </a:lnTo>
                  <a:lnTo>
                    <a:pt x="2107" y="1852"/>
                  </a:lnTo>
                  <a:lnTo>
                    <a:pt x="2031" y="1885"/>
                  </a:lnTo>
                  <a:lnTo>
                    <a:pt x="1959" y="1926"/>
                  </a:lnTo>
                  <a:lnTo>
                    <a:pt x="1891" y="1970"/>
                  </a:lnTo>
                  <a:lnTo>
                    <a:pt x="1826" y="2021"/>
                  </a:lnTo>
                  <a:lnTo>
                    <a:pt x="1765" y="2074"/>
                  </a:lnTo>
                  <a:lnTo>
                    <a:pt x="420" y="2074"/>
                  </a:lnTo>
                  <a:lnTo>
                    <a:pt x="420" y="2326"/>
                  </a:lnTo>
                  <a:lnTo>
                    <a:pt x="1571" y="2326"/>
                  </a:lnTo>
                  <a:lnTo>
                    <a:pt x="1538" y="2388"/>
                  </a:lnTo>
                  <a:lnTo>
                    <a:pt x="1510" y="2454"/>
                  </a:lnTo>
                  <a:lnTo>
                    <a:pt x="1485" y="2521"/>
                  </a:lnTo>
                  <a:lnTo>
                    <a:pt x="1465" y="2591"/>
                  </a:lnTo>
                  <a:lnTo>
                    <a:pt x="1450" y="2661"/>
                  </a:lnTo>
                  <a:lnTo>
                    <a:pt x="420" y="2661"/>
                  </a:lnTo>
                  <a:lnTo>
                    <a:pt x="420" y="2912"/>
                  </a:lnTo>
                  <a:lnTo>
                    <a:pt x="1435" y="2912"/>
                  </a:lnTo>
                  <a:lnTo>
                    <a:pt x="1441" y="2991"/>
                  </a:lnTo>
                  <a:lnTo>
                    <a:pt x="1454" y="3067"/>
                  </a:lnTo>
                  <a:lnTo>
                    <a:pt x="1472" y="3142"/>
                  </a:lnTo>
                  <a:lnTo>
                    <a:pt x="1494" y="3214"/>
                  </a:lnTo>
                  <a:lnTo>
                    <a:pt x="1522" y="3283"/>
                  </a:lnTo>
                  <a:lnTo>
                    <a:pt x="1553" y="3352"/>
                  </a:lnTo>
                  <a:lnTo>
                    <a:pt x="1590" y="3416"/>
                  </a:lnTo>
                  <a:lnTo>
                    <a:pt x="1631" y="3479"/>
                  </a:lnTo>
                  <a:lnTo>
                    <a:pt x="0" y="347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1" name="Group 90"/>
          <p:cNvGrpSpPr>
            <a:grpSpLocks noChangeAspect="1"/>
          </p:cNvGrpSpPr>
          <p:nvPr/>
        </p:nvGrpSpPr>
        <p:grpSpPr bwMode="auto">
          <a:xfrm>
            <a:off x="825716" y="1572460"/>
            <a:ext cx="320173" cy="457391"/>
            <a:chOff x="-776" y="2272"/>
            <a:chExt cx="448" cy="640"/>
          </a:xfrm>
          <a:solidFill>
            <a:schemeClr val="bg1"/>
          </a:solidFill>
        </p:grpSpPr>
        <p:sp>
          <p:nvSpPr>
            <p:cNvPr id="92" name="Freeform 6"/>
            <p:cNvSpPr>
              <a:spLocks/>
            </p:cNvSpPr>
            <p:nvPr/>
          </p:nvSpPr>
          <p:spPr bwMode="auto">
            <a:xfrm>
              <a:off x="-776" y="2336"/>
              <a:ext cx="448" cy="576"/>
            </a:xfrm>
            <a:custGeom>
              <a:avLst/>
              <a:gdLst>
                <a:gd name="T0" fmla="*/ 2444 w 2684"/>
                <a:gd name="T1" fmla="*/ 0 h 3456"/>
                <a:gd name="T2" fmla="*/ 2171 w 2684"/>
                <a:gd name="T3" fmla="*/ 0 h 3456"/>
                <a:gd name="T4" fmla="*/ 2171 w 2684"/>
                <a:gd name="T5" fmla="*/ 88 h 3456"/>
                <a:gd name="T6" fmla="*/ 2169 w 2684"/>
                <a:gd name="T7" fmla="*/ 128 h 3456"/>
                <a:gd name="T8" fmla="*/ 2161 w 2684"/>
                <a:gd name="T9" fmla="*/ 166 h 3456"/>
                <a:gd name="T10" fmla="*/ 2148 w 2684"/>
                <a:gd name="T11" fmla="*/ 200 h 3456"/>
                <a:gd name="T12" fmla="*/ 2131 w 2684"/>
                <a:gd name="T13" fmla="*/ 232 h 3456"/>
                <a:gd name="T14" fmla="*/ 2444 w 2684"/>
                <a:gd name="T15" fmla="*/ 232 h 3456"/>
                <a:gd name="T16" fmla="*/ 2444 w 2684"/>
                <a:gd name="T17" fmla="*/ 3224 h 3456"/>
                <a:gd name="T18" fmla="*/ 233 w 2684"/>
                <a:gd name="T19" fmla="*/ 3224 h 3456"/>
                <a:gd name="T20" fmla="*/ 233 w 2684"/>
                <a:gd name="T21" fmla="*/ 232 h 3456"/>
                <a:gd name="T22" fmla="*/ 546 w 2684"/>
                <a:gd name="T23" fmla="*/ 232 h 3456"/>
                <a:gd name="T24" fmla="*/ 529 w 2684"/>
                <a:gd name="T25" fmla="*/ 199 h 3456"/>
                <a:gd name="T26" fmla="*/ 516 w 2684"/>
                <a:gd name="T27" fmla="*/ 163 h 3456"/>
                <a:gd name="T28" fmla="*/ 508 w 2684"/>
                <a:gd name="T29" fmla="*/ 126 h 3456"/>
                <a:gd name="T30" fmla="*/ 505 w 2684"/>
                <a:gd name="T31" fmla="*/ 88 h 3456"/>
                <a:gd name="T32" fmla="*/ 505 w 2684"/>
                <a:gd name="T33" fmla="*/ 0 h 3456"/>
                <a:gd name="T34" fmla="*/ 233 w 2684"/>
                <a:gd name="T35" fmla="*/ 0 h 3456"/>
                <a:gd name="T36" fmla="*/ 195 w 2684"/>
                <a:gd name="T37" fmla="*/ 3 h 3456"/>
                <a:gd name="T38" fmla="*/ 160 w 2684"/>
                <a:gd name="T39" fmla="*/ 12 h 3456"/>
                <a:gd name="T40" fmla="*/ 126 w 2684"/>
                <a:gd name="T41" fmla="*/ 26 h 3456"/>
                <a:gd name="T42" fmla="*/ 96 w 2684"/>
                <a:gd name="T43" fmla="*/ 45 h 3456"/>
                <a:gd name="T44" fmla="*/ 69 w 2684"/>
                <a:gd name="T45" fmla="*/ 67 h 3456"/>
                <a:gd name="T46" fmla="*/ 46 w 2684"/>
                <a:gd name="T47" fmla="*/ 95 h 3456"/>
                <a:gd name="T48" fmla="*/ 26 w 2684"/>
                <a:gd name="T49" fmla="*/ 126 h 3456"/>
                <a:gd name="T50" fmla="*/ 12 w 2684"/>
                <a:gd name="T51" fmla="*/ 158 h 3456"/>
                <a:gd name="T52" fmla="*/ 4 w 2684"/>
                <a:gd name="T53" fmla="*/ 194 h 3456"/>
                <a:gd name="T54" fmla="*/ 0 w 2684"/>
                <a:gd name="T55" fmla="*/ 232 h 3456"/>
                <a:gd name="T56" fmla="*/ 0 w 2684"/>
                <a:gd name="T57" fmla="*/ 3224 h 3456"/>
                <a:gd name="T58" fmla="*/ 4 w 2684"/>
                <a:gd name="T59" fmla="*/ 3262 h 3456"/>
                <a:gd name="T60" fmla="*/ 12 w 2684"/>
                <a:gd name="T61" fmla="*/ 3298 h 3456"/>
                <a:gd name="T62" fmla="*/ 26 w 2684"/>
                <a:gd name="T63" fmla="*/ 3330 h 3456"/>
                <a:gd name="T64" fmla="*/ 46 w 2684"/>
                <a:gd name="T65" fmla="*/ 3361 h 3456"/>
                <a:gd name="T66" fmla="*/ 69 w 2684"/>
                <a:gd name="T67" fmla="*/ 3389 h 3456"/>
                <a:gd name="T68" fmla="*/ 96 w 2684"/>
                <a:gd name="T69" fmla="*/ 3411 h 3456"/>
                <a:gd name="T70" fmla="*/ 126 w 2684"/>
                <a:gd name="T71" fmla="*/ 3430 h 3456"/>
                <a:gd name="T72" fmla="*/ 160 w 2684"/>
                <a:gd name="T73" fmla="*/ 3444 h 3456"/>
                <a:gd name="T74" fmla="*/ 195 w 2684"/>
                <a:gd name="T75" fmla="*/ 3453 h 3456"/>
                <a:gd name="T76" fmla="*/ 233 w 2684"/>
                <a:gd name="T77" fmla="*/ 3456 h 3456"/>
                <a:gd name="T78" fmla="*/ 2452 w 2684"/>
                <a:gd name="T79" fmla="*/ 3456 h 3456"/>
                <a:gd name="T80" fmla="*/ 2489 w 2684"/>
                <a:gd name="T81" fmla="*/ 3453 h 3456"/>
                <a:gd name="T82" fmla="*/ 2525 w 2684"/>
                <a:gd name="T83" fmla="*/ 3444 h 3456"/>
                <a:gd name="T84" fmla="*/ 2559 w 2684"/>
                <a:gd name="T85" fmla="*/ 3430 h 3456"/>
                <a:gd name="T86" fmla="*/ 2589 w 2684"/>
                <a:gd name="T87" fmla="*/ 3411 h 3456"/>
                <a:gd name="T88" fmla="*/ 2616 w 2684"/>
                <a:gd name="T89" fmla="*/ 3389 h 3456"/>
                <a:gd name="T90" fmla="*/ 2639 w 2684"/>
                <a:gd name="T91" fmla="*/ 3361 h 3456"/>
                <a:gd name="T92" fmla="*/ 2658 w 2684"/>
                <a:gd name="T93" fmla="*/ 3330 h 3456"/>
                <a:gd name="T94" fmla="*/ 2672 w 2684"/>
                <a:gd name="T95" fmla="*/ 3298 h 3456"/>
                <a:gd name="T96" fmla="*/ 2681 w 2684"/>
                <a:gd name="T97" fmla="*/ 3262 h 3456"/>
                <a:gd name="T98" fmla="*/ 2684 w 2684"/>
                <a:gd name="T99" fmla="*/ 3224 h 3456"/>
                <a:gd name="T100" fmla="*/ 2684 w 2684"/>
                <a:gd name="T101" fmla="*/ 232 h 3456"/>
                <a:gd name="T102" fmla="*/ 2679 w 2684"/>
                <a:gd name="T103" fmla="*/ 194 h 3456"/>
                <a:gd name="T104" fmla="*/ 2669 w 2684"/>
                <a:gd name="T105" fmla="*/ 158 h 3456"/>
                <a:gd name="T106" fmla="*/ 2653 w 2684"/>
                <a:gd name="T107" fmla="*/ 126 h 3456"/>
                <a:gd name="T108" fmla="*/ 2632 w 2684"/>
                <a:gd name="T109" fmla="*/ 95 h 3456"/>
                <a:gd name="T110" fmla="*/ 2609 w 2684"/>
                <a:gd name="T111" fmla="*/ 67 h 3456"/>
                <a:gd name="T112" fmla="*/ 2581 w 2684"/>
                <a:gd name="T113" fmla="*/ 45 h 3456"/>
                <a:gd name="T114" fmla="*/ 2551 w 2684"/>
                <a:gd name="T115" fmla="*/ 26 h 3456"/>
                <a:gd name="T116" fmla="*/ 2517 w 2684"/>
                <a:gd name="T117" fmla="*/ 12 h 3456"/>
                <a:gd name="T118" fmla="*/ 2481 w 2684"/>
                <a:gd name="T119" fmla="*/ 3 h 3456"/>
                <a:gd name="T120" fmla="*/ 2444 w 2684"/>
                <a:gd name="T121" fmla="*/ 0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84" h="3456">
                  <a:moveTo>
                    <a:pt x="2444" y="0"/>
                  </a:moveTo>
                  <a:lnTo>
                    <a:pt x="2171" y="0"/>
                  </a:lnTo>
                  <a:lnTo>
                    <a:pt x="2171" y="88"/>
                  </a:lnTo>
                  <a:lnTo>
                    <a:pt x="2169" y="128"/>
                  </a:lnTo>
                  <a:lnTo>
                    <a:pt x="2161" y="166"/>
                  </a:lnTo>
                  <a:lnTo>
                    <a:pt x="2148" y="200"/>
                  </a:lnTo>
                  <a:lnTo>
                    <a:pt x="2131" y="232"/>
                  </a:lnTo>
                  <a:lnTo>
                    <a:pt x="2444" y="232"/>
                  </a:lnTo>
                  <a:lnTo>
                    <a:pt x="2444" y="3224"/>
                  </a:lnTo>
                  <a:lnTo>
                    <a:pt x="233" y="3224"/>
                  </a:lnTo>
                  <a:lnTo>
                    <a:pt x="233" y="232"/>
                  </a:lnTo>
                  <a:lnTo>
                    <a:pt x="546" y="232"/>
                  </a:lnTo>
                  <a:lnTo>
                    <a:pt x="529" y="199"/>
                  </a:lnTo>
                  <a:lnTo>
                    <a:pt x="516" y="163"/>
                  </a:lnTo>
                  <a:lnTo>
                    <a:pt x="508" y="126"/>
                  </a:lnTo>
                  <a:lnTo>
                    <a:pt x="505" y="88"/>
                  </a:lnTo>
                  <a:lnTo>
                    <a:pt x="505" y="0"/>
                  </a:lnTo>
                  <a:lnTo>
                    <a:pt x="233" y="0"/>
                  </a:lnTo>
                  <a:lnTo>
                    <a:pt x="195" y="3"/>
                  </a:lnTo>
                  <a:lnTo>
                    <a:pt x="160" y="12"/>
                  </a:lnTo>
                  <a:lnTo>
                    <a:pt x="126" y="26"/>
                  </a:lnTo>
                  <a:lnTo>
                    <a:pt x="96" y="45"/>
                  </a:lnTo>
                  <a:lnTo>
                    <a:pt x="69" y="67"/>
                  </a:lnTo>
                  <a:lnTo>
                    <a:pt x="46" y="95"/>
                  </a:lnTo>
                  <a:lnTo>
                    <a:pt x="26" y="126"/>
                  </a:lnTo>
                  <a:lnTo>
                    <a:pt x="12" y="158"/>
                  </a:lnTo>
                  <a:lnTo>
                    <a:pt x="4" y="194"/>
                  </a:lnTo>
                  <a:lnTo>
                    <a:pt x="0" y="232"/>
                  </a:lnTo>
                  <a:lnTo>
                    <a:pt x="0" y="3224"/>
                  </a:lnTo>
                  <a:lnTo>
                    <a:pt x="4" y="3262"/>
                  </a:lnTo>
                  <a:lnTo>
                    <a:pt x="12" y="3298"/>
                  </a:lnTo>
                  <a:lnTo>
                    <a:pt x="26" y="3330"/>
                  </a:lnTo>
                  <a:lnTo>
                    <a:pt x="46" y="3361"/>
                  </a:lnTo>
                  <a:lnTo>
                    <a:pt x="69" y="3389"/>
                  </a:lnTo>
                  <a:lnTo>
                    <a:pt x="96" y="3411"/>
                  </a:lnTo>
                  <a:lnTo>
                    <a:pt x="126" y="3430"/>
                  </a:lnTo>
                  <a:lnTo>
                    <a:pt x="160" y="3444"/>
                  </a:lnTo>
                  <a:lnTo>
                    <a:pt x="195" y="3453"/>
                  </a:lnTo>
                  <a:lnTo>
                    <a:pt x="233" y="3456"/>
                  </a:lnTo>
                  <a:lnTo>
                    <a:pt x="2452" y="3456"/>
                  </a:lnTo>
                  <a:lnTo>
                    <a:pt x="2489" y="3453"/>
                  </a:lnTo>
                  <a:lnTo>
                    <a:pt x="2525" y="3444"/>
                  </a:lnTo>
                  <a:lnTo>
                    <a:pt x="2559" y="3430"/>
                  </a:lnTo>
                  <a:lnTo>
                    <a:pt x="2589" y="3411"/>
                  </a:lnTo>
                  <a:lnTo>
                    <a:pt x="2616" y="3389"/>
                  </a:lnTo>
                  <a:lnTo>
                    <a:pt x="2639" y="3361"/>
                  </a:lnTo>
                  <a:lnTo>
                    <a:pt x="2658" y="3330"/>
                  </a:lnTo>
                  <a:lnTo>
                    <a:pt x="2672" y="3298"/>
                  </a:lnTo>
                  <a:lnTo>
                    <a:pt x="2681" y="3262"/>
                  </a:lnTo>
                  <a:lnTo>
                    <a:pt x="2684" y="3224"/>
                  </a:lnTo>
                  <a:lnTo>
                    <a:pt x="2684" y="232"/>
                  </a:lnTo>
                  <a:lnTo>
                    <a:pt x="2679" y="194"/>
                  </a:lnTo>
                  <a:lnTo>
                    <a:pt x="2669" y="158"/>
                  </a:lnTo>
                  <a:lnTo>
                    <a:pt x="2653" y="126"/>
                  </a:lnTo>
                  <a:lnTo>
                    <a:pt x="2632" y="95"/>
                  </a:lnTo>
                  <a:lnTo>
                    <a:pt x="2609" y="67"/>
                  </a:lnTo>
                  <a:lnTo>
                    <a:pt x="2581" y="45"/>
                  </a:lnTo>
                  <a:lnTo>
                    <a:pt x="2551" y="26"/>
                  </a:lnTo>
                  <a:lnTo>
                    <a:pt x="2517" y="12"/>
                  </a:lnTo>
                  <a:lnTo>
                    <a:pt x="2481" y="3"/>
                  </a:lnTo>
                  <a:lnTo>
                    <a:pt x="244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7"/>
            <p:cNvSpPr>
              <a:spLocks/>
            </p:cNvSpPr>
            <p:nvPr/>
          </p:nvSpPr>
          <p:spPr bwMode="auto">
            <a:xfrm>
              <a:off x="-666" y="2272"/>
              <a:ext cx="227" cy="104"/>
            </a:xfrm>
            <a:custGeom>
              <a:avLst/>
              <a:gdLst>
                <a:gd name="T0" fmla="*/ 160 w 1363"/>
                <a:gd name="T1" fmla="*/ 624 h 624"/>
                <a:gd name="T2" fmla="*/ 1210 w 1363"/>
                <a:gd name="T3" fmla="*/ 624 h 624"/>
                <a:gd name="T4" fmla="*/ 1241 w 1363"/>
                <a:gd name="T5" fmla="*/ 620 h 624"/>
                <a:gd name="T6" fmla="*/ 1270 w 1363"/>
                <a:gd name="T7" fmla="*/ 612 h 624"/>
                <a:gd name="T8" fmla="*/ 1297 w 1363"/>
                <a:gd name="T9" fmla="*/ 597 h 624"/>
                <a:gd name="T10" fmla="*/ 1319 w 1363"/>
                <a:gd name="T11" fmla="*/ 578 h 624"/>
                <a:gd name="T12" fmla="*/ 1337 w 1363"/>
                <a:gd name="T13" fmla="*/ 555 h 624"/>
                <a:gd name="T14" fmla="*/ 1351 w 1363"/>
                <a:gd name="T15" fmla="*/ 529 h 624"/>
                <a:gd name="T16" fmla="*/ 1359 w 1363"/>
                <a:gd name="T17" fmla="*/ 502 h 624"/>
                <a:gd name="T18" fmla="*/ 1363 w 1363"/>
                <a:gd name="T19" fmla="*/ 472 h 624"/>
                <a:gd name="T20" fmla="*/ 1363 w 1363"/>
                <a:gd name="T21" fmla="*/ 296 h 624"/>
                <a:gd name="T22" fmla="*/ 1359 w 1363"/>
                <a:gd name="T23" fmla="*/ 264 h 624"/>
                <a:gd name="T24" fmla="*/ 1350 w 1363"/>
                <a:gd name="T25" fmla="*/ 235 h 624"/>
                <a:gd name="T26" fmla="*/ 1335 w 1363"/>
                <a:gd name="T27" fmla="*/ 209 h 624"/>
                <a:gd name="T28" fmla="*/ 1316 w 1363"/>
                <a:gd name="T29" fmla="*/ 187 h 624"/>
                <a:gd name="T30" fmla="*/ 1294 w 1363"/>
                <a:gd name="T31" fmla="*/ 169 h 624"/>
                <a:gd name="T32" fmla="*/ 1267 w 1363"/>
                <a:gd name="T33" fmla="*/ 156 h 624"/>
                <a:gd name="T34" fmla="*/ 1239 w 1363"/>
                <a:gd name="T35" fmla="*/ 147 h 624"/>
                <a:gd name="T36" fmla="*/ 1210 w 1363"/>
                <a:gd name="T37" fmla="*/ 144 h 624"/>
                <a:gd name="T38" fmla="*/ 1018 w 1363"/>
                <a:gd name="T39" fmla="*/ 144 h 624"/>
                <a:gd name="T40" fmla="*/ 970 w 1363"/>
                <a:gd name="T41" fmla="*/ 80 h 624"/>
                <a:gd name="T42" fmla="*/ 955 w 1363"/>
                <a:gd name="T43" fmla="*/ 57 h 624"/>
                <a:gd name="T44" fmla="*/ 936 w 1363"/>
                <a:gd name="T45" fmla="*/ 38 h 624"/>
                <a:gd name="T46" fmla="*/ 914 w 1363"/>
                <a:gd name="T47" fmla="*/ 22 h 624"/>
                <a:gd name="T48" fmla="*/ 888 w 1363"/>
                <a:gd name="T49" fmla="*/ 10 h 624"/>
                <a:gd name="T50" fmla="*/ 862 w 1363"/>
                <a:gd name="T51" fmla="*/ 2 h 624"/>
                <a:gd name="T52" fmla="*/ 834 w 1363"/>
                <a:gd name="T53" fmla="*/ 0 h 624"/>
                <a:gd name="T54" fmla="*/ 521 w 1363"/>
                <a:gd name="T55" fmla="*/ 0 h 624"/>
                <a:gd name="T56" fmla="*/ 493 w 1363"/>
                <a:gd name="T57" fmla="*/ 2 h 624"/>
                <a:gd name="T58" fmla="*/ 468 w 1363"/>
                <a:gd name="T59" fmla="*/ 10 h 624"/>
                <a:gd name="T60" fmla="*/ 444 w 1363"/>
                <a:gd name="T61" fmla="*/ 22 h 624"/>
                <a:gd name="T62" fmla="*/ 422 w 1363"/>
                <a:gd name="T63" fmla="*/ 38 h 624"/>
                <a:gd name="T64" fmla="*/ 402 w 1363"/>
                <a:gd name="T65" fmla="*/ 57 h 624"/>
                <a:gd name="T66" fmla="*/ 385 w 1363"/>
                <a:gd name="T67" fmla="*/ 80 h 624"/>
                <a:gd name="T68" fmla="*/ 345 w 1363"/>
                <a:gd name="T69" fmla="*/ 144 h 624"/>
                <a:gd name="T70" fmla="*/ 153 w 1363"/>
                <a:gd name="T71" fmla="*/ 144 h 624"/>
                <a:gd name="T72" fmla="*/ 120 w 1363"/>
                <a:gd name="T73" fmla="*/ 148 h 624"/>
                <a:gd name="T74" fmla="*/ 91 w 1363"/>
                <a:gd name="T75" fmla="*/ 156 h 624"/>
                <a:gd name="T76" fmla="*/ 66 w 1363"/>
                <a:gd name="T77" fmla="*/ 171 h 624"/>
                <a:gd name="T78" fmla="*/ 44 w 1363"/>
                <a:gd name="T79" fmla="*/ 190 h 624"/>
                <a:gd name="T80" fmla="*/ 25 w 1363"/>
                <a:gd name="T81" fmla="*/ 213 h 624"/>
                <a:gd name="T82" fmla="*/ 12 w 1363"/>
                <a:gd name="T83" fmla="*/ 239 h 624"/>
                <a:gd name="T84" fmla="*/ 3 w 1363"/>
                <a:gd name="T85" fmla="*/ 266 h 624"/>
                <a:gd name="T86" fmla="*/ 0 w 1363"/>
                <a:gd name="T87" fmla="*/ 296 h 624"/>
                <a:gd name="T88" fmla="*/ 0 w 1363"/>
                <a:gd name="T89" fmla="*/ 464 h 624"/>
                <a:gd name="T90" fmla="*/ 4 w 1363"/>
                <a:gd name="T91" fmla="*/ 496 h 624"/>
                <a:gd name="T92" fmla="*/ 13 w 1363"/>
                <a:gd name="T93" fmla="*/ 526 h 624"/>
                <a:gd name="T94" fmla="*/ 27 w 1363"/>
                <a:gd name="T95" fmla="*/ 553 h 624"/>
                <a:gd name="T96" fmla="*/ 47 w 1363"/>
                <a:gd name="T97" fmla="*/ 577 h 624"/>
                <a:gd name="T98" fmla="*/ 72 w 1363"/>
                <a:gd name="T99" fmla="*/ 597 h 624"/>
                <a:gd name="T100" fmla="*/ 98 w 1363"/>
                <a:gd name="T101" fmla="*/ 611 h 624"/>
                <a:gd name="T102" fmla="*/ 129 w 1363"/>
                <a:gd name="T103" fmla="*/ 620 h 624"/>
                <a:gd name="T104" fmla="*/ 160 w 1363"/>
                <a:gd name="T105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3" h="624">
                  <a:moveTo>
                    <a:pt x="160" y="624"/>
                  </a:moveTo>
                  <a:lnTo>
                    <a:pt x="1210" y="624"/>
                  </a:lnTo>
                  <a:lnTo>
                    <a:pt x="1241" y="620"/>
                  </a:lnTo>
                  <a:lnTo>
                    <a:pt x="1270" y="612"/>
                  </a:lnTo>
                  <a:lnTo>
                    <a:pt x="1297" y="597"/>
                  </a:lnTo>
                  <a:lnTo>
                    <a:pt x="1319" y="578"/>
                  </a:lnTo>
                  <a:lnTo>
                    <a:pt x="1337" y="555"/>
                  </a:lnTo>
                  <a:lnTo>
                    <a:pt x="1351" y="529"/>
                  </a:lnTo>
                  <a:lnTo>
                    <a:pt x="1359" y="502"/>
                  </a:lnTo>
                  <a:lnTo>
                    <a:pt x="1363" y="472"/>
                  </a:lnTo>
                  <a:lnTo>
                    <a:pt x="1363" y="296"/>
                  </a:lnTo>
                  <a:lnTo>
                    <a:pt x="1359" y="264"/>
                  </a:lnTo>
                  <a:lnTo>
                    <a:pt x="1350" y="235"/>
                  </a:lnTo>
                  <a:lnTo>
                    <a:pt x="1335" y="209"/>
                  </a:lnTo>
                  <a:lnTo>
                    <a:pt x="1316" y="187"/>
                  </a:lnTo>
                  <a:lnTo>
                    <a:pt x="1294" y="169"/>
                  </a:lnTo>
                  <a:lnTo>
                    <a:pt x="1267" y="156"/>
                  </a:lnTo>
                  <a:lnTo>
                    <a:pt x="1239" y="147"/>
                  </a:lnTo>
                  <a:lnTo>
                    <a:pt x="1210" y="144"/>
                  </a:lnTo>
                  <a:lnTo>
                    <a:pt x="1018" y="144"/>
                  </a:lnTo>
                  <a:lnTo>
                    <a:pt x="970" y="80"/>
                  </a:lnTo>
                  <a:lnTo>
                    <a:pt x="955" y="57"/>
                  </a:lnTo>
                  <a:lnTo>
                    <a:pt x="936" y="38"/>
                  </a:lnTo>
                  <a:lnTo>
                    <a:pt x="914" y="22"/>
                  </a:lnTo>
                  <a:lnTo>
                    <a:pt x="888" y="10"/>
                  </a:lnTo>
                  <a:lnTo>
                    <a:pt x="862" y="2"/>
                  </a:lnTo>
                  <a:lnTo>
                    <a:pt x="834" y="0"/>
                  </a:lnTo>
                  <a:lnTo>
                    <a:pt x="521" y="0"/>
                  </a:lnTo>
                  <a:lnTo>
                    <a:pt x="493" y="2"/>
                  </a:lnTo>
                  <a:lnTo>
                    <a:pt x="468" y="10"/>
                  </a:lnTo>
                  <a:lnTo>
                    <a:pt x="444" y="22"/>
                  </a:lnTo>
                  <a:lnTo>
                    <a:pt x="422" y="38"/>
                  </a:lnTo>
                  <a:lnTo>
                    <a:pt x="402" y="57"/>
                  </a:lnTo>
                  <a:lnTo>
                    <a:pt x="385" y="80"/>
                  </a:lnTo>
                  <a:lnTo>
                    <a:pt x="345" y="144"/>
                  </a:lnTo>
                  <a:lnTo>
                    <a:pt x="153" y="144"/>
                  </a:lnTo>
                  <a:lnTo>
                    <a:pt x="120" y="148"/>
                  </a:lnTo>
                  <a:lnTo>
                    <a:pt x="91" y="156"/>
                  </a:lnTo>
                  <a:lnTo>
                    <a:pt x="66" y="171"/>
                  </a:lnTo>
                  <a:lnTo>
                    <a:pt x="44" y="190"/>
                  </a:lnTo>
                  <a:lnTo>
                    <a:pt x="25" y="213"/>
                  </a:lnTo>
                  <a:lnTo>
                    <a:pt x="12" y="239"/>
                  </a:lnTo>
                  <a:lnTo>
                    <a:pt x="3" y="266"/>
                  </a:lnTo>
                  <a:lnTo>
                    <a:pt x="0" y="296"/>
                  </a:lnTo>
                  <a:lnTo>
                    <a:pt x="0" y="464"/>
                  </a:lnTo>
                  <a:lnTo>
                    <a:pt x="4" y="496"/>
                  </a:lnTo>
                  <a:lnTo>
                    <a:pt x="13" y="526"/>
                  </a:lnTo>
                  <a:lnTo>
                    <a:pt x="27" y="553"/>
                  </a:lnTo>
                  <a:lnTo>
                    <a:pt x="47" y="577"/>
                  </a:lnTo>
                  <a:lnTo>
                    <a:pt x="72" y="597"/>
                  </a:lnTo>
                  <a:lnTo>
                    <a:pt x="98" y="611"/>
                  </a:lnTo>
                  <a:lnTo>
                    <a:pt x="129" y="620"/>
                  </a:lnTo>
                  <a:lnTo>
                    <a:pt x="160" y="62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8"/>
            <p:cNvSpPr>
              <a:spLocks noChangeArrowheads="1"/>
            </p:cNvSpPr>
            <p:nvPr/>
          </p:nvSpPr>
          <p:spPr bwMode="auto">
            <a:xfrm>
              <a:off x="-702" y="2441"/>
              <a:ext cx="184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-702" y="2512"/>
              <a:ext cx="184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10"/>
            <p:cNvSpPr>
              <a:spLocks noChangeArrowheads="1"/>
            </p:cNvSpPr>
            <p:nvPr/>
          </p:nvSpPr>
          <p:spPr bwMode="auto">
            <a:xfrm>
              <a:off x="-702" y="2583"/>
              <a:ext cx="299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11"/>
            <p:cNvSpPr>
              <a:spLocks noChangeArrowheads="1"/>
            </p:cNvSpPr>
            <p:nvPr/>
          </p:nvSpPr>
          <p:spPr bwMode="auto">
            <a:xfrm>
              <a:off x="-702" y="2653"/>
              <a:ext cx="299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12"/>
            <p:cNvSpPr>
              <a:spLocks noChangeArrowheads="1"/>
            </p:cNvSpPr>
            <p:nvPr/>
          </p:nvSpPr>
          <p:spPr bwMode="auto">
            <a:xfrm>
              <a:off x="-574" y="2725"/>
              <a:ext cx="171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Rectangle 13"/>
            <p:cNvSpPr>
              <a:spLocks noChangeArrowheads="1"/>
            </p:cNvSpPr>
            <p:nvPr/>
          </p:nvSpPr>
          <p:spPr bwMode="auto">
            <a:xfrm>
              <a:off x="-574" y="2796"/>
              <a:ext cx="171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14"/>
            <p:cNvSpPr>
              <a:spLocks noEditPoints="1"/>
            </p:cNvSpPr>
            <p:nvPr/>
          </p:nvSpPr>
          <p:spPr bwMode="auto">
            <a:xfrm>
              <a:off x="-695" y="2715"/>
              <a:ext cx="72" cy="112"/>
            </a:xfrm>
            <a:custGeom>
              <a:avLst/>
              <a:gdLst>
                <a:gd name="T0" fmla="*/ 248 w 432"/>
                <a:gd name="T1" fmla="*/ 617 h 673"/>
                <a:gd name="T2" fmla="*/ 311 w 432"/>
                <a:gd name="T3" fmla="*/ 609 h 673"/>
                <a:gd name="T4" fmla="*/ 363 w 432"/>
                <a:gd name="T5" fmla="*/ 586 h 673"/>
                <a:gd name="T6" fmla="*/ 405 w 432"/>
                <a:gd name="T7" fmla="*/ 544 h 673"/>
                <a:gd name="T8" fmla="*/ 428 w 432"/>
                <a:gd name="T9" fmla="*/ 483 h 673"/>
                <a:gd name="T10" fmla="*/ 429 w 432"/>
                <a:gd name="T11" fmla="*/ 422 h 673"/>
                <a:gd name="T12" fmla="*/ 414 w 432"/>
                <a:gd name="T13" fmla="*/ 376 h 673"/>
                <a:gd name="T14" fmla="*/ 384 w 432"/>
                <a:gd name="T15" fmla="*/ 337 h 673"/>
                <a:gd name="T16" fmla="*/ 348 w 432"/>
                <a:gd name="T17" fmla="*/ 313 h 673"/>
                <a:gd name="T18" fmla="*/ 304 w 432"/>
                <a:gd name="T19" fmla="*/ 294 h 673"/>
                <a:gd name="T20" fmla="*/ 248 w 432"/>
                <a:gd name="T21" fmla="*/ 281 h 673"/>
                <a:gd name="T22" fmla="*/ 287 w 432"/>
                <a:gd name="T23" fmla="*/ 140 h 673"/>
                <a:gd name="T24" fmla="*/ 368 w 432"/>
                <a:gd name="T25" fmla="*/ 177 h 673"/>
                <a:gd name="T26" fmla="*/ 382 w 432"/>
                <a:gd name="T27" fmla="*/ 80 h 673"/>
                <a:gd name="T28" fmla="*/ 298 w 432"/>
                <a:gd name="T29" fmla="*/ 49 h 673"/>
                <a:gd name="T30" fmla="*/ 256 w 432"/>
                <a:gd name="T31" fmla="*/ 0 h 673"/>
                <a:gd name="T32" fmla="*/ 200 w 432"/>
                <a:gd name="T33" fmla="*/ 41 h 673"/>
                <a:gd name="T34" fmla="*/ 139 w 432"/>
                <a:gd name="T35" fmla="*/ 48 h 673"/>
                <a:gd name="T36" fmla="*/ 92 w 432"/>
                <a:gd name="T37" fmla="*/ 71 h 673"/>
                <a:gd name="T38" fmla="*/ 51 w 432"/>
                <a:gd name="T39" fmla="*/ 114 h 673"/>
                <a:gd name="T40" fmla="*/ 26 w 432"/>
                <a:gd name="T41" fmla="*/ 171 h 673"/>
                <a:gd name="T42" fmla="*/ 25 w 432"/>
                <a:gd name="T43" fmla="*/ 228 h 673"/>
                <a:gd name="T44" fmla="*/ 39 w 432"/>
                <a:gd name="T45" fmla="*/ 272 h 673"/>
                <a:gd name="T46" fmla="*/ 64 w 432"/>
                <a:gd name="T47" fmla="*/ 305 h 673"/>
                <a:gd name="T48" fmla="*/ 120 w 432"/>
                <a:gd name="T49" fmla="*/ 336 h 673"/>
                <a:gd name="T50" fmla="*/ 200 w 432"/>
                <a:gd name="T51" fmla="*/ 361 h 673"/>
                <a:gd name="T52" fmla="*/ 164 w 432"/>
                <a:gd name="T53" fmla="*/ 512 h 673"/>
                <a:gd name="T54" fmla="*/ 92 w 432"/>
                <a:gd name="T55" fmla="*/ 476 h 673"/>
                <a:gd name="T56" fmla="*/ 0 w 432"/>
                <a:gd name="T57" fmla="*/ 521 h 673"/>
                <a:gd name="T58" fmla="*/ 73 w 432"/>
                <a:gd name="T59" fmla="*/ 571 h 673"/>
                <a:gd name="T60" fmla="*/ 157 w 432"/>
                <a:gd name="T61" fmla="*/ 601 h 673"/>
                <a:gd name="T62" fmla="*/ 200 w 432"/>
                <a:gd name="T63" fmla="*/ 665 h 673"/>
                <a:gd name="T64" fmla="*/ 248 w 432"/>
                <a:gd name="T65" fmla="*/ 673 h 673"/>
                <a:gd name="T66" fmla="*/ 270 w 432"/>
                <a:gd name="T67" fmla="*/ 393 h 673"/>
                <a:gd name="T68" fmla="*/ 302 w 432"/>
                <a:gd name="T69" fmla="*/ 410 h 673"/>
                <a:gd name="T70" fmla="*/ 318 w 432"/>
                <a:gd name="T71" fmla="*/ 424 h 673"/>
                <a:gd name="T72" fmla="*/ 326 w 432"/>
                <a:gd name="T73" fmla="*/ 448 h 673"/>
                <a:gd name="T74" fmla="*/ 325 w 432"/>
                <a:gd name="T75" fmla="*/ 481 h 673"/>
                <a:gd name="T76" fmla="*/ 304 w 432"/>
                <a:gd name="T77" fmla="*/ 514 h 673"/>
                <a:gd name="T78" fmla="*/ 278 w 432"/>
                <a:gd name="T79" fmla="*/ 531 h 673"/>
                <a:gd name="T80" fmla="*/ 240 w 432"/>
                <a:gd name="T81" fmla="*/ 537 h 673"/>
                <a:gd name="T82" fmla="*/ 248 w 432"/>
                <a:gd name="T83" fmla="*/ 386 h 673"/>
                <a:gd name="T84" fmla="*/ 128 w 432"/>
                <a:gd name="T85" fmla="*/ 231 h 673"/>
                <a:gd name="T86" fmla="*/ 120 w 432"/>
                <a:gd name="T87" fmla="*/ 201 h 673"/>
                <a:gd name="T88" fmla="*/ 130 w 432"/>
                <a:gd name="T89" fmla="*/ 169 h 673"/>
                <a:gd name="T90" fmla="*/ 156 w 432"/>
                <a:gd name="T91" fmla="*/ 144 h 673"/>
                <a:gd name="T92" fmla="*/ 182 w 432"/>
                <a:gd name="T93" fmla="*/ 134 h 673"/>
                <a:gd name="T94" fmla="*/ 200 w 432"/>
                <a:gd name="T95" fmla="*/ 273 h 673"/>
                <a:gd name="T96" fmla="*/ 158 w 432"/>
                <a:gd name="T97" fmla="*/ 254 h 673"/>
                <a:gd name="T98" fmla="*/ 136 w 432"/>
                <a:gd name="T99" fmla="*/ 241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2" h="673">
                  <a:moveTo>
                    <a:pt x="248" y="673"/>
                  </a:moveTo>
                  <a:lnTo>
                    <a:pt x="248" y="617"/>
                  </a:lnTo>
                  <a:lnTo>
                    <a:pt x="280" y="615"/>
                  </a:lnTo>
                  <a:lnTo>
                    <a:pt x="311" y="609"/>
                  </a:lnTo>
                  <a:lnTo>
                    <a:pt x="339" y="600"/>
                  </a:lnTo>
                  <a:lnTo>
                    <a:pt x="363" y="586"/>
                  </a:lnTo>
                  <a:lnTo>
                    <a:pt x="384" y="569"/>
                  </a:lnTo>
                  <a:lnTo>
                    <a:pt x="405" y="544"/>
                  </a:lnTo>
                  <a:lnTo>
                    <a:pt x="420" y="515"/>
                  </a:lnTo>
                  <a:lnTo>
                    <a:pt x="428" y="483"/>
                  </a:lnTo>
                  <a:lnTo>
                    <a:pt x="432" y="450"/>
                  </a:lnTo>
                  <a:lnTo>
                    <a:pt x="429" y="422"/>
                  </a:lnTo>
                  <a:lnTo>
                    <a:pt x="424" y="398"/>
                  </a:lnTo>
                  <a:lnTo>
                    <a:pt x="414" y="376"/>
                  </a:lnTo>
                  <a:lnTo>
                    <a:pt x="402" y="356"/>
                  </a:lnTo>
                  <a:lnTo>
                    <a:pt x="384" y="337"/>
                  </a:lnTo>
                  <a:lnTo>
                    <a:pt x="367" y="325"/>
                  </a:lnTo>
                  <a:lnTo>
                    <a:pt x="348" y="313"/>
                  </a:lnTo>
                  <a:lnTo>
                    <a:pt x="328" y="303"/>
                  </a:lnTo>
                  <a:lnTo>
                    <a:pt x="304" y="294"/>
                  </a:lnTo>
                  <a:lnTo>
                    <a:pt x="278" y="287"/>
                  </a:lnTo>
                  <a:lnTo>
                    <a:pt x="248" y="281"/>
                  </a:lnTo>
                  <a:lnTo>
                    <a:pt x="248" y="130"/>
                  </a:lnTo>
                  <a:lnTo>
                    <a:pt x="287" y="140"/>
                  </a:lnTo>
                  <a:lnTo>
                    <a:pt x="328" y="155"/>
                  </a:lnTo>
                  <a:lnTo>
                    <a:pt x="368" y="177"/>
                  </a:lnTo>
                  <a:lnTo>
                    <a:pt x="424" y="105"/>
                  </a:lnTo>
                  <a:lnTo>
                    <a:pt x="382" y="80"/>
                  </a:lnTo>
                  <a:lnTo>
                    <a:pt x="340" y="61"/>
                  </a:lnTo>
                  <a:lnTo>
                    <a:pt x="298" y="49"/>
                  </a:lnTo>
                  <a:lnTo>
                    <a:pt x="256" y="41"/>
                  </a:lnTo>
                  <a:lnTo>
                    <a:pt x="256" y="0"/>
                  </a:lnTo>
                  <a:lnTo>
                    <a:pt x="200" y="0"/>
                  </a:lnTo>
                  <a:lnTo>
                    <a:pt x="200" y="41"/>
                  </a:lnTo>
                  <a:lnTo>
                    <a:pt x="167" y="43"/>
                  </a:lnTo>
                  <a:lnTo>
                    <a:pt x="139" y="48"/>
                  </a:lnTo>
                  <a:lnTo>
                    <a:pt x="114" y="59"/>
                  </a:lnTo>
                  <a:lnTo>
                    <a:pt x="92" y="71"/>
                  </a:lnTo>
                  <a:lnTo>
                    <a:pt x="72" y="89"/>
                  </a:lnTo>
                  <a:lnTo>
                    <a:pt x="51" y="114"/>
                  </a:lnTo>
                  <a:lnTo>
                    <a:pt x="36" y="142"/>
                  </a:lnTo>
                  <a:lnTo>
                    <a:pt x="26" y="171"/>
                  </a:lnTo>
                  <a:lnTo>
                    <a:pt x="23" y="201"/>
                  </a:lnTo>
                  <a:lnTo>
                    <a:pt x="25" y="228"/>
                  </a:lnTo>
                  <a:lnTo>
                    <a:pt x="30" y="252"/>
                  </a:lnTo>
                  <a:lnTo>
                    <a:pt x="39" y="272"/>
                  </a:lnTo>
                  <a:lnTo>
                    <a:pt x="50" y="289"/>
                  </a:lnTo>
                  <a:lnTo>
                    <a:pt x="64" y="305"/>
                  </a:lnTo>
                  <a:lnTo>
                    <a:pt x="89" y="322"/>
                  </a:lnTo>
                  <a:lnTo>
                    <a:pt x="120" y="336"/>
                  </a:lnTo>
                  <a:lnTo>
                    <a:pt x="156" y="348"/>
                  </a:lnTo>
                  <a:lnTo>
                    <a:pt x="200" y="361"/>
                  </a:lnTo>
                  <a:lnTo>
                    <a:pt x="200" y="521"/>
                  </a:lnTo>
                  <a:lnTo>
                    <a:pt x="164" y="512"/>
                  </a:lnTo>
                  <a:lnTo>
                    <a:pt x="128" y="497"/>
                  </a:lnTo>
                  <a:lnTo>
                    <a:pt x="92" y="476"/>
                  </a:lnTo>
                  <a:lnTo>
                    <a:pt x="55" y="450"/>
                  </a:lnTo>
                  <a:lnTo>
                    <a:pt x="0" y="521"/>
                  </a:lnTo>
                  <a:lnTo>
                    <a:pt x="34" y="547"/>
                  </a:lnTo>
                  <a:lnTo>
                    <a:pt x="73" y="571"/>
                  </a:lnTo>
                  <a:lnTo>
                    <a:pt x="114" y="588"/>
                  </a:lnTo>
                  <a:lnTo>
                    <a:pt x="157" y="601"/>
                  </a:lnTo>
                  <a:lnTo>
                    <a:pt x="200" y="609"/>
                  </a:lnTo>
                  <a:lnTo>
                    <a:pt x="200" y="665"/>
                  </a:lnTo>
                  <a:lnTo>
                    <a:pt x="248" y="665"/>
                  </a:lnTo>
                  <a:lnTo>
                    <a:pt x="248" y="673"/>
                  </a:lnTo>
                  <a:close/>
                  <a:moveTo>
                    <a:pt x="248" y="386"/>
                  </a:moveTo>
                  <a:lnTo>
                    <a:pt x="270" y="393"/>
                  </a:lnTo>
                  <a:lnTo>
                    <a:pt x="288" y="401"/>
                  </a:lnTo>
                  <a:lnTo>
                    <a:pt x="302" y="410"/>
                  </a:lnTo>
                  <a:lnTo>
                    <a:pt x="312" y="417"/>
                  </a:lnTo>
                  <a:lnTo>
                    <a:pt x="318" y="424"/>
                  </a:lnTo>
                  <a:lnTo>
                    <a:pt x="322" y="434"/>
                  </a:lnTo>
                  <a:lnTo>
                    <a:pt x="326" y="448"/>
                  </a:lnTo>
                  <a:lnTo>
                    <a:pt x="328" y="465"/>
                  </a:lnTo>
                  <a:lnTo>
                    <a:pt x="325" y="481"/>
                  </a:lnTo>
                  <a:lnTo>
                    <a:pt x="316" y="497"/>
                  </a:lnTo>
                  <a:lnTo>
                    <a:pt x="304" y="514"/>
                  </a:lnTo>
                  <a:lnTo>
                    <a:pt x="291" y="524"/>
                  </a:lnTo>
                  <a:lnTo>
                    <a:pt x="278" y="531"/>
                  </a:lnTo>
                  <a:lnTo>
                    <a:pt x="261" y="536"/>
                  </a:lnTo>
                  <a:lnTo>
                    <a:pt x="240" y="537"/>
                  </a:lnTo>
                  <a:lnTo>
                    <a:pt x="240" y="386"/>
                  </a:lnTo>
                  <a:lnTo>
                    <a:pt x="248" y="386"/>
                  </a:lnTo>
                  <a:close/>
                  <a:moveTo>
                    <a:pt x="136" y="241"/>
                  </a:moveTo>
                  <a:lnTo>
                    <a:pt x="128" y="231"/>
                  </a:lnTo>
                  <a:lnTo>
                    <a:pt x="122" y="217"/>
                  </a:lnTo>
                  <a:lnTo>
                    <a:pt x="120" y="201"/>
                  </a:lnTo>
                  <a:lnTo>
                    <a:pt x="122" y="185"/>
                  </a:lnTo>
                  <a:lnTo>
                    <a:pt x="130" y="169"/>
                  </a:lnTo>
                  <a:lnTo>
                    <a:pt x="143" y="153"/>
                  </a:lnTo>
                  <a:lnTo>
                    <a:pt x="156" y="144"/>
                  </a:lnTo>
                  <a:lnTo>
                    <a:pt x="168" y="138"/>
                  </a:lnTo>
                  <a:lnTo>
                    <a:pt x="182" y="134"/>
                  </a:lnTo>
                  <a:lnTo>
                    <a:pt x="200" y="130"/>
                  </a:lnTo>
                  <a:lnTo>
                    <a:pt x="200" y="273"/>
                  </a:lnTo>
                  <a:lnTo>
                    <a:pt x="177" y="262"/>
                  </a:lnTo>
                  <a:lnTo>
                    <a:pt x="158" y="254"/>
                  </a:lnTo>
                  <a:lnTo>
                    <a:pt x="144" y="247"/>
                  </a:lnTo>
                  <a:lnTo>
                    <a:pt x="136" y="24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15"/>
            <p:cNvSpPr>
              <a:spLocks noEditPoints="1"/>
            </p:cNvSpPr>
            <p:nvPr/>
          </p:nvSpPr>
          <p:spPr bwMode="auto">
            <a:xfrm>
              <a:off x="-475" y="2441"/>
              <a:ext cx="73" cy="111"/>
            </a:xfrm>
            <a:custGeom>
              <a:avLst/>
              <a:gdLst>
                <a:gd name="T0" fmla="*/ 200 w 440"/>
                <a:gd name="T1" fmla="*/ 39 h 664"/>
                <a:gd name="T2" fmla="*/ 140 w 440"/>
                <a:gd name="T3" fmla="*/ 48 h 664"/>
                <a:gd name="T4" fmla="*/ 92 w 440"/>
                <a:gd name="T5" fmla="*/ 71 h 664"/>
                <a:gd name="T6" fmla="*/ 51 w 440"/>
                <a:gd name="T7" fmla="*/ 114 h 664"/>
                <a:gd name="T8" fmla="*/ 27 w 440"/>
                <a:gd name="T9" fmla="*/ 170 h 664"/>
                <a:gd name="T10" fmla="*/ 25 w 440"/>
                <a:gd name="T11" fmla="*/ 227 h 664"/>
                <a:gd name="T12" fmla="*/ 39 w 440"/>
                <a:gd name="T13" fmla="*/ 271 h 664"/>
                <a:gd name="T14" fmla="*/ 64 w 440"/>
                <a:gd name="T15" fmla="*/ 304 h 664"/>
                <a:gd name="T16" fmla="*/ 120 w 440"/>
                <a:gd name="T17" fmla="*/ 335 h 664"/>
                <a:gd name="T18" fmla="*/ 200 w 440"/>
                <a:gd name="T19" fmla="*/ 359 h 664"/>
                <a:gd name="T20" fmla="*/ 164 w 440"/>
                <a:gd name="T21" fmla="*/ 511 h 664"/>
                <a:gd name="T22" fmla="*/ 92 w 440"/>
                <a:gd name="T23" fmla="*/ 475 h 664"/>
                <a:gd name="T24" fmla="*/ 0 w 440"/>
                <a:gd name="T25" fmla="*/ 520 h 664"/>
                <a:gd name="T26" fmla="*/ 74 w 440"/>
                <a:gd name="T27" fmla="*/ 569 h 664"/>
                <a:gd name="T28" fmla="*/ 157 w 440"/>
                <a:gd name="T29" fmla="*/ 600 h 664"/>
                <a:gd name="T30" fmla="*/ 200 w 440"/>
                <a:gd name="T31" fmla="*/ 664 h 664"/>
                <a:gd name="T32" fmla="*/ 256 w 440"/>
                <a:gd name="T33" fmla="*/ 608 h 664"/>
                <a:gd name="T34" fmla="*/ 319 w 440"/>
                <a:gd name="T35" fmla="*/ 600 h 664"/>
                <a:gd name="T36" fmla="*/ 371 w 440"/>
                <a:gd name="T37" fmla="*/ 577 h 664"/>
                <a:gd name="T38" fmla="*/ 413 w 440"/>
                <a:gd name="T39" fmla="*/ 534 h 664"/>
                <a:gd name="T40" fmla="*/ 438 w 440"/>
                <a:gd name="T41" fmla="*/ 475 h 664"/>
                <a:gd name="T42" fmla="*/ 439 w 440"/>
                <a:gd name="T43" fmla="*/ 413 h 664"/>
                <a:gd name="T44" fmla="*/ 423 w 440"/>
                <a:gd name="T45" fmla="*/ 368 h 664"/>
                <a:gd name="T46" fmla="*/ 392 w 440"/>
                <a:gd name="T47" fmla="*/ 328 h 664"/>
                <a:gd name="T48" fmla="*/ 358 w 440"/>
                <a:gd name="T49" fmla="*/ 305 h 664"/>
                <a:gd name="T50" fmla="*/ 313 w 440"/>
                <a:gd name="T51" fmla="*/ 285 h 664"/>
                <a:gd name="T52" fmla="*/ 256 w 440"/>
                <a:gd name="T53" fmla="*/ 272 h 664"/>
                <a:gd name="T54" fmla="*/ 296 w 440"/>
                <a:gd name="T55" fmla="*/ 130 h 664"/>
                <a:gd name="T56" fmla="*/ 376 w 440"/>
                <a:gd name="T57" fmla="*/ 169 h 664"/>
                <a:gd name="T58" fmla="*/ 374 w 440"/>
                <a:gd name="T59" fmla="*/ 78 h 664"/>
                <a:gd name="T60" fmla="*/ 290 w 440"/>
                <a:gd name="T61" fmla="*/ 48 h 664"/>
                <a:gd name="T62" fmla="*/ 248 w 440"/>
                <a:gd name="T63" fmla="*/ 0 h 664"/>
                <a:gd name="T64" fmla="*/ 200 w 440"/>
                <a:gd name="T65" fmla="*/ 272 h 664"/>
                <a:gd name="T66" fmla="*/ 162 w 440"/>
                <a:gd name="T67" fmla="*/ 259 h 664"/>
                <a:gd name="T68" fmla="*/ 136 w 440"/>
                <a:gd name="T69" fmla="*/ 240 h 664"/>
                <a:gd name="T70" fmla="*/ 122 w 440"/>
                <a:gd name="T71" fmla="*/ 215 h 664"/>
                <a:gd name="T72" fmla="*/ 122 w 440"/>
                <a:gd name="T73" fmla="*/ 184 h 664"/>
                <a:gd name="T74" fmla="*/ 144 w 440"/>
                <a:gd name="T75" fmla="*/ 152 h 664"/>
                <a:gd name="T76" fmla="*/ 169 w 440"/>
                <a:gd name="T77" fmla="*/ 137 h 664"/>
                <a:gd name="T78" fmla="*/ 200 w 440"/>
                <a:gd name="T79" fmla="*/ 128 h 664"/>
                <a:gd name="T80" fmla="*/ 312 w 440"/>
                <a:gd name="T81" fmla="*/ 416 h 664"/>
                <a:gd name="T82" fmla="*/ 324 w 440"/>
                <a:gd name="T83" fmla="*/ 434 h 664"/>
                <a:gd name="T84" fmla="*/ 328 w 440"/>
                <a:gd name="T85" fmla="*/ 464 h 664"/>
                <a:gd name="T86" fmla="*/ 318 w 440"/>
                <a:gd name="T87" fmla="*/ 496 h 664"/>
                <a:gd name="T88" fmla="*/ 292 w 440"/>
                <a:gd name="T89" fmla="*/ 522 h 664"/>
                <a:gd name="T90" fmla="*/ 262 w 440"/>
                <a:gd name="T91" fmla="*/ 534 h 664"/>
                <a:gd name="T92" fmla="*/ 240 w 440"/>
                <a:gd name="T93" fmla="*/ 392 h 664"/>
                <a:gd name="T94" fmla="*/ 289 w 440"/>
                <a:gd name="T95" fmla="*/ 404 h 664"/>
                <a:gd name="T96" fmla="*/ 312 w 440"/>
                <a:gd name="T97" fmla="*/ 416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40" h="664">
                  <a:moveTo>
                    <a:pt x="200" y="0"/>
                  </a:moveTo>
                  <a:lnTo>
                    <a:pt x="200" y="39"/>
                  </a:lnTo>
                  <a:lnTo>
                    <a:pt x="169" y="42"/>
                  </a:lnTo>
                  <a:lnTo>
                    <a:pt x="140" y="48"/>
                  </a:lnTo>
                  <a:lnTo>
                    <a:pt x="115" y="57"/>
                  </a:lnTo>
                  <a:lnTo>
                    <a:pt x="92" y="71"/>
                  </a:lnTo>
                  <a:lnTo>
                    <a:pt x="72" y="88"/>
                  </a:lnTo>
                  <a:lnTo>
                    <a:pt x="51" y="114"/>
                  </a:lnTo>
                  <a:lnTo>
                    <a:pt x="36" y="141"/>
                  </a:lnTo>
                  <a:lnTo>
                    <a:pt x="27" y="170"/>
                  </a:lnTo>
                  <a:lnTo>
                    <a:pt x="24" y="200"/>
                  </a:lnTo>
                  <a:lnTo>
                    <a:pt x="25" y="227"/>
                  </a:lnTo>
                  <a:lnTo>
                    <a:pt x="31" y="250"/>
                  </a:lnTo>
                  <a:lnTo>
                    <a:pt x="39" y="271"/>
                  </a:lnTo>
                  <a:lnTo>
                    <a:pt x="51" y="288"/>
                  </a:lnTo>
                  <a:lnTo>
                    <a:pt x="64" y="304"/>
                  </a:lnTo>
                  <a:lnTo>
                    <a:pt x="90" y="321"/>
                  </a:lnTo>
                  <a:lnTo>
                    <a:pt x="120" y="335"/>
                  </a:lnTo>
                  <a:lnTo>
                    <a:pt x="156" y="348"/>
                  </a:lnTo>
                  <a:lnTo>
                    <a:pt x="200" y="359"/>
                  </a:lnTo>
                  <a:lnTo>
                    <a:pt x="200" y="520"/>
                  </a:lnTo>
                  <a:lnTo>
                    <a:pt x="164" y="511"/>
                  </a:lnTo>
                  <a:lnTo>
                    <a:pt x="128" y="496"/>
                  </a:lnTo>
                  <a:lnTo>
                    <a:pt x="92" y="475"/>
                  </a:lnTo>
                  <a:lnTo>
                    <a:pt x="56" y="448"/>
                  </a:lnTo>
                  <a:lnTo>
                    <a:pt x="0" y="520"/>
                  </a:lnTo>
                  <a:lnTo>
                    <a:pt x="35" y="547"/>
                  </a:lnTo>
                  <a:lnTo>
                    <a:pt x="74" y="569"/>
                  </a:lnTo>
                  <a:lnTo>
                    <a:pt x="115" y="587"/>
                  </a:lnTo>
                  <a:lnTo>
                    <a:pt x="157" y="600"/>
                  </a:lnTo>
                  <a:lnTo>
                    <a:pt x="200" y="608"/>
                  </a:lnTo>
                  <a:lnTo>
                    <a:pt x="200" y="664"/>
                  </a:lnTo>
                  <a:lnTo>
                    <a:pt x="256" y="664"/>
                  </a:lnTo>
                  <a:lnTo>
                    <a:pt x="256" y="608"/>
                  </a:lnTo>
                  <a:lnTo>
                    <a:pt x="289" y="606"/>
                  </a:lnTo>
                  <a:lnTo>
                    <a:pt x="319" y="600"/>
                  </a:lnTo>
                  <a:lnTo>
                    <a:pt x="347" y="591"/>
                  </a:lnTo>
                  <a:lnTo>
                    <a:pt x="371" y="577"/>
                  </a:lnTo>
                  <a:lnTo>
                    <a:pt x="392" y="560"/>
                  </a:lnTo>
                  <a:lnTo>
                    <a:pt x="413" y="534"/>
                  </a:lnTo>
                  <a:lnTo>
                    <a:pt x="429" y="506"/>
                  </a:lnTo>
                  <a:lnTo>
                    <a:pt x="438" y="475"/>
                  </a:lnTo>
                  <a:lnTo>
                    <a:pt x="440" y="440"/>
                  </a:lnTo>
                  <a:lnTo>
                    <a:pt x="439" y="413"/>
                  </a:lnTo>
                  <a:lnTo>
                    <a:pt x="433" y="389"/>
                  </a:lnTo>
                  <a:lnTo>
                    <a:pt x="423" y="368"/>
                  </a:lnTo>
                  <a:lnTo>
                    <a:pt x="410" y="348"/>
                  </a:lnTo>
                  <a:lnTo>
                    <a:pt x="392" y="328"/>
                  </a:lnTo>
                  <a:lnTo>
                    <a:pt x="376" y="316"/>
                  </a:lnTo>
                  <a:lnTo>
                    <a:pt x="358" y="305"/>
                  </a:lnTo>
                  <a:lnTo>
                    <a:pt x="337" y="294"/>
                  </a:lnTo>
                  <a:lnTo>
                    <a:pt x="313" y="285"/>
                  </a:lnTo>
                  <a:lnTo>
                    <a:pt x="286" y="277"/>
                  </a:lnTo>
                  <a:lnTo>
                    <a:pt x="256" y="272"/>
                  </a:lnTo>
                  <a:lnTo>
                    <a:pt x="256" y="120"/>
                  </a:lnTo>
                  <a:lnTo>
                    <a:pt x="296" y="130"/>
                  </a:lnTo>
                  <a:lnTo>
                    <a:pt x="337" y="146"/>
                  </a:lnTo>
                  <a:lnTo>
                    <a:pt x="376" y="169"/>
                  </a:lnTo>
                  <a:lnTo>
                    <a:pt x="417" y="103"/>
                  </a:lnTo>
                  <a:lnTo>
                    <a:pt x="374" y="78"/>
                  </a:lnTo>
                  <a:lnTo>
                    <a:pt x="332" y="60"/>
                  </a:lnTo>
                  <a:lnTo>
                    <a:pt x="290" y="48"/>
                  </a:lnTo>
                  <a:lnTo>
                    <a:pt x="248" y="39"/>
                  </a:lnTo>
                  <a:lnTo>
                    <a:pt x="248" y="0"/>
                  </a:lnTo>
                  <a:lnTo>
                    <a:pt x="200" y="0"/>
                  </a:lnTo>
                  <a:close/>
                  <a:moveTo>
                    <a:pt x="200" y="272"/>
                  </a:moveTo>
                  <a:lnTo>
                    <a:pt x="179" y="266"/>
                  </a:lnTo>
                  <a:lnTo>
                    <a:pt x="162" y="259"/>
                  </a:lnTo>
                  <a:lnTo>
                    <a:pt x="148" y="251"/>
                  </a:lnTo>
                  <a:lnTo>
                    <a:pt x="136" y="240"/>
                  </a:lnTo>
                  <a:lnTo>
                    <a:pt x="128" y="229"/>
                  </a:lnTo>
                  <a:lnTo>
                    <a:pt x="122" y="215"/>
                  </a:lnTo>
                  <a:lnTo>
                    <a:pt x="120" y="200"/>
                  </a:lnTo>
                  <a:lnTo>
                    <a:pt x="122" y="184"/>
                  </a:lnTo>
                  <a:lnTo>
                    <a:pt x="130" y="169"/>
                  </a:lnTo>
                  <a:lnTo>
                    <a:pt x="144" y="152"/>
                  </a:lnTo>
                  <a:lnTo>
                    <a:pt x="156" y="143"/>
                  </a:lnTo>
                  <a:lnTo>
                    <a:pt x="169" y="137"/>
                  </a:lnTo>
                  <a:lnTo>
                    <a:pt x="184" y="133"/>
                  </a:lnTo>
                  <a:lnTo>
                    <a:pt x="200" y="128"/>
                  </a:lnTo>
                  <a:lnTo>
                    <a:pt x="200" y="272"/>
                  </a:lnTo>
                  <a:close/>
                  <a:moveTo>
                    <a:pt x="312" y="416"/>
                  </a:moveTo>
                  <a:lnTo>
                    <a:pt x="318" y="423"/>
                  </a:lnTo>
                  <a:lnTo>
                    <a:pt x="324" y="434"/>
                  </a:lnTo>
                  <a:lnTo>
                    <a:pt x="327" y="448"/>
                  </a:lnTo>
                  <a:lnTo>
                    <a:pt x="328" y="464"/>
                  </a:lnTo>
                  <a:lnTo>
                    <a:pt x="326" y="480"/>
                  </a:lnTo>
                  <a:lnTo>
                    <a:pt x="318" y="496"/>
                  </a:lnTo>
                  <a:lnTo>
                    <a:pt x="304" y="512"/>
                  </a:lnTo>
                  <a:lnTo>
                    <a:pt x="292" y="522"/>
                  </a:lnTo>
                  <a:lnTo>
                    <a:pt x="278" y="530"/>
                  </a:lnTo>
                  <a:lnTo>
                    <a:pt x="262" y="534"/>
                  </a:lnTo>
                  <a:lnTo>
                    <a:pt x="240" y="536"/>
                  </a:lnTo>
                  <a:lnTo>
                    <a:pt x="240" y="392"/>
                  </a:lnTo>
                  <a:lnTo>
                    <a:pt x="268" y="398"/>
                  </a:lnTo>
                  <a:lnTo>
                    <a:pt x="289" y="404"/>
                  </a:lnTo>
                  <a:lnTo>
                    <a:pt x="303" y="409"/>
                  </a:lnTo>
                  <a:lnTo>
                    <a:pt x="312" y="41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9" name="Group 4"/>
          <p:cNvGrpSpPr>
            <a:grpSpLocks noChangeAspect="1"/>
          </p:cNvGrpSpPr>
          <p:nvPr/>
        </p:nvGrpSpPr>
        <p:grpSpPr bwMode="auto">
          <a:xfrm>
            <a:off x="769187" y="2398012"/>
            <a:ext cx="425083" cy="425083"/>
            <a:chOff x="592" y="2862"/>
            <a:chExt cx="324" cy="324"/>
          </a:xfrm>
          <a:solidFill>
            <a:schemeClr val="bg1"/>
          </a:solidFill>
        </p:grpSpPr>
        <p:sp>
          <p:nvSpPr>
            <p:cNvPr id="120" name="Freeform 6"/>
            <p:cNvSpPr>
              <a:spLocks noEditPoints="1"/>
            </p:cNvSpPr>
            <p:nvPr/>
          </p:nvSpPr>
          <p:spPr bwMode="auto">
            <a:xfrm>
              <a:off x="785" y="3061"/>
              <a:ext cx="131" cy="125"/>
            </a:xfrm>
            <a:custGeom>
              <a:avLst/>
              <a:gdLst>
                <a:gd name="T0" fmla="*/ 648 w 1432"/>
                <a:gd name="T1" fmla="*/ 3 h 1377"/>
                <a:gd name="T2" fmla="*/ 515 w 1432"/>
                <a:gd name="T3" fmla="*/ 27 h 1377"/>
                <a:gd name="T4" fmla="*/ 393 w 1432"/>
                <a:gd name="T5" fmla="*/ 73 h 1377"/>
                <a:gd name="T6" fmla="*/ 283 w 1432"/>
                <a:gd name="T7" fmla="*/ 140 h 1377"/>
                <a:gd name="T8" fmla="*/ 188 w 1432"/>
                <a:gd name="T9" fmla="*/ 224 h 1377"/>
                <a:gd name="T10" fmla="*/ 109 w 1432"/>
                <a:gd name="T11" fmla="*/ 323 h 1377"/>
                <a:gd name="T12" fmla="*/ 50 w 1432"/>
                <a:gd name="T13" fmla="*/ 435 h 1377"/>
                <a:gd name="T14" fmla="*/ 13 w 1432"/>
                <a:gd name="T15" fmla="*/ 558 h 1377"/>
                <a:gd name="T16" fmla="*/ 0 w 1432"/>
                <a:gd name="T17" fmla="*/ 688 h 1377"/>
                <a:gd name="T18" fmla="*/ 13 w 1432"/>
                <a:gd name="T19" fmla="*/ 819 h 1377"/>
                <a:gd name="T20" fmla="*/ 50 w 1432"/>
                <a:gd name="T21" fmla="*/ 942 h 1377"/>
                <a:gd name="T22" fmla="*/ 109 w 1432"/>
                <a:gd name="T23" fmla="*/ 1053 h 1377"/>
                <a:gd name="T24" fmla="*/ 188 w 1432"/>
                <a:gd name="T25" fmla="*/ 1153 h 1377"/>
                <a:gd name="T26" fmla="*/ 283 w 1432"/>
                <a:gd name="T27" fmla="*/ 1236 h 1377"/>
                <a:gd name="T28" fmla="*/ 393 w 1432"/>
                <a:gd name="T29" fmla="*/ 1303 h 1377"/>
                <a:gd name="T30" fmla="*/ 515 w 1432"/>
                <a:gd name="T31" fmla="*/ 1350 h 1377"/>
                <a:gd name="T32" fmla="*/ 648 w 1432"/>
                <a:gd name="T33" fmla="*/ 1374 h 1377"/>
                <a:gd name="T34" fmla="*/ 785 w 1432"/>
                <a:gd name="T35" fmla="*/ 1374 h 1377"/>
                <a:gd name="T36" fmla="*/ 917 w 1432"/>
                <a:gd name="T37" fmla="*/ 1350 h 1377"/>
                <a:gd name="T38" fmla="*/ 1039 w 1432"/>
                <a:gd name="T39" fmla="*/ 1303 h 1377"/>
                <a:gd name="T40" fmla="*/ 1149 w 1432"/>
                <a:gd name="T41" fmla="*/ 1236 h 1377"/>
                <a:gd name="T42" fmla="*/ 1245 w 1432"/>
                <a:gd name="T43" fmla="*/ 1153 h 1377"/>
                <a:gd name="T44" fmla="*/ 1323 w 1432"/>
                <a:gd name="T45" fmla="*/ 1053 h 1377"/>
                <a:gd name="T46" fmla="*/ 1382 w 1432"/>
                <a:gd name="T47" fmla="*/ 942 h 1377"/>
                <a:gd name="T48" fmla="*/ 1419 w 1432"/>
                <a:gd name="T49" fmla="*/ 819 h 1377"/>
                <a:gd name="T50" fmla="*/ 1432 w 1432"/>
                <a:gd name="T51" fmla="*/ 689 h 1377"/>
                <a:gd name="T52" fmla="*/ 1419 w 1432"/>
                <a:gd name="T53" fmla="*/ 558 h 1377"/>
                <a:gd name="T54" fmla="*/ 1382 w 1432"/>
                <a:gd name="T55" fmla="*/ 436 h 1377"/>
                <a:gd name="T56" fmla="*/ 1323 w 1432"/>
                <a:gd name="T57" fmla="*/ 323 h 1377"/>
                <a:gd name="T58" fmla="*/ 1245 w 1432"/>
                <a:gd name="T59" fmla="*/ 224 h 1377"/>
                <a:gd name="T60" fmla="*/ 1149 w 1432"/>
                <a:gd name="T61" fmla="*/ 140 h 1377"/>
                <a:gd name="T62" fmla="*/ 1039 w 1432"/>
                <a:gd name="T63" fmla="*/ 73 h 1377"/>
                <a:gd name="T64" fmla="*/ 917 w 1432"/>
                <a:gd name="T65" fmla="*/ 27 h 1377"/>
                <a:gd name="T66" fmla="*/ 785 w 1432"/>
                <a:gd name="T67" fmla="*/ 3 h 1377"/>
                <a:gd name="T68" fmla="*/ 1013 w 1432"/>
                <a:gd name="T69" fmla="*/ 877 h 1377"/>
                <a:gd name="T70" fmla="*/ 1033 w 1432"/>
                <a:gd name="T71" fmla="*/ 912 h 1377"/>
                <a:gd name="T72" fmla="*/ 1033 w 1432"/>
                <a:gd name="T73" fmla="*/ 950 h 1377"/>
                <a:gd name="T74" fmla="*/ 1014 w 1432"/>
                <a:gd name="T75" fmla="*/ 984 h 1377"/>
                <a:gd name="T76" fmla="*/ 979 w 1432"/>
                <a:gd name="T77" fmla="*/ 1004 h 1377"/>
                <a:gd name="T78" fmla="*/ 940 w 1432"/>
                <a:gd name="T79" fmla="*/ 1004 h 1377"/>
                <a:gd name="T80" fmla="*/ 906 w 1432"/>
                <a:gd name="T81" fmla="*/ 984 h 1377"/>
                <a:gd name="T82" fmla="*/ 526 w 1432"/>
                <a:gd name="T83" fmla="*/ 984 h 1377"/>
                <a:gd name="T84" fmla="*/ 492 w 1432"/>
                <a:gd name="T85" fmla="*/ 1004 h 1377"/>
                <a:gd name="T86" fmla="*/ 453 w 1432"/>
                <a:gd name="T87" fmla="*/ 1004 h 1377"/>
                <a:gd name="T88" fmla="*/ 419 w 1432"/>
                <a:gd name="T89" fmla="*/ 984 h 1377"/>
                <a:gd name="T90" fmla="*/ 399 w 1432"/>
                <a:gd name="T91" fmla="*/ 950 h 1377"/>
                <a:gd name="T92" fmla="*/ 399 w 1432"/>
                <a:gd name="T93" fmla="*/ 912 h 1377"/>
                <a:gd name="T94" fmla="*/ 419 w 1432"/>
                <a:gd name="T95" fmla="*/ 877 h 1377"/>
                <a:gd name="T96" fmla="*/ 419 w 1432"/>
                <a:gd name="T97" fmla="*/ 500 h 1377"/>
                <a:gd name="T98" fmla="*/ 399 w 1432"/>
                <a:gd name="T99" fmla="*/ 466 h 1377"/>
                <a:gd name="T100" fmla="*/ 399 w 1432"/>
                <a:gd name="T101" fmla="*/ 427 h 1377"/>
                <a:gd name="T102" fmla="*/ 419 w 1432"/>
                <a:gd name="T103" fmla="*/ 392 h 1377"/>
                <a:gd name="T104" fmla="*/ 453 w 1432"/>
                <a:gd name="T105" fmla="*/ 373 h 1377"/>
                <a:gd name="T106" fmla="*/ 491 w 1432"/>
                <a:gd name="T107" fmla="*/ 373 h 1377"/>
                <a:gd name="T108" fmla="*/ 526 w 1432"/>
                <a:gd name="T109" fmla="*/ 392 h 1377"/>
                <a:gd name="T110" fmla="*/ 906 w 1432"/>
                <a:gd name="T111" fmla="*/ 392 h 1377"/>
                <a:gd name="T112" fmla="*/ 940 w 1432"/>
                <a:gd name="T113" fmla="*/ 373 h 1377"/>
                <a:gd name="T114" fmla="*/ 979 w 1432"/>
                <a:gd name="T115" fmla="*/ 373 h 1377"/>
                <a:gd name="T116" fmla="*/ 1013 w 1432"/>
                <a:gd name="T117" fmla="*/ 392 h 1377"/>
                <a:gd name="T118" fmla="*/ 1033 w 1432"/>
                <a:gd name="T119" fmla="*/ 427 h 1377"/>
                <a:gd name="T120" fmla="*/ 1032 w 1432"/>
                <a:gd name="T121" fmla="*/ 466 h 1377"/>
                <a:gd name="T122" fmla="*/ 1013 w 1432"/>
                <a:gd name="T123" fmla="*/ 500 h 1377"/>
                <a:gd name="T124" fmla="*/ 1013 w 1432"/>
                <a:gd name="T125" fmla="*/ 877 h 1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32" h="1377">
                  <a:moveTo>
                    <a:pt x="716" y="0"/>
                  </a:moveTo>
                  <a:lnTo>
                    <a:pt x="648" y="3"/>
                  </a:lnTo>
                  <a:lnTo>
                    <a:pt x="581" y="12"/>
                  </a:lnTo>
                  <a:lnTo>
                    <a:pt x="515" y="27"/>
                  </a:lnTo>
                  <a:lnTo>
                    <a:pt x="453" y="48"/>
                  </a:lnTo>
                  <a:lnTo>
                    <a:pt x="393" y="73"/>
                  </a:lnTo>
                  <a:lnTo>
                    <a:pt x="337" y="105"/>
                  </a:lnTo>
                  <a:lnTo>
                    <a:pt x="283" y="140"/>
                  </a:lnTo>
                  <a:lnTo>
                    <a:pt x="233" y="180"/>
                  </a:lnTo>
                  <a:lnTo>
                    <a:pt x="188" y="224"/>
                  </a:lnTo>
                  <a:lnTo>
                    <a:pt x="146" y="272"/>
                  </a:lnTo>
                  <a:lnTo>
                    <a:pt x="109" y="323"/>
                  </a:lnTo>
                  <a:lnTo>
                    <a:pt x="77" y="377"/>
                  </a:lnTo>
                  <a:lnTo>
                    <a:pt x="50" y="435"/>
                  </a:lnTo>
                  <a:lnTo>
                    <a:pt x="29" y="495"/>
                  </a:lnTo>
                  <a:lnTo>
                    <a:pt x="13" y="558"/>
                  </a:lnTo>
                  <a:lnTo>
                    <a:pt x="3" y="622"/>
                  </a:lnTo>
                  <a:lnTo>
                    <a:pt x="0" y="688"/>
                  </a:lnTo>
                  <a:lnTo>
                    <a:pt x="3" y="755"/>
                  </a:lnTo>
                  <a:lnTo>
                    <a:pt x="13" y="819"/>
                  </a:lnTo>
                  <a:lnTo>
                    <a:pt x="29" y="881"/>
                  </a:lnTo>
                  <a:lnTo>
                    <a:pt x="50" y="942"/>
                  </a:lnTo>
                  <a:lnTo>
                    <a:pt x="77" y="999"/>
                  </a:lnTo>
                  <a:lnTo>
                    <a:pt x="109" y="1053"/>
                  </a:lnTo>
                  <a:lnTo>
                    <a:pt x="146" y="1105"/>
                  </a:lnTo>
                  <a:lnTo>
                    <a:pt x="188" y="1153"/>
                  </a:lnTo>
                  <a:lnTo>
                    <a:pt x="233" y="1196"/>
                  </a:lnTo>
                  <a:lnTo>
                    <a:pt x="283" y="1236"/>
                  </a:lnTo>
                  <a:lnTo>
                    <a:pt x="337" y="1272"/>
                  </a:lnTo>
                  <a:lnTo>
                    <a:pt x="393" y="1303"/>
                  </a:lnTo>
                  <a:lnTo>
                    <a:pt x="453" y="1329"/>
                  </a:lnTo>
                  <a:lnTo>
                    <a:pt x="515" y="1350"/>
                  </a:lnTo>
                  <a:lnTo>
                    <a:pt x="581" y="1365"/>
                  </a:lnTo>
                  <a:lnTo>
                    <a:pt x="648" y="1374"/>
                  </a:lnTo>
                  <a:lnTo>
                    <a:pt x="716" y="1377"/>
                  </a:lnTo>
                  <a:lnTo>
                    <a:pt x="785" y="1374"/>
                  </a:lnTo>
                  <a:lnTo>
                    <a:pt x="852" y="1365"/>
                  </a:lnTo>
                  <a:lnTo>
                    <a:pt x="917" y="1350"/>
                  </a:lnTo>
                  <a:lnTo>
                    <a:pt x="979" y="1329"/>
                  </a:lnTo>
                  <a:lnTo>
                    <a:pt x="1039" y="1303"/>
                  </a:lnTo>
                  <a:lnTo>
                    <a:pt x="1096" y="1272"/>
                  </a:lnTo>
                  <a:lnTo>
                    <a:pt x="1149" y="1236"/>
                  </a:lnTo>
                  <a:lnTo>
                    <a:pt x="1198" y="1196"/>
                  </a:lnTo>
                  <a:lnTo>
                    <a:pt x="1245" y="1153"/>
                  </a:lnTo>
                  <a:lnTo>
                    <a:pt x="1286" y="1105"/>
                  </a:lnTo>
                  <a:lnTo>
                    <a:pt x="1323" y="1053"/>
                  </a:lnTo>
                  <a:lnTo>
                    <a:pt x="1355" y="999"/>
                  </a:lnTo>
                  <a:lnTo>
                    <a:pt x="1382" y="942"/>
                  </a:lnTo>
                  <a:lnTo>
                    <a:pt x="1404" y="881"/>
                  </a:lnTo>
                  <a:lnTo>
                    <a:pt x="1419" y="819"/>
                  </a:lnTo>
                  <a:lnTo>
                    <a:pt x="1428" y="755"/>
                  </a:lnTo>
                  <a:lnTo>
                    <a:pt x="1432" y="689"/>
                  </a:lnTo>
                  <a:lnTo>
                    <a:pt x="1428" y="622"/>
                  </a:lnTo>
                  <a:lnTo>
                    <a:pt x="1419" y="558"/>
                  </a:lnTo>
                  <a:lnTo>
                    <a:pt x="1404" y="495"/>
                  </a:lnTo>
                  <a:lnTo>
                    <a:pt x="1382" y="436"/>
                  </a:lnTo>
                  <a:lnTo>
                    <a:pt x="1355" y="377"/>
                  </a:lnTo>
                  <a:lnTo>
                    <a:pt x="1323" y="323"/>
                  </a:lnTo>
                  <a:lnTo>
                    <a:pt x="1286" y="272"/>
                  </a:lnTo>
                  <a:lnTo>
                    <a:pt x="1245" y="224"/>
                  </a:lnTo>
                  <a:lnTo>
                    <a:pt x="1198" y="180"/>
                  </a:lnTo>
                  <a:lnTo>
                    <a:pt x="1149" y="140"/>
                  </a:lnTo>
                  <a:lnTo>
                    <a:pt x="1096" y="105"/>
                  </a:lnTo>
                  <a:lnTo>
                    <a:pt x="1039" y="73"/>
                  </a:lnTo>
                  <a:lnTo>
                    <a:pt x="979" y="48"/>
                  </a:lnTo>
                  <a:lnTo>
                    <a:pt x="917" y="27"/>
                  </a:lnTo>
                  <a:lnTo>
                    <a:pt x="852" y="12"/>
                  </a:lnTo>
                  <a:lnTo>
                    <a:pt x="785" y="3"/>
                  </a:lnTo>
                  <a:lnTo>
                    <a:pt x="716" y="0"/>
                  </a:lnTo>
                  <a:close/>
                  <a:moveTo>
                    <a:pt x="1013" y="877"/>
                  </a:moveTo>
                  <a:lnTo>
                    <a:pt x="1026" y="893"/>
                  </a:lnTo>
                  <a:lnTo>
                    <a:pt x="1033" y="912"/>
                  </a:lnTo>
                  <a:lnTo>
                    <a:pt x="1035" y="930"/>
                  </a:lnTo>
                  <a:lnTo>
                    <a:pt x="1033" y="950"/>
                  </a:lnTo>
                  <a:lnTo>
                    <a:pt x="1026" y="968"/>
                  </a:lnTo>
                  <a:lnTo>
                    <a:pt x="1014" y="984"/>
                  </a:lnTo>
                  <a:lnTo>
                    <a:pt x="998" y="996"/>
                  </a:lnTo>
                  <a:lnTo>
                    <a:pt x="979" y="1004"/>
                  </a:lnTo>
                  <a:lnTo>
                    <a:pt x="960" y="1007"/>
                  </a:lnTo>
                  <a:lnTo>
                    <a:pt x="940" y="1004"/>
                  </a:lnTo>
                  <a:lnTo>
                    <a:pt x="922" y="997"/>
                  </a:lnTo>
                  <a:lnTo>
                    <a:pt x="906" y="984"/>
                  </a:lnTo>
                  <a:lnTo>
                    <a:pt x="716" y="795"/>
                  </a:lnTo>
                  <a:lnTo>
                    <a:pt x="526" y="984"/>
                  </a:lnTo>
                  <a:lnTo>
                    <a:pt x="509" y="997"/>
                  </a:lnTo>
                  <a:lnTo>
                    <a:pt x="492" y="1004"/>
                  </a:lnTo>
                  <a:lnTo>
                    <a:pt x="473" y="1007"/>
                  </a:lnTo>
                  <a:lnTo>
                    <a:pt x="453" y="1004"/>
                  </a:lnTo>
                  <a:lnTo>
                    <a:pt x="435" y="996"/>
                  </a:lnTo>
                  <a:lnTo>
                    <a:pt x="419" y="984"/>
                  </a:lnTo>
                  <a:lnTo>
                    <a:pt x="407" y="968"/>
                  </a:lnTo>
                  <a:lnTo>
                    <a:pt x="399" y="950"/>
                  </a:lnTo>
                  <a:lnTo>
                    <a:pt x="397" y="930"/>
                  </a:lnTo>
                  <a:lnTo>
                    <a:pt x="399" y="912"/>
                  </a:lnTo>
                  <a:lnTo>
                    <a:pt x="407" y="893"/>
                  </a:lnTo>
                  <a:lnTo>
                    <a:pt x="419" y="877"/>
                  </a:lnTo>
                  <a:lnTo>
                    <a:pt x="609" y="689"/>
                  </a:lnTo>
                  <a:lnTo>
                    <a:pt x="419" y="500"/>
                  </a:lnTo>
                  <a:lnTo>
                    <a:pt x="407" y="483"/>
                  </a:lnTo>
                  <a:lnTo>
                    <a:pt x="399" y="466"/>
                  </a:lnTo>
                  <a:lnTo>
                    <a:pt x="397" y="447"/>
                  </a:lnTo>
                  <a:lnTo>
                    <a:pt x="399" y="427"/>
                  </a:lnTo>
                  <a:lnTo>
                    <a:pt x="407" y="409"/>
                  </a:lnTo>
                  <a:lnTo>
                    <a:pt x="419" y="392"/>
                  </a:lnTo>
                  <a:lnTo>
                    <a:pt x="435" y="381"/>
                  </a:lnTo>
                  <a:lnTo>
                    <a:pt x="453" y="373"/>
                  </a:lnTo>
                  <a:lnTo>
                    <a:pt x="473" y="371"/>
                  </a:lnTo>
                  <a:lnTo>
                    <a:pt x="491" y="373"/>
                  </a:lnTo>
                  <a:lnTo>
                    <a:pt x="509" y="381"/>
                  </a:lnTo>
                  <a:lnTo>
                    <a:pt x="526" y="392"/>
                  </a:lnTo>
                  <a:lnTo>
                    <a:pt x="716" y="582"/>
                  </a:lnTo>
                  <a:lnTo>
                    <a:pt x="906" y="392"/>
                  </a:lnTo>
                  <a:lnTo>
                    <a:pt x="922" y="381"/>
                  </a:lnTo>
                  <a:lnTo>
                    <a:pt x="940" y="373"/>
                  </a:lnTo>
                  <a:lnTo>
                    <a:pt x="960" y="371"/>
                  </a:lnTo>
                  <a:lnTo>
                    <a:pt x="979" y="373"/>
                  </a:lnTo>
                  <a:lnTo>
                    <a:pt x="996" y="381"/>
                  </a:lnTo>
                  <a:lnTo>
                    <a:pt x="1013" y="392"/>
                  </a:lnTo>
                  <a:lnTo>
                    <a:pt x="1026" y="409"/>
                  </a:lnTo>
                  <a:lnTo>
                    <a:pt x="1033" y="427"/>
                  </a:lnTo>
                  <a:lnTo>
                    <a:pt x="1035" y="447"/>
                  </a:lnTo>
                  <a:lnTo>
                    <a:pt x="1032" y="466"/>
                  </a:lnTo>
                  <a:lnTo>
                    <a:pt x="1026" y="483"/>
                  </a:lnTo>
                  <a:lnTo>
                    <a:pt x="1013" y="500"/>
                  </a:lnTo>
                  <a:lnTo>
                    <a:pt x="824" y="689"/>
                  </a:lnTo>
                  <a:lnTo>
                    <a:pt x="1013" y="87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7"/>
            <p:cNvSpPr>
              <a:spLocks noEditPoints="1"/>
            </p:cNvSpPr>
            <p:nvPr/>
          </p:nvSpPr>
          <p:spPr bwMode="auto">
            <a:xfrm>
              <a:off x="592" y="2862"/>
              <a:ext cx="225" cy="291"/>
            </a:xfrm>
            <a:custGeom>
              <a:avLst/>
              <a:gdLst>
                <a:gd name="T0" fmla="*/ 1987 w 2473"/>
                <a:gd name="T1" fmla="*/ 2735 h 3197"/>
                <a:gd name="T2" fmla="*/ 2048 w 2473"/>
                <a:gd name="T3" fmla="*/ 2538 h 3197"/>
                <a:gd name="T4" fmla="*/ 2154 w 2473"/>
                <a:gd name="T5" fmla="*/ 2366 h 3197"/>
                <a:gd name="T6" fmla="*/ 2297 w 2473"/>
                <a:gd name="T7" fmla="*/ 2222 h 3197"/>
                <a:gd name="T8" fmla="*/ 2473 w 2473"/>
                <a:gd name="T9" fmla="*/ 2116 h 3197"/>
                <a:gd name="T10" fmla="*/ 2464 w 2473"/>
                <a:gd name="T11" fmla="*/ 2 h 3197"/>
                <a:gd name="T12" fmla="*/ 9 w 2473"/>
                <a:gd name="T13" fmla="*/ 2 h 3197"/>
                <a:gd name="T14" fmla="*/ 0 w 2473"/>
                <a:gd name="T15" fmla="*/ 3179 h 3197"/>
                <a:gd name="T16" fmla="*/ 19 w 2473"/>
                <a:gd name="T17" fmla="*/ 3197 h 3197"/>
                <a:gd name="T18" fmla="*/ 1999 w 2473"/>
                <a:gd name="T19" fmla="*/ 3074 h 3197"/>
                <a:gd name="T20" fmla="*/ 1974 w 2473"/>
                <a:gd name="T21" fmla="*/ 2876 h 3197"/>
                <a:gd name="T22" fmla="*/ 1933 w 2473"/>
                <a:gd name="T23" fmla="*/ 526 h 3197"/>
                <a:gd name="T24" fmla="*/ 1979 w 2473"/>
                <a:gd name="T25" fmla="*/ 562 h 3197"/>
                <a:gd name="T26" fmla="*/ 1986 w 2473"/>
                <a:gd name="T27" fmla="*/ 620 h 3197"/>
                <a:gd name="T28" fmla="*/ 1951 w 2473"/>
                <a:gd name="T29" fmla="*/ 665 h 3197"/>
                <a:gd name="T30" fmla="*/ 560 w 2473"/>
                <a:gd name="T31" fmla="*/ 675 h 3197"/>
                <a:gd name="T32" fmla="*/ 507 w 2473"/>
                <a:gd name="T33" fmla="*/ 654 h 3197"/>
                <a:gd name="T34" fmla="*/ 484 w 2473"/>
                <a:gd name="T35" fmla="*/ 599 h 3197"/>
                <a:gd name="T36" fmla="*/ 507 w 2473"/>
                <a:gd name="T37" fmla="*/ 546 h 3197"/>
                <a:gd name="T38" fmla="*/ 560 w 2473"/>
                <a:gd name="T39" fmla="*/ 524 h 3197"/>
                <a:gd name="T40" fmla="*/ 1933 w 2473"/>
                <a:gd name="T41" fmla="*/ 1026 h 3197"/>
                <a:gd name="T42" fmla="*/ 1979 w 2473"/>
                <a:gd name="T43" fmla="*/ 1060 h 3197"/>
                <a:gd name="T44" fmla="*/ 1986 w 2473"/>
                <a:gd name="T45" fmla="*/ 1119 h 3197"/>
                <a:gd name="T46" fmla="*/ 1951 w 2473"/>
                <a:gd name="T47" fmla="*/ 1164 h 3197"/>
                <a:gd name="T48" fmla="*/ 560 w 2473"/>
                <a:gd name="T49" fmla="*/ 1175 h 3197"/>
                <a:gd name="T50" fmla="*/ 507 w 2473"/>
                <a:gd name="T51" fmla="*/ 1152 h 3197"/>
                <a:gd name="T52" fmla="*/ 484 w 2473"/>
                <a:gd name="T53" fmla="*/ 1099 h 3197"/>
                <a:gd name="T54" fmla="*/ 507 w 2473"/>
                <a:gd name="T55" fmla="*/ 1045 h 3197"/>
                <a:gd name="T56" fmla="*/ 560 w 2473"/>
                <a:gd name="T57" fmla="*/ 1024 h 3197"/>
                <a:gd name="T58" fmla="*/ 1933 w 2473"/>
                <a:gd name="T59" fmla="*/ 1526 h 3197"/>
                <a:gd name="T60" fmla="*/ 1979 w 2473"/>
                <a:gd name="T61" fmla="*/ 1560 h 3197"/>
                <a:gd name="T62" fmla="*/ 1986 w 2473"/>
                <a:gd name="T63" fmla="*/ 1619 h 3197"/>
                <a:gd name="T64" fmla="*/ 1951 w 2473"/>
                <a:gd name="T65" fmla="*/ 1664 h 3197"/>
                <a:gd name="T66" fmla="*/ 560 w 2473"/>
                <a:gd name="T67" fmla="*/ 1675 h 3197"/>
                <a:gd name="T68" fmla="*/ 507 w 2473"/>
                <a:gd name="T69" fmla="*/ 1652 h 3197"/>
                <a:gd name="T70" fmla="*/ 484 w 2473"/>
                <a:gd name="T71" fmla="*/ 1598 h 3197"/>
                <a:gd name="T72" fmla="*/ 507 w 2473"/>
                <a:gd name="T73" fmla="*/ 1545 h 3197"/>
                <a:gd name="T74" fmla="*/ 560 w 2473"/>
                <a:gd name="T75" fmla="*/ 1522 h 3197"/>
                <a:gd name="T76" fmla="*/ 1933 w 2473"/>
                <a:gd name="T77" fmla="*/ 2025 h 3197"/>
                <a:gd name="T78" fmla="*/ 1979 w 2473"/>
                <a:gd name="T79" fmla="*/ 2060 h 3197"/>
                <a:gd name="T80" fmla="*/ 1986 w 2473"/>
                <a:gd name="T81" fmla="*/ 2118 h 3197"/>
                <a:gd name="T82" fmla="*/ 1951 w 2473"/>
                <a:gd name="T83" fmla="*/ 2164 h 3197"/>
                <a:gd name="T84" fmla="*/ 560 w 2473"/>
                <a:gd name="T85" fmla="*/ 2174 h 3197"/>
                <a:gd name="T86" fmla="*/ 507 w 2473"/>
                <a:gd name="T87" fmla="*/ 2152 h 3197"/>
                <a:gd name="T88" fmla="*/ 484 w 2473"/>
                <a:gd name="T89" fmla="*/ 2098 h 3197"/>
                <a:gd name="T90" fmla="*/ 507 w 2473"/>
                <a:gd name="T91" fmla="*/ 2045 h 3197"/>
                <a:gd name="T92" fmla="*/ 560 w 2473"/>
                <a:gd name="T93" fmla="*/ 2022 h 3197"/>
                <a:gd name="T94" fmla="*/ 540 w 2473"/>
                <a:gd name="T95" fmla="*/ 2670 h 3197"/>
                <a:gd name="T96" fmla="*/ 495 w 2473"/>
                <a:gd name="T97" fmla="*/ 2636 h 3197"/>
                <a:gd name="T98" fmla="*/ 487 w 2473"/>
                <a:gd name="T99" fmla="*/ 2577 h 3197"/>
                <a:gd name="T100" fmla="*/ 522 w 2473"/>
                <a:gd name="T101" fmla="*/ 2532 h 3197"/>
                <a:gd name="T102" fmla="*/ 1913 w 2473"/>
                <a:gd name="T103" fmla="*/ 2522 h 3197"/>
                <a:gd name="T104" fmla="*/ 1967 w 2473"/>
                <a:gd name="T105" fmla="*/ 2544 h 3197"/>
                <a:gd name="T106" fmla="*/ 1988 w 2473"/>
                <a:gd name="T107" fmla="*/ 2598 h 3197"/>
                <a:gd name="T108" fmla="*/ 1967 w 2473"/>
                <a:gd name="T109" fmla="*/ 2651 h 3197"/>
                <a:gd name="T110" fmla="*/ 1913 w 2473"/>
                <a:gd name="T111" fmla="*/ 2674 h 3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73" h="3197">
                  <a:moveTo>
                    <a:pt x="1974" y="2876"/>
                  </a:moveTo>
                  <a:lnTo>
                    <a:pt x="1978" y="2804"/>
                  </a:lnTo>
                  <a:lnTo>
                    <a:pt x="1987" y="2735"/>
                  </a:lnTo>
                  <a:lnTo>
                    <a:pt x="2001" y="2667"/>
                  </a:lnTo>
                  <a:lnTo>
                    <a:pt x="2022" y="2602"/>
                  </a:lnTo>
                  <a:lnTo>
                    <a:pt x="2048" y="2538"/>
                  </a:lnTo>
                  <a:lnTo>
                    <a:pt x="2078" y="2478"/>
                  </a:lnTo>
                  <a:lnTo>
                    <a:pt x="2114" y="2420"/>
                  </a:lnTo>
                  <a:lnTo>
                    <a:pt x="2154" y="2366"/>
                  </a:lnTo>
                  <a:lnTo>
                    <a:pt x="2198" y="2314"/>
                  </a:lnTo>
                  <a:lnTo>
                    <a:pt x="2245" y="2267"/>
                  </a:lnTo>
                  <a:lnTo>
                    <a:pt x="2297" y="2222"/>
                  </a:lnTo>
                  <a:lnTo>
                    <a:pt x="2352" y="2182"/>
                  </a:lnTo>
                  <a:lnTo>
                    <a:pt x="2412" y="2147"/>
                  </a:lnTo>
                  <a:lnTo>
                    <a:pt x="2473" y="2116"/>
                  </a:lnTo>
                  <a:lnTo>
                    <a:pt x="2473" y="18"/>
                  </a:lnTo>
                  <a:lnTo>
                    <a:pt x="2470" y="9"/>
                  </a:lnTo>
                  <a:lnTo>
                    <a:pt x="2464" y="2"/>
                  </a:lnTo>
                  <a:lnTo>
                    <a:pt x="2454" y="0"/>
                  </a:lnTo>
                  <a:lnTo>
                    <a:pt x="19" y="0"/>
                  </a:lnTo>
                  <a:lnTo>
                    <a:pt x="9" y="2"/>
                  </a:lnTo>
                  <a:lnTo>
                    <a:pt x="2" y="9"/>
                  </a:lnTo>
                  <a:lnTo>
                    <a:pt x="0" y="18"/>
                  </a:lnTo>
                  <a:lnTo>
                    <a:pt x="0" y="3179"/>
                  </a:lnTo>
                  <a:lnTo>
                    <a:pt x="2" y="3189"/>
                  </a:lnTo>
                  <a:lnTo>
                    <a:pt x="9" y="3195"/>
                  </a:lnTo>
                  <a:lnTo>
                    <a:pt x="19" y="3197"/>
                  </a:lnTo>
                  <a:lnTo>
                    <a:pt x="2041" y="3197"/>
                  </a:lnTo>
                  <a:lnTo>
                    <a:pt x="2018" y="3137"/>
                  </a:lnTo>
                  <a:lnTo>
                    <a:pt x="1999" y="3074"/>
                  </a:lnTo>
                  <a:lnTo>
                    <a:pt x="1986" y="3010"/>
                  </a:lnTo>
                  <a:lnTo>
                    <a:pt x="1978" y="2943"/>
                  </a:lnTo>
                  <a:lnTo>
                    <a:pt x="1974" y="2876"/>
                  </a:lnTo>
                  <a:close/>
                  <a:moveTo>
                    <a:pt x="560" y="524"/>
                  </a:moveTo>
                  <a:lnTo>
                    <a:pt x="1913" y="524"/>
                  </a:lnTo>
                  <a:lnTo>
                    <a:pt x="1933" y="526"/>
                  </a:lnTo>
                  <a:lnTo>
                    <a:pt x="1951" y="534"/>
                  </a:lnTo>
                  <a:lnTo>
                    <a:pt x="1967" y="545"/>
                  </a:lnTo>
                  <a:lnTo>
                    <a:pt x="1979" y="562"/>
                  </a:lnTo>
                  <a:lnTo>
                    <a:pt x="1986" y="579"/>
                  </a:lnTo>
                  <a:lnTo>
                    <a:pt x="1988" y="599"/>
                  </a:lnTo>
                  <a:lnTo>
                    <a:pt x="1986" y="620"/>
                  </a:lnTo>
                  <a:lnTo>
                    <a:pt x="1979" y="637"/>
                  </a:lnTo>
                  <a:lnTo>
                    <a:pt x="1967" y="654"/>
                  </a:lnTo>
                  <a:lnTo>
                    <a:pt x="1951" y="665"/>
                  </a:lnTo>
                  <a:lnTo>
                    <a:pt x="1933" y="673"/>
                  </a:lnTo>
                  <a:lnTo>
                    <a:pt x="1913" y="675"/>
                  </a:lnTo>
                  <a:lnTo>
                    <a:pt x="560" y="675"/>
                  </a:lnTo>
                  <a:lnTo>
                    <a:pt x="540" y="673"/>
                  </a:lnTo>
                  <a:lnTo>
                    <a:pt x="522" y="665"/>
                  </a:lnTo>
                  <a:lnTo>
                    <a:pt x="507" y="654"/>
                  </a:lnTo>
                  <a:lnTo>
                    <a:pt x="495" y="637"/>
                  </a:lnTo>
                  <a:lnTo>
                    <a:pt x="487" y="620"/>
                  </a:lnTo>
                  <a:lnTo>
                    <a:pt x="484" y="599"/>
                  </a:lnTo>
                  <a:lnTo>
                    <a:pt x="487" y="579"/>
                  </a:lnTo>
                  <a:lnTo>
                    <a:pt x="495" y="562"/>
                  </a:lnTo>
                  <a:lnTo>
                    <a:pt x="507" y="546"/>
                  </a:lnTo>
                  <a:lnTo>
                    <a:pt x="522" y="534"/>
                  </a:lnTo>
                  <a:lnTo>
                    <a:pt x="540" y="527"/>
                  </a:lnTo>
                  <a:lnTo>
                    <a:pt x="560" y="524"/>
                  </a:lnTo>
                  <a:close/>
                  <a:moveTo>
                    <a:pt x="560" y="1024"/>
                  </a:moveTo>
                  <a:lnTo>
                    <a:pt x="1913" y="1024"/>
                  </a:lnTo>
                  <a:lnTo>
                    <a:pt x="1933" y="1026"/>
                  </a:lnTo>
                  <a:lnTo>
                    <a:pt x="1951" y="1033"/>
                  </a:lnTo>
                  <a:lnTo>
                    <a:pt x="1967" y="1045"/>
                  </a:lnTo>
                  <a:lnTo>
                    <a:pt x="1979" y="1060"/>
                  </a:lnTo>
                  <a:lnTo>
                    <a:pt x="1986" y="1079"/>
                  </a:lnTo>
                  <a:lnTo>
                    <a:pt x="1988" y="1099"/>
                  </a:lnTo>
                  <a:lnTo>
                    <a:pt x="1986" y="1119"/>
                  </a:lnTo>
                  <a:lnTo>
                    <a:pt x="1979" y="1137"/>
                  </a:lnTo>
                  <a:lnTo>
                    <a:pt x="1967" y="1152"/>
                  </a:lnTo>
                  <a:lnTo>
                    <a:pt x="1951" y="1164"/>
                  </a:lnTo>
                  <a:lnTo>
                    <a:pt x="1933" y="1172"/>
                  </a:lnTo>
                  <a:lnTo>
                    <a:pt x="1913" y="1175"/>
                  </a:lnTo>
                  <a:lnTo>
                    <a:pt x="560" y="1175"/>
                  </a:lnTo>
                  <a:lnTo>
                    <a:pt x="540" y="1172"/>
                  </a:lnTo>
                  <a:lnTo>
                    <a:pt x="522" y="1164"/>
                  </a:lnTo>
                  <a:lnTo>
                    <a:pt x="507" y="1152"/>
                  </a:lnTo>
                  <a:lnTo>
                    <a:pt x="495" y="1137"/>
                  </a:lnTo>
                  <a:lnTo>
                    <a:pt x="487" y="1119"/>
                  </a:lnTo>
                  <a:lnTo>
                    <a:pt x="484" y="1099"/>
                  </a:lnTo>
                  <a:lnTo>
                    <a:pt x="487" y="1079"/>
                  </a:lnTo>
                  <a:lnTo>
                    <a:pt x="495" y="1060"/>
                  </a:lnTo>
                  <a:lnTo>
                    <a:pt x="507" y="1045"/>
                  </a:lnTo>
                  <a:lnTo>
                    <a:pt x="522" y="1033"/>
                  </a:lnTo>
                  <a:lnTo>
                    <a:pt x="540" y="1026"/>
                  </a:lnTo>
                  <a:lnTo>
                    <a:pt x="560" y="1024"/>
                  </a:lnTo>
                  <a:close/>
                  <a:moveTo>
                    <a:pt x="560" y="1522"/>
                  </a:moveTo>
                  <a:lnTo>
                    <a:pt x="1913" y="1522"/>
                  </a:lnTo>
                  <a:lnTo>
                    <a:pt x="1933" y="1526"/>
                  </a:lnTo>
                  <a:lnTo>
                    <a:pt x="1951" y="1533"/>
                  </a:lnTo>
                  <a:lnTo>
                    <a:pt x="1967" y="1545"/>
                  </a:lnTo>
                  <a:lnTo>
                    <a:pt x="1979" y="1560"/>
                  </a:lnTo>
                  <a:lnTo>
                    <a:pt x="1986" y="1579"/>
                  </a:lnTo>
                  <a:lnTo>
                    <a:pt x="1988" y="1598"/>
                  </a:lnTo>
                  <a:lnTo>
                    <a:pt x="1986" y="1619"/>
                  </a:lnTo>
                  <a:lnTo>
                    <a:pt x="1979" y="1637"/>
                  </a:lnTo>
                  <a:lnTo>
                    <a:pt x="1967" y="1652"/>
                  </a:lnTo>
                  <a:lnTo>
                    <a:pt x="1951" y="1664"/>
                  </a:lnTo>
                  <a:lnTo>
                    <a:pt x="1933" y="1672"/>
                  </a:lnTo>
                  <a:lnTo>
                    <a:pt x="1913" y="1675"/>
                  </a:lnTo>
                  <a:lnTo>
                    <a:pt x="560" y="1675"/>
                  </a:lnTo>
                  <a:lnTo>
                    <a:pt x="540" y="1672"/>
                  </a:lnTo>
                  <a:lnTo>
                    <a:pt x="522" y="1664"/>
                  </a:lnTo>
                  <a:lnTo>
                    <a:pt x="507" y="1652"/>
                  </a:lnTo>
                  <a:lnTo>
                    <a:pt x="495" y="1637"/>
                  </a:lnTo>
                  <a:lnTo>
                    <a:pt x="487" y="1619"/>
                  </a:lnTo>
                  <a:lnTo>
                    <a:pt x="484" y="1598"/>
                  </a:lnTo>
                  <a:lnTo>
                    <a:pt x="487" y="1579"/>
                  </a:lnTo>
                  <a:lnTo>
                    <a:pt x="495" y="1560"/>
                  </a:lnTo>
                  <a:lnTo>
                    <a:pt x="507" y="1545"/>
                  </a:lnTo>
                  <a:lnTo>
                    <a:pt x="522" y="1533"/>
                  </a:lnTo>
                  <a:lnTo>
                    <a:pt x="540" y="1526"/>
                  </a:lnTo>
                  <a:lnTo>
                    <a:pt x="560" y="1522"/>
                  </a:lnTo>
                  <a:close/>
                  <a:moveTo>
                    <a:pt x="560" y="2022"/>
                  </a:moveTo>
                  <a:lnTo>
                    <a:pt x="1913" y="2022"/>
                  </a:lnTo>
                  <a:lnTo>
                    <a:pt x="1933" y="2025"/>
                  </a:lnTo>
                  <a:lnTo>
                    <a:pt x="1951" y="2033"/>
                  </a:lnTo>
                  <a:lnTo>
                    <a:pt x="1967" y="2045"/>
                  </a:lnTo>
                  <a:lnTo>
                    <a:pt x="1979" y="2060"/>
                  </a:lnTo>
                  <a:lnTo>
                    <a:pt x="1986" y="2077"/>
                  </a:lnTo>
                  <a:lnTo>
                    <a:pt x="1988" y="2098"/>
                  </a:lnTo>
                  <a:lnTo>
                    <a:pt x="1986" y="2118"/>
                  </a:lnTo>
                  <a:lnTo>
                    <a:pt x="1979" y="2136"/>
                  </a:lnTo>
                  <a:lnTo>
                    <a:pt x="1967" y="2152"/>
                  </a:lnTo>
                  <a:lnTo>
                    <a:pt x="1951" y="2164"/>
                  </a:lnTo>
                  <a:lnTo>
                    <a:pt x="1933" y="2172"/>
                  </a:lnTo>
                  <a:lnTo>
                    <a:pt x="1913" y="2174"/>
                  </a:lnTo>
                  <a:lnTo>
                    <a:pt x="560" y="2174"/>
                  </a:lnTo>
                  <a:lnTo>
                    <a:pt x="540" y="2172"/>
                  </a:lnTo>
                  <a:lnTo>
                    <a:pt x="522" y="2164"/>
                  </a:lnTo>
                  <a:lnTo>
                    <a:pt x="507" y="2152"/>
                  </a:lnTo>
                  <a:lnTo>
                    <a:pt x="495" y="2136"/>
                  </a:lnTo>
                  <a:lnTo>
                    <a:pt x="487" y="2118"/>
                  </a:lnTo>
                  <a:lnTo>
                    <a:pt x="484" y="2098"/>
                  </a:lnTo>
                  <a:lnTo>
                    <a:pt x="487" y="2077"/>
                  </a:lnTo>
                  <a:lnTo>
                    <a:pt x="495" y="2060"/>
                  </a:lnTo>
                  <a:lnTo>
                    <a:pt x="507" y="2045"/>
                  </a:lnTo>
                  <a:lnTo>
                    <a:pt x="522" y="2033"/>
                  </a:lnTo>
                  <a:lnTo>
                    <a:pt x="540" y="2025"/>
                  </a:lnTo>
                  <a:lnTo>
                    <a:pt x="560" y="2022"/>
                  </a:lnTo>
                  <a:close/>
                  <a:moveTo>
                    <a:pt x="1913" y="2674"/>
                  </a:moveTo>
                  <a:lnTo>
                    <a:pt x="560" y="2674"/>
                  </a:lnTo>
                  <a:lnTo>
                    <a:pt x="540" y="2670"/>
                  </a:lnTo>
                  <a:lnTo>
                    <a:pt x="522" y="2663"/>
                  </a:lnTo>
                  <a:lnTo>
                    <a:pt x="507" y="2651"/>
                  </a:lnTo>
                  <a:lnTo>
                    <a:pt x="495" y="2636"/>
                  </a:lnTo>
                  <a:lnTo>
                    <a:pt x="487" y="2618"/>
                  </a:lnTo>
                  <a:lnTo>
                    <a:pt x="484" y="2598"/>
                  </a:lnTo>
                  <a:lnTo>
                    <a:pt x="487" y="2577"/>
                  </a:lnTo>
                  <a:lnTo>
                    <a:pt x="495" y="2560"/>
                  </a:lnTo>
                  <a:lnTo>
                    <a:pt x="507" y="2544"/>
                  </a:lnTo>
                  <a:lnTo>
                    <a:pt x="522" y="2532"/>
                  </a:lnTo>
                  <a:lnTo>
                    <a:pt x="540" y="2524"/>
                  </a:lnTo>
                  <a:lnTo>
                    <a:pt x="560" y="2522"/>
                  </a:lnTo>
                  <a:lnTo>
                    <a:pt x="1913" y="2522"/>
                  </a:lnTo>
                  <a:lnTo>
                    <a:pt x="1933" y="2524"/>
                  </a:lnTo>
                  <a:lnTo>
                    <a:pt x="1951" y="2532"/>
                  </a:lnTo>
                  <a:lnTo>
                    <a:pt x="1967" y="2544"/>
                  </a:lnTo>
                  <a:lnTo>
                    <a:pt x="1979" y="2560"/>
                  </a:lnTo>
                  <a:lnTo>
                    <a:pt x="1986" y="2577"/>
                  </a:lnTo>
                  <a:lnTo>
                    <a:pt x="1988" y="2598"/>
                  </a:lnTo>
                  <a:lnTo>
                    <a:pt x="1986" y="2618"/>
                  </a:lnTo>
                  <a:lnTo>
                    <a:pt x="1979" y="2636"/>
                  </a:lnTo>
                  <a:lnTo>
                    <a:pt x="1967" y="2651"/>
                  </a:lnTo>
                  <a:lnTo>
                    <a:pt x="1951" y="2663"/>
                  </a:lnTo>
                  <a:lnTo>
                    <a:pt x="1933" y="2670"/>
                  </a:lnTo>
                  <a:lnTo>
                    <a:pt x="1913" y="267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2" name="Group 4"/>
          <p:cNvGrpSpPr>
            <a:grpSpLocks noChangeAspect="1"/>
          </p:cNvGrpSpPr>
          <p:nvPr/>
        </p:nvGrpSpPr>
        <p:grpSpPr bwMode="auto">
          <a:xfrm>
            <a:off x="777976" y="3194530"/>
            <a:ext cx="427383" cy="393671"/>
            <a:chOff x="-413" y="1979"/>
            <a:chExt cx="393" cy="362"/>
          </a:xfrm>
          <a:solidFill>
            <a:schemeClr val="bg1"/>
          </a:solidFill>
        </p:grpSpPr>
        <p:sp>
          <p:nvSpPr>
            <p:cNvPr id="123" name="Rectangle 6"/>
            <p:cNvSpPr>
              <a:spLocks noChangeArrowheads="1"/>
            </p:cNvSpPr>
            <p:nvPr/>
          </p:nvSpPr>
          <p:spPr bwMode="auto">
            <a:xfrm>
              <a:off x="-389" y="2104"/>
              <a:ext cx="17" cy="4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Rectangle 7"/>
            <p:cNvSpPr>
              <a:spLocks noChangeArrowheads="1"/>
            </p:cNvSpPr>
            <p:nvPr/>
          </p:nvSpPr>
          <p:spPr bwMode="auto">
            <a:xfrm>
              <a:off x="-389" y="2176"/>
              <a:ext cx="17" cy="4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8"/>
            <p:cNvSpPr>
              <a:spLocks/>
            </p:cNvSpPr>
            <p:nvPr/>
          </p:nvSpPr>
          <p:spPr bwMode="auto">
            <a:xfrm>
              <a:off x="-389" y="1979"/>
              <a:ext cx="305" cy="153"/>
            </a:xfrm>
            <a:custGeom>
              <a:avLst/>
              <a:gdLst>
                <a:gd name="T0" fmla="*/ 2746 w 2746"/>
                <a:gd name="T1" fmla="*/ 942 h 1381"/>
                <a:gd name="T2" fmla="*/ 2746 w 2746"/>
                <a:gd name="T3" fmla="*/ 1225 h 1381"/>
                <a:gd name="T4" fmla="*/ 2589 w 2746"/>
                <a:gd name="T5" fmla="*/ 1381 h 1381"/>
                <a:gd name="T6" fmla="*/ 2589 w 2746"/>
                <a:gd name="T7" fmla="*/ 287 h 1381"/>
                <a:gd name="T8" fmla="*/ 2586 w 2746"/>
                <a:gd name="T9" fmla="*/ 260 h 1381"/>
                <a:gd name="T10" fmla="*/ 2579 w 2746"/>
                <a:gd name="T11" fmla="*/ 236 h 1381"/>
                <a:gd name="T12" fmla="*/ 2567 w 2746"/>
                <a:gd name="T13" fmla="*/ 214 h 1381"/>
                <a:gd name="T14" fmla="*/ 2551 w 2746"/>
                <a:gd name="T15" fmla="*/ 195 h 1381"/>
                <a:gd name="T16" fmla="*/ 2531 w 2746"/>
                <a:gd name="T17" fmla="*/ 179 h 1381"/>
                <a:gd name="T18" fmla="*/ 2509 w 2746"/>
                <a:gd name="T19" fmla="*/ 166 h 1381"/>
                <a:gd name="T20" fmla="*/ 2484 w 2746"/>
                <a:gd name="T21" fmla="*/ 159 h 1381"/>
                <a:gd name="T22" fmla="*/ 2458 w 2746"/>
                <a:gd name="T23" fmla="*/ 156 h 1381"/>
                <a:gd name="T24" fmla="*/ 287 w 2746"/>
                <a:gd name="T25" fmla="*/ 156 h 1381"/>
                <a:gd name="T26" fmla="*/ 261 w 2746"/>
                <a:gd name="T27" fmla="*/ 159 h 1381"/>
                <a:gd name="T28" fmla="*/ 236 w 2746"/>
                <a:gd name="T29" fmla="*/ 166 h 1381"/>
                <a:gd name="T30" fmla="*/ 214 w 2746"/>
                <a:gd name="T31" fmla="*/ 179 h 1381"/>
                <a:gd name="T32" fmla="*/ 194 w 2746"/>
                <a:gd name="T33" fmla="*/ 195 h 1381"/>
                <a:gd name="T34" fmla="*/ 178 w 2746"/>
                <a:gd name="T35" fmla="*/ 214 h 1381"/>
                <a:gd name="T36" fmla="*/ 166 w 2746"/>
                <a:gd name="T37" fmla="*/ 236 h 1381"/>
                <a:gd name="T38" fmla="*/ 159 w 2746"/>
                <a:gd name="T39" fmla="*/ 260 h 1381"/>
                <a:gd name="T40" fmla="*/ 156 w 2746"/>
                <a:gd name="T41" fmla="*/ 287 h 1381"/>
                <a:gd name="T42" fmla="*/ 156 w 2746"/>
                <a:gd name="T43" fmla="*/ 832 h 1381"/>
                <a:gd name="T44" fmla="*/ 0 w 2746"/>
                <a:gd name="T45" fmla="*/ 832 h 1381"/>
                <a:gd name="T46" fmla="*/ 0 w 2746"/>
                <a:gd name="T47" fmla="*/ 287 h 1381"/>
                <a:gd name="T48" fmla="*/ 3 w 2746"/>
                <a:gd name="T49" fmla="*/ 244 h 1381"/>
                <a:gd name="T50" fmla="*/ 12 w 2746"/>
                <a:gd name="T51" fmla="*/ 205 h 1381"/>
                <a:gd name="T52" fmla="*/ 27 w 2746"/>
                <a:gd name="T53" fmla="*/ 166 h 1381"/>
                <a:gd name="T54" fmla="*/ 46 w 2746"/>
                <a:gd name="T55" fmla="*/ 131 h 1381"/>
                <a:gd name="T56" fmla="*/ 70 w 2746"/>
                <a:gd name="T57" fmla="*/ 99 h 1381"/>
                <a:gd name="T58" fmla="*/ 99 w 2746"/>
                <a:gd name="T59" fmla="*/ 71 h 1381"/>
                <a:gd name="T60" fmla="*/ 131 w 2746"/>
                <a:gd name="T61" fmla="*/ 46 h 1381"/>
                <a:gd name="T62" fmla="*/ 165 w 2746"/>
                <a:gd name="T63" fmla="*/ 27 h 1381"/>
                <a:gd name="T64" fmla="*/ 204 w 2746"/>
                <a:gd name="T65" fmla="*/ 13 h 1381"/>
                <a:gd name="T66" fmla="*/ 245 w 2746"/>
                <a:gd name="T67" fmla="*/ 3 h 1381"/>
                <a:gd name="T68" fmla="*/ 287 w 2746"/>
                <a:gd name="T69" fmla="*/ 0 h 1381"/>
                <a:gd name="T70" fmla="*/ 2458 w 2746"/>
                <a:gd name="T71" fmla="*/ 0 h 1381"/>
                <a:gd name="T72" fmla="*/ 2500 w 2746"/>
                <a:gd name="T73" fmla="*/ 3 h 1381"/>
                <a:gd name="T74" fmla="*/ 2541 w 2746"/>
                <a:gd name="T75" fmla="*/ 13 h 1381"/>
                <a:gd name="T76" fmla="*/ 2579 w 2746"/>
                <a:gd name="T77" fmla="*/ 27 h 1381"/>
                <a:gd name="T78" fmla="*/ 2614 w 2746"/>
                <a:gd name="T79" fmla="*/ 46 h 1381"/>
                <a:gd name="T80" fmla="*/ 2646 w 2746"/>
                <a:gd name="T81" fmla="*/ 71 h 1381"/>
                <a:gd name="T82" fmla="*/ 2674 w 2746"/>
                <a:gd name="T83" fmla="*/ 99 h 1381"/>
                <a:gd name="T84" fmla="*/ 2699 w 2746"/>
                <a:gd name="T85" fmla="*/ 131 h 1381"/>
                <a:gd name="T86" fmla="*/ 2718 w 2746"/>
                <a:gd name="T87" fmla="*/ 166 h 1381"/>
                <a:gd name="T88" fmla="*/ 2733 w 2746"/>
                <a:gd name="T89" fmla="*/ 205 h 1381"/>
                <a:gd name="T90" fmla="*/ 2742 w 2746"/>
                <a:gd name="T91" fmla="*/ 244 h 1381"/>
                <a:gd name="T92" fmla="*/ 2745 w 2746"/>
                <a:gd name="T93" fmla="*/ 287 h 1381"/>
                <a:gd name="T94" fmla="*/ 2745 w 2746"/>
                <a:gd name="T95" fmla="*/ 942 h 1381"/>
                <a:gd name="T96" fmla="*/ 2746 w 2746"/>
                <a:gd name="T97" fmla="*/ 942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46" h="1381">
                  <a:moveTo>
                    <a:pt x="2746" y="942"/>
                  </a:moveTo>
                  <a:lnTo>
                    <a:pt x="2746" y="1225"/>
                  </a:lnTo>
                  <a:lnTo>
                    <a:pt x="2589" y="1381"/>
                  </a:lnTo>
                  <a:lnTo>
                    <a:pt x="2589" y="287"/>
                  </a:lnTo>
                  <a:lnTo>
                    <a:pt x="2586" y="260"/>
                  </a:lnTo>
                  <a:lnTo>
                    <a:pt x="2579" y="236"/>
                  </a:lnTo>
                  <a:lnTo>
                    <a:pt x="2567" y="214"/>
                  </a:lnTo>
                  <a:lnTo>
                    <a:pt x="2551" y="195"/>
                  </a:lnTo>
                  <a:lnTo>
                    <a:pt x="2531" y="179"/>
                  </a:lnTo>
                  <a:lnTo>
                    <a:pt x="2509" y="166"/>
                  </a:lnTo>
                  <a:lnTo>
                    <a:pt x="2484" y="159"/>
                  </a:lnTo>
                  <a:lnTo>
                    <a:pt x="2458" y="156"/>
                  </a:lnTo>
                  <a:lnTo>
                    <a:pt x="287" y="156"/>
                  </a:lnTo>
                  <a:lnTo>
                    <a:pt x="261" y="159"/>
                  </a:lnTo>
                  <a:lnTo>
                    <a:pt x="236" y="166"/>
                  </a:lnTo>
                  <a:lnTo>
                    <a:pt x="214" y="179"/>
                  </a:lnTo>
                  <a:lnTo>
                    <a:pt x="194" y="195"/>
                  </a:lnTo>
                  <a:lnTo>
                    <a:pt x="178" y="214"/>
                  </a:lnTo>
                  <a:lnTo>
                    <a:pt x="166" y="236"/>
                  </a:lnTo>
                  <a:lnTo>
                    <a:pt x="159" y="260"/>
                  </a:lnTo>
                  <a:lnTo>
                    <a:pt x="156" y="287"/>
                  </a:lnTo>
                  <a:lnTo>
                    <a:pt x="156" y="832"/>
                  </a:lnTo>
                  <a:lnTo>
                    <a:pt x="0" y="832"/>
                  </a:lnTo>
                  <a:lnTo>
                    <a:pt x="0" y="287"/>
                  </a:lnTo>
                  <a:lnTo>
                    <a:pt x="3" y="244"/>
                  </a:lnTo>
                  <a:lnTo>
                    <a:pt x="12" y="205"/>
                  </a:lnTo>
                  <a:lnTo>
                    <a:pt x="27" y="166"/>
                  </a:lnTo>
                  <a:lnTo>
                    <a:pt x="46" y="131"/>
                  </a:lnTo>
                  <a:lnTo>
                    <a:pt x="70" y="99"/>
                  </a:lnTo>
                  <a:lnTo>
                    <a:pt x="99" y="71"/>
                  </a:lnTo>
                  <a:lnTo>
                    <a:pt x="131" y="46"/>
                  </a:lnTo>
                  <a:lnTo>
                    <a:pt x="165" y="27"/>
                  </a:lnTo>
                  <a:lnTo>
                    <a:pt x="204" y="13"/>
                  </a:lnTo>
                  <a:lnTo>
                    <a:pt x="245" y="3"/>
                  </a:lnTo>
                  <a:lnTo>
                    <a:pt x="287" y="0"/>
                  </a:lnTo>
                  <a:lnTo>
                    <a:pt x="2458" y="0"/>
                  </a:lnTo>
                  <a:lnTo>
                    <a:pt x="2500" y="3"/>
                  </a:lnTo>
                  <a:lnTo>
                    <a:pt x="2541" y="13"/>
                  </a:lnTo>
                  <a:lnTo>
                    <a:pt x="2579" y="27"/>
                  </a:lnTo>
                  <a:lnTo>
                    <a:pt x="2614" y="46"/>
                  </a:lnTo>
                  <a:lnTo>
                    <a:pt x="2646" y="71"/>
                  </a:lnTo>
                  <a:lnTo>
                    <a:pt x="2674" y="99"/>
                  </a:lnTo>
                  <a:lnTo>
                    <a:pt x="2699" y="131"/>
                  </a:lnTo>
                  <a:lnTo>
                    <a:pt x="2718" y="166"/>
                  </a:lnTo>
                  <a:lnTo>
                    <a:pt x="2733" y="205"/>
                  </a:lnTo>
                  <a:lnTo>
                    <a:pt x="2742" y="244"/>
                  </a:lnTo>
                  <a:lnTo>
                    <a:pt x="2745" y="287"/>
                  </a:lnTo>
                  <a:lnTo>
                    <a:pt x="2745" y="942"/>
                  </a:lnTo>
                  <a:lnTo>
                    <a:pt x="2746" y="9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9"/>
            <p:cNvSpPr>
              <a:spLocks/>
            </p:cNvSpPr>
            <p:nvPr/>
          </p:nvSpPr>
          <p:spPr bwMode="auto">
            <a:xfrm>
              <a:off x="-389" y="2235"/>
              <a:ext cx="305" cy="106"/>
            </a:xfrm>
            <a:custGeom>
              <a:avLst/>
              <a:gdLst>
                <a:gd name="T0" fmla="*/ 2662 w 2746"/>
                <a:gd name="T1" fmla="*/ 53 h 954"/>
                <a:gd name="T2" fmla="*/ 2689 w 2746"/>
                <a:gd name="T3" fmla="*/ 66 h 954"/>
                <a:gd name="T4" fmla="*/ 2717 w 2746"/>
                <a:gd name="T5" fmla="*/ 74 h 954"/>
                <a:gd name="T6" fmla="*/ 2746 w 2746"/>
                <a:gd name="T7" fmla="*/ 78 h 954"/>
                <a:gd name="T8" fmla="*/ 2746 w 2746"/>
                <a:gd name="T9" fmla="*/ 667 h 954"/>
                <a:gd name="T10" fmla="*/ 2743 w 2746"/>
                <a:gd name="T11" fmla="*/ 710 h 954"/>
                <a:gd name="T12" fmla="*/ 2733 w 2746"/>
                <a:gd name="T13" fmla="*/ 749 h 954"/>
                <a:gd name="T14" fmla="*/ 2719 w 2746"/>
                <a:gd name="T15" fmla="*/ 788 h 954"/>
                <a:gd name="T16" fmla="*/ 2699 w 2746"/>
                <a:gd name="T17" fmla="*/ 823 h 954"/>
                <a:gd name="T18" fmla="*/ 2675 w 2746"/>
                <a:gd name="T19" fmla="*/ 854 h 954"/>
                <a:gd name="T20" fmla="*/ 2646 w 2746"/>
                <a:gd name="T21" fmla="*/ 883 h 954"/>
                <a:gd name="T22" fmla="*/ 2614 w 2746"/>
                <a:gd name="T23" fmla="*/ 907 h 954"/>
                <a:gd name="T24" fmla="*/ 2579 w 2746"/>
                <a:gd name="T25" fmla="*/ 927 h 954"/>
                <a:gd name="T26" fmla="*/ 2541 w 2746"/>
                <a:gd name="T27" fmla="*/ 941 h 954"/>
                <a:gd name="T28" fmla="*/ 2500 w 2746"/>
                <a:gd name="T29" fmla="*/ 951 h 954"/>
                <a:gd name="T30" fmla="*/ 2458 w 2746"/>
                <a:gd name="T31" fmla="*/ 954 h 954"/>
                <a:gd name="T32" fmla="*/ 287 w 2746"/>
                <a:gd name="T33" fmla="*/ 954 h 954"/>
                <a:gd name="T34" fmla="*/ 245 w 2746"/>
                <a:gd name="T35" fmla="*/ 951 h 954"/>
                <a:gd name="T36" fmla="*/ 204 w 2746"/>
                <a:gd name="T37" fmla="*/ 941 h 954"/>
                <a:gd name="T38" fmla="*/ 165 w 2746"/>
                <a:gd name="T39" fmla="*/ 927 h 954"/>
                <a:gd name="T40" fmla="*/ 131 w 2746"/>
                <a:gd name="T41" fmla="*/ 907 h 954"/>
                <a:gd name="T42" fmla="*/ 99 w 2746"/>
                <a:gd name="T43" fmla="*/ 883 h 954"/>
                <a:gd name="T44" fmla="*/ 70 w 2746"/>
                <a:gd name="T45" fmla="*/ 854 h 954"/>
                <a:gd name="T46" fmla="*/ 46 w 2746"/>
                <a:gd name="T47" fmla="*/ 823 h 954"/>
                <a:gd name="T48" fmla="*/ 27 w 2746"/>
                <a:gd name="T49" fmla="*/ 788 h 954"/>
                <a:gd name="T50" fmla="*/ 12 w 2746"/>
                <a:gd name="T51" fmla="*/ 749 h 954"/>
                <a:gd name="T52" fmla="*/ 3 w 2746"/>
                <a:gd name="T53" fmla="*/ 710 h 954"/>
                <a:gd name="T54" fmla="*/ 0 w 2746"/>
                <a:gd name="T55" fmla="*/ 667 h 954"/>
                <a:gd name="T56" fmla="*/ 0 w 2746"/>
                <a:gd name="T57" fmla="*/ 123 h 954"/>
                <a:gd name="T58" fmla="*/ 156 w 2746"/>
                <a:gd name="T59" fmla="*/ 123 h 954"/>
                <a:gd name="T60" fmla="*/ 156 w 2746"/>
                <a:gd name="T61" fmla="*/ 667 h 954"/>
                <a:gd name="T62" fmla="*/ 159 w 2746"/>
                <a:gd name="T63" fmla="*/ 694 h 954"/>
                <a:gd name="T64" fmla="*/ 166 w 2746"/>
                <a:gd name="T65" fmla="*/ 718 h 954"/>
                <a:gd name="T66" fmla="*/ 178 w 2746"/>
                <a:gd name="T67" fmla="*/ 740 h 954"/>
                <a:gd name="T68" fmla="*/ 194 w 2746"/>
                <a:gd name="T69" fmla="*/ 759 h 954"/>
                <a:gd name="T70" fmla="*/ 214 w 2746"/>
                <a:gd name="T71" fmla="*/ 775 h 954"/>
                <a:gd name="T72" fmla="*/ 236 w 2746"/>
                <a:gd name="T73" fmla="*/ 788 h 954"/>
                <a:gd name="T74" fmla="*/ 261 w 2746"/>
                <a:gd name="T75" fmla="*/ 795 h 954"/>
                <a:gd name="T76" fmla="*/ 287 w 2746"/>
                <a:gd name="T77" fmla="*/ 798 h 954"/>
                <a:gd name="T78" fmla="*/ 2458 w 2746"/>
                <a:gd name="T79" fmla="*/ 798 h 954"/>
                <a:gd name="T80" fmla="*/ 2484 w 2746"/>
                <a:gd name="T81" fmla="*/ 795 h 954"/>
                <a:gd name="T82" fmla="*/ 2509 w 2746"/>
                <a:gd name="T83" fmla="*/ 788 h 954"/>
                <a:gd name="T84" fmla="*/ 2531 w 2746"/>
                <a:gd name="T85" fmla="*/ 775 h 954"/>
                <a:gd name="T86" fmla="*/ 2551 w 2746"/>
                <a:gd name="T87" fmla="*/ 759 h 954"/>
                <a:gd name="T88" fmla="*/ 2567 w 2746"/>
                <a:gd name="T89" fmla="*/ 740 h 954"/>
                <a:gd name="T90" fmla="*/ 2579 w 2746"/>
                <a:gd name="T91" fmla="*/ 718 h 954"/>
                <a:gd name="T92" fmla="*/ 2587 w 2746"/>
                <a:gd name="T93" fmla="*/ 694 h 954"/>
                <a:gd name="T94" fmla="*/ 2589 w 2746"/>
                <a:gd name="T95" fmla="*/ 667 h 954"/>
                <a:gd name="T96" fmla="*/ 2589 w 2746"/>
                <a:gd name="T97" fmla="*/ 181 h 954"/>
                <a:gd name="T98" fmla="*/ 2589 w 2746"/>
                <a:gd name="T99" fmla="*/ 181 h 954"/>
                <a:gd name="T100" fmla="*/ 2589 w 2746"/>
                <a:gd name="T101" fmla="*/ 9 h 954"/>
                <a:gd name="T102" fmla="*/ 2599 w 2746"/>
                <a:gd name="T103" fmla="*/ 0 h 954"/>
                <a:gd name="T104" fmla="*/ 2617 w 2746"/>
                <a:gd name="T105" fmla="*/ 20 h 954"/>
                <a:gd name="T106" fmla="*/ 2639 w 2746"/>
                <a:gd name="T107" fmla="*/ 38 h 954"/>
                <a:gd name="T108" fmla="*/ 2662 w 2746"/>
                <a:gd name="T109" fmla="*/ 53 h 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46" h="954">
                  <a:moveTo>
                    <a:pt x="2662" y="53"/>
                  </a:moveTo>
                  <a:lnTo>
                    <a:pt x="2689" y="66"/>
                  </a:lnTo>
                  <a:lnTo>
                    <a:pt x="2717" y="74"/>
                  </a:lnTo>
                  <a:lnTo>
                    <a:pt x="2746" y="78"/>
                  </a:lnTo>
                  <a:lnTo>
                    <a:pt x="2746" y="667"/>
                  </a:lnTo>
                  <a:lnTo>
                    <a:pt x="2743" y="710"/>
                  </a:lnTo>
                  <a:lnTo>
                    <a:pt x="2733" y="749"/>
                  </a:lnTo>
                  <a:lnTo>
                    <a:pt x="2719" y="788"/>
                  </a:lnTo>
                  <a:lnTo>
                    <a:pt x="2699" y="823"/>
                  </a:lnTo>
                  <a:lnTo>
                    <a:pt x="2675" y="854"/>
                  </a:lnTo>
                  <a:lnTo>
                    <a:pt x="2646" y="883"/>
                  </a:lnTo>
                  <a:lnTo>
                    <a:pt x="2614" y="907"/>
                  </a:lnTo>
                  <a:lnTo>
                    <a:pt x="2579" y="927"/>
                  </a:lnTo>
                  <a:lnTo>
                    <a:pt x="2541" y="941"/>
                  </a:lnTo>
                  <a:lnTo>
                    <a:pt x="2500" y="951"/>
                  </a:lnTo>
                  <a:lnTo>
                    <a:pt x="2458" y="954"/>
                  </a:lnTo>
                  <a:lnTo>
                    <a:pt x="287" y="954"/>
                  </a:lnTo>
                  <a:lnTo>
                    <a:pt x="245" y="951"/>
                  </a:lnTo>
                  <a:lnTo>
                    <a:pt x="204" y="941"/>
                  </a:lnTo>
                  <a:lnTo>
                    <a:pt x="165" y="927"/>
                  </a:lnTo>
                  <a:lnTo>
                    <a:pt x="131" y="907"/>
                  </a:lnTo>
                  <a:lnTo>
                    <a:pt x="99" y="883"/>
                  </a:lnTo>
                  <a:lnTo>
                    <a:pt x="70" y="854"/>
                  </a:lnTo>
                  <a:lnTo>
                    <a:pt x="46" y="823"/>
                  </a:lnTo>
                  <a:lnTo>
                    <a:pt x="27" y="788"/>
                  </a:lnTo>
                  <a:lnTo>
                    <a:pt x="12" y="749"/>
                  </a:lnTo>
                  <a:lnTo>
                    <a:pt x="3" y="710"/>
                  </a:lnTo>
                  <a:lnTo>
                    <a:pt x="0" y="667"/>
                  </a:lnTo>
                  <a:lnTo>
                    <a:pt x="0" y="123"/>
                  </a:lnTo>
                  <a:lnTo>
                    <a:pt x="156" y="123"/>
                  </a:lnTo>
                  <a:lnTo>
                    <a:pt x="156" y="667"/>
                  </a:lnTo>
                  <a:lnTo>
                    <a:pt x="159" y="694"/>
                  </a:lnTo>
                  <a:lnTo>
                    <a:pt x="166" y="718"/>
                  </a:lnTo>
                  <a:lnTo>
                    <a:pt x="178" y="740"/>
                  </a:lnTo>
                  <a:lnTo>
                    <a:pt x="194" y="759"/>
                  </a:lnTo>
                  <a:lnTo>
                    <a:pt x="214" y="775"/>
                  </a:lnTo>
                  <a:lnTo>
                    <a:pt x="236" y="788"/>
                  </a:lnTo>
                  <a:lnTo>
                    <a:pt x="261" y="795"/>
                  </a:lnTo>
                  <a:lnTo>
                    <a:pt x="287" y="798"/>
                  </a:lnTo>
                  <a:lnTo>
                    <a:pt x="2458" y="798"/>
                  </a:lnTo>
                  <a:lnTo>
                    <a:pt x="2484" y="795"/>
                  </a:lnTo>
                  <a:lnTo>
                    <a:pt x="2509" y="788"/>
                  </a:lnTo>
                  <a:lnTo>
                    <a:pt x="2531" y="775"/>
                  </a:lnTo>
                  <a:lnTo>
                    <a:pt x="2551" y="759"/>
                  </a:lnTo>
                  <a:lnTo>
                    <a:pt x="2567" y="740"/>
                  </a:lnTo>
                  <a:lnTo>
                    <a:pt x="2579" y="718"/>
                  </a:lnTo>
                  <a:lnTo>
                    <a:pt x="2587" y="694"/>
                  </a:lnTo>
                  <a:lnTo>
                    <a:pt x="2589" y="667"/>
                  </a:lnTo>
                  <a:lnTo>
                    <a:pt x="2589" y="181"/>
                  </a:lnTo>
                  <a:lnTo>
                    <a:pt x="2589" y="181"/>
                  </a:lnTo>
                  <a:lnTo>
                    <a:pt x="2589" y="9"/>
                  </a:lnTo>
                  <a:lnTo>
                    <a:pt x="2599" y="0"/>
                  </a:lnTo>
                  <a:lnTo>
                    <a:pt x="2617" y="20"/>
                  </a:lnTo>
                  <a:lnTo>
                    <a:pt x="2639" y="38"/>
                  </a:lnTo>
                  <a:lnTo>
                    <a:pt x="2662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0"/>
            <p:cNvSpPr>
              <a:spLocks/>
            </p:cNvSpPr>
            <p:nvPr/>
          </p:nvSpPr>
          <p:spPr bwMode="auto">
            <a:xfrm>
              <a:off x="-413" y="2218"/>
              <a:ext cx="72" cy="29"/>
            </a:xfrm>
            <a:custGeom>
              <a:avLst/>
              <a:gdLst>
                <a:gd name="T0" fmla="*/ 400 w 647"/>
                <a:gd name="T1" fmla="*/ 64 h 264"/>
                <a:gd name="T2" fmla="*/ 68 w 647"/>
                <a:gd name="T3" fmla="*/ 64 h 264"/>
                <a:gd name="T4" fmla="*/ 51 w 647"/>
                <a:gd name="T5" fmla="*/ 67 h 264"/>
                <a:gd name="T6" fmla="*/ 35 w 647"/>
                <a:gd name="T7" fmla="*/ 73 h 264"/>
                <a:gd name="T8" fmla="*/ 21 w 647"/>
                <a:gd name="T9" fmla="*/ 84 h 264"/>
                <a:gd name="T10" fmla="*/ 10 w 647"/>
                <a:gd name="T11" fmla="*/ 97 h 264"/>
                <a:gd name="T12" fmla="*/ 4 w 647"/>
                <a:gd name="T13" fmla="*/ 114 h 264"/>
                <a:gd name="T14" fmla="*/ 0 w 647"/>
                <a:gd name="T15" fmla="*/ 131 h 264"/>
                <a:gd name="T16" fmla="*/ 4 w 647"/>
                <a:gd name="T17" fmla="*/ 149 h 264"/>
                <a:gd name="T18" fmla="*/ 10 w 647"/>
                <a:gd name="T19" fmla="*/ 166 h 264"/>
                <a:gd name="T20" fmla="*/ 21 w 647"/>
                <a:gd name="T21" fmla="*/ 179 h 264"/>
                <a:gd name="T22" fmla="*/ 35 w 647"/>
                <a:gd name="T23" fmla="*/ 190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0 h 264"/>
                <a:gd name="T32" fmla="*/ 437 w 647"/>
                <a:gd name="T33" fmla="*/ 238 h 264"/>
                <a:gd name="T34" fmla="*/ 459 w 647"/>
                <a:gd name="T35" fmla="*/ 252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1 h 264"/>
                <a:gd name="T42" fmla="*/ 566 w 647"/>
                <a:gd name="T43" fmla="*/ 253 h 264"/>
                <a:gd name="T44" fmla="*/ 588 w 647"/>
                <a:gd name="T45" fmla="*/ 242 h 264"/>
                <a:gd name="T46" fmla="*/ 607 w 647"/>
                <a:gd name="T47" fmla="*/ 224 h 264"/>
                <a:gd name="T48" fmla="*/ 624 w 647"/>
                <a:gd name="T49" fmla="*/ 205 h 264"/>
                <a:gd name="T50" fmla="*/ 636 w 647"/>
                <a:gd name="T51" fmla="*/ 183 h 264"/>
                <a:gd name="T52" fmla="*/ 644 w 647"/>
                <a:gd name="T53" fmla="*/ 158 h 264"/>
                <a:gd name="T54" fmla="*/ 647 w 647"/>
                <a:gd name="T55" fmla="*/ 131 h 264"/>
                <a:gd name="T56" fmla="*/ 644 w 647"/>
                <a:gd name="T57" fmla="*/ 104 h 264"/>
                <a:gd name="T58" fmla="*/ 636 w 647"/>
                <a:gd name="T59" fmla="*/ 80 h 264"/>
                <a:gd name="T60" fmla="*/ 624 w 647"/>
                <a:gd name="T61" fmla="*/ 57 h 264"/>
                <a:gd name="T62" fmla="*/ 607 w 647"/>
                <a:gd name="T63" fmla="*/ 38 h 264"/>
                <a:gd name="T64" fmla="*/ 588 w 647"/>
                <a:gd name="T65" fmla="*/ 22 h 264"/>
                <a:gd name="T66" fmla="*/ 566 w 647"/>
                <a:gd name="T67" fmla="*/ 9 h 264"/>
                <a:gd name="T68" fmla="*/ 541 w 647"/>
                <a:gd name="T69" fmla="*/ 2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1 h 264"/>
                <a:gd name="T76" fmla="*/ 437 w 647"/>
                <a:gd name="T77" fmla="*/ 24 h 264"/>
                <a:gd name="T78" fmla="*/ 416 w 647"/>
                <a:gd name="T79" fmla="*/ 42 h 264"/>
                <a:gd name="T80" fmla="*/ 400 w 647"/>
                <a:gd name="T81" fmla="*/ 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4"/>
                  </a:moveTo>
                  <a:lnTo>
                    <a:pt x="68" y="64"/>
                  </a:lnTo>
                  <a:lnTo>
                    <a:pt x="51" y="67"/>
                  </a:lnTo>
                  <a:lnTo>
                    <a:pt x="35" y="73"/>
                  </a:lnTo>
                  <a:lnTo>
                    <a:pt x="21" y="84"/>
                  </a:lnTo>
                  <a:lnTo>
                    <a:pt x="10" y="97"/>
                  </a:lnTo>
                  <a:lnTo>
                    <a:pt x="4" y="114"/>
                  </a:lnTo>
                  <a:lnTo>
                    <a:pt x="0" y="131"/>
                  </a:lnTo>
                  <a:lnTo>
                    <a:pt x="4" y="149"/>
                  </a:lnTo>
                  <a:lnTo>
                    <a:pt x="10" y="166"/>
                  </a:lnTo>
                  <a:lnTo>
                    <a:pt x="21" y="179"/>
                  </a:lnTo>
                  <a:lnTo>
                    <a:pt x="35" y="190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0"/>
                  </a:lnTo>
                  <a:lnTo>
                    <a:pt x="437" y="238"/>
                  </a:lnTo>
                  <a:lnTo>
                    <a:pt x="459" y="252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1"/>
                  </a:lnTo>
                  <a:lnTo>
                    <a:pt x="566" y="253"/>
                  </a:lnTo>
                  <a:lnTo>
                    <a:pt x="588" y="242"/>
                  </a:lnTo>
                  <a:lnTo>
                    <a:pt x="607" y="224"/>
                  </a:lnTo>
                  <a:lnTo>
                    <a:pt x="624" y="205"/>
                  </a:lnTo>
                  <a:lnTo>
                    <a:pt x="636" y="183"/>
                  </a:lnTo>
                  <a:lnTo>
                    <a:pt x="644" y="158"/>
                  </a:lnTo>
                  <a:lnTo>
                    <a:pt x="647" y="131"/>
                  </a:lnTo>
                  <a:lnTo>
                    <a:pt x="644" y="104"/>
                  </a:lnTo>
                  <a:lnTo>
                    <a:pt x="636" y="80"/>
                  </a:lnTo>
                  <a:lnTo>
                    <a:pt x="624" y="57"/>
                  </a:lnTo>
                  <a:lnTo>
                    <a:pt x="607" y="38"/>
                  </a:lnTo>
                  <a:lnTo>
                    <a:pt x="588" y="22"/>
                  </a:lnTo>
                  <a:lnTo>
                    <a:pt x="566" y="9"/>
                  </a:lnTo>
                  <a:lnTo>
                    <a:pt x="541" y="2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1"/>
                  </a:lnTo>
                  <a:lnTo>
                    <a:pt x="437" y="24"/>
                  </a:lnTo>
                  <a:lnTo>
                    <a:pt x="416" y="42"/>
                  </a:lnTo>
                  <a:lnTo>
                    <a:pt x="400" y="6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1"/>
            <p:cNvSpPr>
              <a:spLocks/>
            </p:cNvSpPr>
            <p:nvPr/>
          </p:nvSpPr>
          <p:spPr bwMode="auto">
            <a:xfrm>
              <a:off x="-413" y="2145"/>
              <a:ext cx="72" cy="30"/>
            </a:xfrm>
            <a:custGeom>
              <a:avLst/>
              <a:gdLst>
                <a:gd name="T0" fmla="*/ 400 w 647"/>
                <a:gd name="T1" fmla="*/ 66 h 265"/>
                <a:gd name="T2" fmla="*/ 68 w 647"/>
                <a:gd name="T3" fmla="*/ 66 h 265"/>
                <a:gd name="T4" fmla="*/ 51 w 647"/>
                <a:gd name="T5" fmla="*/ 68 h 265"/>
                <a:gd name="T6" fmla="*/ 35 w 647"/>
                <a:gd name="T7" fmla="*/ 74 h 265"/>
                <a:gd name="T8" fmla="*/ 21 w 647"/>
                <a:gd name="T9" fmla="*/ 85 h 265"/>
                <a:gd name="T10" fmla="*/ 10 w 647"/>
                <a:gd name="T11" fmla="*/ 99 h 265"/>
                <a:gd name="T12" fmla="*/ 4 w 647"/>
                <a:gd name="T13" fmla="*/ 115 h 265"/>
                <a:gd name="T14" fmla="*/ 0 w 647"/>
                <a:gd name="T15" fmla="*/ 132 h 265"/>
                <a:gd name="T16" fmla="*/ 4 w 647"/>
                <a:gd name="T17" fmla="*/ 151 h 265"/>
                <a:gd name="T18" fmla="*/ 10 w 647"/>
                <a:gd name="T19" fmla="*/ 167 h 265"/>
                <a:gd name="T20" fmla="*/ 21 w 647"/>
                <a:gd name="T21" fmla="*/ 181 h 265"/>
                <a:gd name="T22" fmla="*/ 35 w 647"/>
                <a:gd name="T23" fmla="*/ 191 h 265"/>
                <a:gd name="T24" fmla="*/ 51 w 647"/>
                <a:gd name="T25" fmla="*/ 198 h 265"/>
                <a:gd name="T26" fmla="*/ 68 w 647"/>
                <a:gd name="T27" fmla="*/ 200 h 265"/>
                <a:gd name="T28" fmla="*/ 400 w 647"/>
                <a:gd name="T29" fmla="*/ 200 h 265"/>
                <a:gd name="T30" fmla="*/ 416 w 647"/>
                <a:gd name="T31" fmla="*/ 222 h 265"/>
                <a:gd name="T32" fmla="*/ 437 w 647"/>
                <a:gd name="T33" fmla="*/ 240 h 265"/>
                <a:gd name="T34" fmla="*/ 460 w 647"/>
                <a:gd name="T35" fmla="*/ 253 h 265"/>
                <a:gd name="T36" fmla="*/ 486 w 647"/>
                <a:gd name="T37" fmla="*/ 262 h 265"/>
                <a:gd name="T38" fmla="*/ 514 w 647"/>
                <a:gd name="T39" fmla="*/ 265 h 265"/>
                <a:gd name="T40" fmla="*/ 541 w 647"/>
                <a:gd name="T41" fmla="*/ 263 h 265"/>
                <a:gd name="T42" fmla="*/ 566 w 647"/>
                <a:gd name="T43" fmla="*/ 255 h 265"/>
                <a:gd name="T44" fmla="*/ 588 w 647"/>
                <a:gd name="T45" fmla="*/ 242 h 265"/>
                <a:gd name="T46" fmla="*/ 607 w 647"/>
                <a:gd name="T47" fmla="*/ 226 h 265"/>
                <a:gd name="T48" fmla="*/ 624 w 647"/>
                <a:gd name="T49" fmla="*/ 207 h 265"/>
                <a:gd name="T50" fmla="*/ 636 w 647"/>
                <a:gd name="T51" fmla="*/ 184 h 265"/>
                <a:gd name="T52" fmla="*/ 644 w 647"/>
                <a:gd name="T53" fmla="*/ 160 h 265"/>
                <a:gd name="T54" fmla="*/ 647 w 647"/>
                <a:gd name="T55" fmla="*/ 132 h 265"/>
                <a:gd name="T56" fmla="*/ 644 w 647"/>
                <a:gd name="T57" fmla="*/ 106 h 265"/>
                <a:gd name="T58" fmla="*/ 636 w 647"/>
                <a:gd name="T59" fmla="*/ 82 h 265"/>
                <a:gd name="T60" fmla="*/ 624 w 647"/>
                <a:gd name="T61" fmla="*/ 59 h 265"/>
                <a:gd name="T62" fmla="*/ 607 w 647"/>
                <a:gd name="T63" fmla="*/ 40 h 265"/>
                <a:gd name="T64" fmla="*/ 588 w 647"/>
                <a:gd name="T65" fmla="*/ 24 h 265"/>
                <a:gd name="T66" fmla="*/ 566 w 647"/>
                <a:gd name="T67" fmla="*/ 11 h 265"/>
                <a:gd name="T68" fmla="*/ 541 w 647"/>
                <a:gd name="T69" fmla="*/ 3 h 265"/>
                <a:gd name="T70" fmla="*/ 514 w 647"/>
                <a:gd name="T71" fmla="*/ 0 h 265"/>
                <a:gd name="T72" fmla="*/ 486 w 647"/>
                <a:gd name="T73" fmla="*/ 3 h 265"/>
                <a:gd name="T74" fmla="*/ 460 w 647"/>
                <a:gd name="T75" fmla="*/ 12 h 265"/>
                <a:gd name="T76" fmla="*/ 437 w 647"/>
                <a:gd name="T77" fmla="*/ 26 h 265"/>
                <a:gd name="T78" fmla="*/ 416 w 647"/>
                <a:gd name="T79" fmla="*/ 44 h 265"/>
                <a:gd name="T80" fmla="*/ 400 w 647"/>
                <a:gd name="T81" fmla="*/ 66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5">
                  <a:moveTo>
                    <a:pt x="400" y="66"/>
                  </a:moveTo>
                  <a:lnTo>
                    <a:pt x="68" y="66"/>
                  </a:lnTo>
                  <a:lnTo>
                    <a:pt x="51" y="68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9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1"/>
                  </a:lnTo>
                  <a:lnTo>
                    <a:pt x="10" y="167"/>
                  </a:lnTo>
                  <a:lnTo>
                    <a:pt x="21" y="181"/>
                  </a:lnTo>
                  <a:lnTo>
                    <a:pt x="35" y="191"/>
                  </a:lnTo>
                  <a:lnTo>
                    <a:pt x="51" y="198"/>
                  </a:lnTo>
                  <a:lnTo>
                    <a:pt x="68" y="200"/>
                  </a:lnTo>
                  <a:lnTo>
                    <a:pt x="400" y="200"/>
                  </a:lnTo>
                  <a:lnTo>
                    <a:pt x="416" y="222"/>
                  </a:lnTo>
                  <a:lnTo>
                    <a:pt x="437" y="240"/>
                  </a:lnTo>
                  <a:lnTo>
                    <a:pt x="460" y="253"/>
                  </a:lnTo>
                  <a:lnTo>
                    <a:pt x="486" y="262"/>
                  </a:lnTo>
                  <a:lnTo>
                    <a:pt x="514" y="265"/>
                  </a:lnTo>
                  <a:lnTo>
                    <a:pt x="541" y="263"/>
                  </a:lnTo>
                  <a:lnTo>
                    <a:pt x="566" y="255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2"/>
                  </a:lnTo>
                  <a:lnTo>
                    <a:pt x="644" y="106"/>
                  </a:lnTo>
                  <a:lnTo>
                    <a:pt x="636" y="82"/>
                  </a:lnTo>
                  <a:lnTo>
                    <a:pt x="624" y="59"/>
                  </a:lnTo>
                  <a:lnTo>
                    <a:pt x="607" y="40"/>
                  </a:lnTo>
                  <a:lnTo>
                    <a:pt x="588" y="24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60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2"/>
            <p:cNvSpPr>
              <a:spLocks/>
            </p:cNvSpPr>
            <p:nvPr/>
          </p:nvSpPr>
          <p:spPr bwMode="auto">
            <a:xfrm>
              <a:off x="-413" y="2073"/>
              <a:ext cx="72" cy="29"/>
            </a:xfrm>
            <a:custGeom>
              <a:avLst/>
              <a:gdLst>
                <a:gd name="T0" fmla="*/ 400 w 647"/>
                <a:gd name="T1" fmla="*/ 65 h 264"/>
                <a:gd name="T2" fmla="*/ 68 w 647"/>
                <a:gd name="T3" fmla="*/ 65 h 264"/>
                <a:gd name="T4" fmla="*/ 51 w 647"/>
                <a:gd name="T5" fmla="*/ 67 h 264"/>
                <a:gd name="T6" fmla="*/ 35 w 647"/>
                <a:gd name="T7" fmla="*/ 74 h 264"/>
                <a:gd name="T8" fmla="*/ 21 w 647"/>
                <a:gd name="T9" fmla="*/ 85 h 264"/>
                <a:gd name="T10" fmla="*/ 10 w 647"/>
                <a:gd name="T11" fmla="*/ 98 h 264"/>
                <a:gd name="T12" fmla="*/ 4 w 647"/>
                <a:gd name="T13" fmla="*/ 115 h 264"/>
                <a:gd name="T14" fmla="*/ 0 w 647"/>
                <a:gd name="T15" fmla="*/ 132 h 264"/>
                <a:gd name="T16" fmla="*/ 4 w 647"/>
                <a:gd name="T17" fmla="*/ 150 h 264"/>
                <a:gd name="T18" fmla="*/ 10 w 647"/>
                <a:gd name="T19" fmla="*/ 166 h 264"/>
                <a:gd name="T20" fmla="*/ 21 w 647"/>
                <a:gd name="T21" fmla="*/ 180 h 264"/>
                <a:gd name="T22" fmla="*/ 35 w 647"/>
                <a:gd name="T23" fmla="*/ 191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2 h 264"/>
                <a:gd name="T32" fmla="*/ 437 w 647"/>
                <a:gd name="T33" fmla="*/ 239 h 264"/>
                <a:gd name="T34" fmla="*/ 459 w 647"/>
                <a:gd name="T35" fmla="*/ 253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2 h 264"/>
                <a:gd name="T42" fmla="*/ 566 w 647"/>
                <a:gd name="T43" fmla="*/ 254 h 264"/>
                <a:gd name="T44" fmla="*/ 588 w 647"/>
                <a:gd name="T45" fmla="*/ 242 h 264"/>
                <a:gd name="T46" fmla="*/ 607 w 647"/>
                <a:gd name="T47" fmla="*/ 226 h 264"/>
                <a:gd name="T48" fmla="*/ 624 w 647"/>
                <a:gd name="T49" fmla="*/ 207 h 264"/>
                <a:gd name="T50" fmla="*/ 636 w 647"/>
                <a:gd name="T51" fmla="*/ 184 h 264"/>
                <a:gd name="T52" fmla="*/ 644 w 647"/>
                <a:gd name="T53" fmla="*/ 160 h 264"/>
                <a:gd name="T54" fmla="*/ 647 w 647"/>
                <a:gd name="T55" fmla="*/ 133 h 264"/>
                <a:gd name="T56" fmla="*/ 644 w 647"/>
                <a:gd name="T57" fmla="*/ 106 h 264"/>
                <a:gd name="T58" fmla="*/ 636 w 647"/>
                <a:gd name="T59" fmla="*/ 81 h 264"/>
                <a:gd name="T60" fmla="*/ 624 w 647"/>
                <a:gd name="T61" fmla="*/ 59 h 264"/>
                <a:gd name="T62" fmla="*/ 607 w 647"/>
                <a:gd name="T63" fmla="*/ 39 h 264"/>
                <a:gd name="T64" fmla="*/ 588 w 647"/>
                <a:gd name="T65" fmla="*/ 22 h 264"/>
                <a:gd name="T66" fmla="*/ 566 w 647"/>
                <a:gd name="T67" fmla="*/ 11 h 264"/>
                <a:gd name="T68" fmla="*/ 541 w 647"/>
                <a:gd name="T69" fmla="*/ 3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2 h 264"/>
                <a:gd name="T76" fmla="*/ 437 w 647"/>
                <a:gd name="T77" fmla="*/ 26 h 264"/>
                <a:gd name="T78" fmla="*/ 416 w 647"/>
                <a:gd name="T79" fmla="*/ 44 h 264"/>
                <a:gd name="T80" fmla="*/ 400 w 647"/>
                <a:gd name="T81" fmla="*/ 65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5"/>
                  </a:moveTo>
                  <a:lnTo>
                    <a:pt x="68" y="65"/>
                  </a:lnTo>
                  <a:lnTo>
                    <a:pt x="51" y="67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8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0"/>
                  </a:lnTo>
                  <a:lnTo>
                    <a:pt x="10" y="166"/>
                  </a:lnTo>
                  <a:lnTo>
                    <a:pt x="21" y="180"/>
                  </a:lnTo>
                  <a:lnTo>
                    <a:pt x="35" y="191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2"/>
                  </a:lnTo>
                  <a:lnTo>
                    <a:pt x="437" y="239"/>
                  </a:lnTo>
                  <a:lnTo>
                    <a:pt x="459" y="253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2"/>
                  </a:lnTo>
                  <a:lnTo>
                    <a:pt x="566" y="254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3"/>
                  </a:lnTo>
                  <a:lnTo>
                    <a:pt x="644" y="106"/>
                  </a:lnTo>
                  <a:lnTo>
                    <a:pt x="636" y="81"/>
                  </a:lnTo>
                  <a:lnTo>
                    <a:pt x="624" y="59"/>
                  </a:lnTo>
                  <a:lnTo>
                    <a:pt x="607" y="39"/>
                  </a:lnTo>
                  <a:lnTo>
                    <a:pt x="588" y="22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3"/>
            <p:cNvSpPr>
              <a:spLocks/>
            </p:cNvSpPr>
            <p:nvPr/>
          </p:nvSpPr>
          <p:spPr bwMode="auto">
            <a:xfrm>
              <a:off x="-118" y="2110"/>
              <a:ext cx="91" cy="90"/>
            </a:xfrm>
            <a:custGeom>
              <a:avLst/>
              <a:gdLst>
                <a:gd name="T0" fmla="*/ 537 w 816"/>
                <a:gd name="T1" fmla="*/ 547 h 805"/>
                <a:gd name="T2" fmla="*/ 497 w 816"/>
                <a:gd name="T3" fmla="*/ 587 h 805"/>
                <a:gd name="T4" fmla="*/ 468 w 816"/>
                <a:gd name="T5" fmla="*/ 616 h 805"/>
                <a:gd name="T6" fmla="*/ 447 w 816"/>
                <a:gd name="T7" fmla="*/ 636 h 805"/>
                <a:gd name="T8" fmla="*/ 433 w 816"/>
                <a:gd name="T9" fmla="*/ 650 h 805"/>
                <a:gd name="T10" fmla="*/ 421 w 816"/>
                <a:gd name="T11" fmla="*/ 662 h 805"/>
                <a:gd name="T12" fmla="*/ 410 w 816"/>
                <a:gd name="T13" fmla="*/ 673 h 805"/>
                <a:gd name="T14" fmla="*/ 395 w 816"/>
                <a:gd name="T15" fmla="*/ 688 h 805"/>
                <a:gd name="T16" fmla="*/ 374 w 816"/>
                <a:gd name="T17" fmla="*/ 708 h 805"/>
                <a:gd name="T18" fmla="*/ 345 w 816"/>
                <a:gd name="T19" fmla="*/ 737 h 805"/>
                <a:gd name="T20" fmla="*/ 303 w 816"/>
                <a:gd name="T21" fmla="*/ 779 h 805"/>
                <a:gd name="T22" fmla="*/ 208 w 816"/>
                <a:gd name="T23" fmla="*/ 736 h 805"/>
                <a:gd name="T24" fmla="*/ 68 w 816"/>
                <a:gd name="T25" fmla="*/ 607 h 805"/>
                <a:gd name="T26" fmla="*/ 0 w 816"/>
                <a:gd name="T27" fmla="*/ 538 h 805"/>
                <a:gd name="T28" fmla="*/ 2 w 816"/>
                <a:gd name="T29" fmla="*/ 535 h 805"/>
                <a:gd name="T30" fmla="*/ 37 w 816"/>
                <a:gd name="T31" fmla="*/ 499 h 805"/>
                <a:gd name="T32" fmla="*/ 92 w 816"/>
                <a:gd name="T33" fmla="*/ 446 h 805"/>
                <a:gd name="T34" fmla="*/ 135 w 816"/>
                <a:gd name="T35" fmla="*/ 403 h 805"/>
                <a:gd name="T36" fmla="*/ 169 w 816"/>
                <a:gd name="T37" fmla="*/ 369 h 805"/>
                <a:gd name="T38" fmla="*/ 197 w 816"/>
                <a:gd name="T39" fmla="*/ 341 h 805"/>
                <a:gd name="T40" fmla="*/ 223 w 816"/>
                <a:gd name="T41" fmla="*/ 315 h 805"/>
                <a:gd name="T42" fmla="*/ 248 w 816"/>
                <a:gd name="T43" fmla="*/ 291 h 805"/>
                <a:gd name="T44" fmla="*/ 277 w 816"/>
                <a:gd name="T45" fmla="*/ 263 h 805"/>
                <a:gd name="T46" fmla="*/ 312 w 816"/>
                <a:gd name="T47" fmla="*/ 228 h 805"/>
                <a:gd name="T48" fmla="*/ 356 w 816"/>
                <a:gd name="T49" fmla="*/ 187 h 805"/>
                <a:gd name="T50" fmla="*/ 411 w 816"/>
                <a:gd name="T51" fmla="*/ 133 h 805"/>
                <a:gd name="T52" fmla="*/ 473 w 816"/>
                <a:gd name="T53" fmla="*/ 75 h 805"/>
                <a:gd name="T54" fmla="*/ 540 w 816"/>
                <a:gd name="T55" fmla="*/ 31 h 805"/>
                <a:gd name="T56" fmla="*/ 602 w 816"/>
                <a:gd name="T57" fmla="*/ 4 h 805"/>
                <a:gd name="T58" fmla="*/ 657 w 816"/>
                <a:gd name="T59" fmla="*/ 1 h 805"/>
                <a:gd name="T60" fmla="*/ 709 w 816"/>
                <a:gd name="T61" fmla="*/ 22 h 805"/>
                <a:gd name="T62" fmla="*/ 759 w 816"/>
                <a:gd name="T63" fmla="*/ 60 h 805"/>
                <a:gd name="T64" fmla="*/ 796 w 816"/>
                <a:gd name="T65" fmla="*/ 108 h 805"/>
                <a:gd name="T66" fmla="*/ 815 w 816"/>
                <a:gd name="T67" fmla="*/ 161 h 805"/>
                <a:gd name="T68" fmla="*/ 810 w 816"/>
                <a:gd name="T69" fmla="*/ 217 h 805"/>
                <a:gd name="T70" fmla="*/ 773 w 816"/>
                <a:gd name="T71" fmla="*/ 283 h 805"/>
                <a:gd name="T72" fmla="*/ 717 w 816"/>
                <a:gd name="T73" fmla="*/ 354 h 805"/>
                <a:gd name="T74" fmla="*/ 681 w 816"/>
                <a:gd name="T75" fmla="*/ 398 h 805"/>
                <a:gd name="T76" fmla="*/ 656 w 816"/>
                <a:gd name="T77" fmla="*/ 424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6" h="805">
                  <a:moveTo>
                    <a:pt x="563" y="521"/>
                  </a:moveTo>
                  <a:lnTo>
                    <a:pt x="537" y="547"/>
                  </a:lnTo>
                  <a:lnTo>
                    <a:pt x="516" y="569"/>
                  </a:lnTo>
                  <a:lnTo>
                    <a:pt x="497" y="587"/>
                  </a:lnTo>
                  <a:lnTo>
                    <a:pt x="482" y="603"/>
                  </a:lnTo>
                  <a:lnTo>
                    <a:pt x="468" y="616"/>
                  </a:lnTo>
                  <a:lnTo>
                    <a:pt x="457" y="627"/>
                  </a:lnTo>
                  <a:lnTo>
                    <a:pt x="447" y="636"/>
                  </a:lnTo>
                  <a:lnTo>
                    <a:pt x="440" y="644"/>
                  </a:lnTo>
                  <a:lnTo>
                    <a:pt x="433" y="650"/>
                  </a:lnTo>
                  <a:lnTo>
                    <a:pt x="427" y="657"/>
                  </a:lnTo>
                  <a:lnTo>
                    <a:pt x="421" y="662"/>
                  </a:lnTo>
                  <a:lnTo>
                    <a:pt x="416" y="668"/>
                  </a:lnTo>
                  <a:lnTo>
                    <a:pt x="410" y="673"/>
                  </a:lnTo>
                  <a:lnTo>
                    <a:pt x="403" y="679"/>
                  </a:lnTo>
                  <a:lnTo>
                    <a:pt x="395" y="688"/>
                  </a:lnTo>
                  <a:lnTo>
                    <a:pt x="386" y="696"/>
                  </a:lnTo>
                  <a:lnTo>
                    <a:pt x="374" y="708"/>
                  </a:lnTo>
                  <a:lnTo>
                    <a:pt x="361" y="721"/>
                  </a:lnTo>
                  <a:lnTo>
                    <a:pt x="345" y="737"/>
                  </a:lnTo>
                  <a:lnTo>
                    <a:pt x="326" y="756"/>
                  </a:lnTo>
                  <a:lnTo>
                    <a:pt x="303" y="779"/>
                  </a:lnTo>
                  <a:lnTo>
                    <a:pt x="277" y="805"/>
                  </a:lnTo>
                  <a:lnTo>
                    <a:pt x="208" y="736"/>
                  </a:lnTo>
                  <a:lnTo>
                    <a:pt x="138" y="671"/>
                  </a:lnTo>
                  <a:lnTo>
                    <a:pt x="68" y="607"/>
                  </a:lnTo>
                  <a:lnTo>
                    <a:pt x="0" y="539"/>
                  </a:lnTo>
                  <a:lnTo>
                    <a:pt x="0" y="538"/>
                  </a:lnTo>
                  <a:lnTo>
                    <a:pt x="1" y="537"/>
                  </a:lnTo>
                  <a:lnTo>
                    <a:pt x="2" y="535"/>
                  </a:lnTo>
                  <a:lnTo>
                    <a:pt x="3" y="533"/>
                  </a:lnTo>
                  <a:lnTo>
                    <a:pt x="37" y="499"/>
                  </a:lnTo>
                  <a:lnTo>
                    <a:pt x="66" y="472"/>
                  </a:lnTo>
                  <a:lnTo>
                    <a:pt x="92" y="446"/>
                  </a:lnTo>
                  <a:lnTo>
                    <a:pt x="114" y="423"/>
                  </a:lnTo>
                  <a:lnTo>
                    <a:pt x="135" y="403"/>
                  </a:lnTo>
                  <a:lnTo>
                    <a:pt x="152" y="385"/>
                  </a:lnTo>
                  <a:lnTo>
                    <a:pt x="169" y="369"/>
                  </a:lnTo>
                  <a:lnTo>
                    <a:pt x="183" y="355"/>
                  </a:lnTo>
                  <a:lnTo>
                    <a:pt x="197" y="341"/>
                  </a:lnTo>
                  <a:lnTo>
                    <a:pt x="210" y="328"/>
                  </a:lnTo>
                  <a:lnTo>
                    <a:pt x="223" y="315"/>
                  </a:lnTo>
                  <a:lnTo>
                    <a:pt x="236" y="303"/>
                  </a:lnTo>
                  <a:lnTo>
                    <a:pt x="248" y="291"/>
                  </a:lnTo>
                  <a:lnTo>
                    <a:pt x="262" y="277"/>
                  </a:lnTo>
                  <a:lnTo>
                    <a:pt x="277" y="263"/>
                  </a:lnTo>
                  <a:lnTo>
                    <a:pt x="294" y="247"/>
                  </a:lnTo>
                  <a:lnTo>
                    <a:pt x="312" y="228"/>
                  </a:lnTo>
                  <a:lnTo>
                    <a:pt x="332" y="209"/>
                  </a:lnTo>
                  <a:lnTo>
                    <a:pt x="356" y="187"/>
                  </a:lnTo>
                  <a:lnTo>
                    <a:pt x="382" y="161"/>
                  </a:lnTo>
                  <a:lnTo>
                    <a:pt x="411" y="133"/>
                  </a:lnTo>
                  <a:lnTo>
                    <a:pt x="443" y="101"/>
                  </a:lnTo>
                  <a:lnTo>
                    <a:pt x="473" y="75"/>
                  </a:lnTo>
                  <a:lnTo>
                    <a:pt x="505" y="52"/>
                  </a:lnTo>
                  <a:lnTo>
                    <a:pt x="540" y="31"/>
                  </a:lnTo>
                  <a:lnTo>
                    <a:pt x="574" y="14"/>
                  </a:lnTo>
                  <a:lnTo>
                    <a:pt x="602" y="4"/>
                  </a:lnTo>
                  <a:lnTo>
                    <a:pt x="630" y="0"/>
                  </a:lnTo>
                  <a:lnTo>
                    <a:pt x="657" y="1"/>
                  </a:lnTo>
                  <a:lnTo>
                    <a:pt x="684" y="9"/>
                  </a:lnTo>
                  <a:lnTo>
                    <a:pt x="709" y="22"/>
                  </a:lnTo>
                  <a:lnTo>
                    <a:pt x="734" y="39"/>
                  </a:lnTo>
                  <a:lnTo>
                    <a:pt x="759" y="60"/>
                  </a:lnTo>
                  <a:lnTo>
                    <a:pt x="780" y="84"/>
                  </a:lnTo>
                  <a:lnTo>
                    <a:pt x="796" y="108"/>
                  </a:lnTo>
                  <a:lnTo>
                    <a:pt x="808" y="134"/>
                  </a:lnTo>
                  <a:lnTo>
                    <a:pt x="815" y="161"/>
                  </a:lnTo>
                  <a:lnTo>
                    <a:pt x="816" y="188"/>
                  </a:lnTo>
                  <a:lnTo>
                    <a:pt x="810" y="217"/>
                  </a:lnTo>
                  <a:lnTo>
                    <a:pt x="798" y="246"/>
                  </a:lnTo>
                  <a:lnTo>
                    <a:pt x="773" y="283"/>
                  </a:lnTo>
                  <a:lnTo>
                    <a:pt x="746" y="319"/>
                  </a:lnTo>
                  <a:lnTo>
                    <a:pt x="717" y="354"/>
                  </a:lnTo>
                  <a:lnTo>
                    <a:pt x="689" y="389"/>
                  </a:lnTo>
                  <a:lnTo>
                    <a:pt x="681" y="398"/>
                  </a:lnTo>
                  <a:lnTo>
                    <a:pt x="674" y="407"/>
                  </a:lnTo>
                  <a:lnTo>
                    <a:pt x="656" y="424"/>
                  </a:lnTo>
                  <a:lnTo>
                    <a:pt x="563" y="52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4"/>
            <p:cNvSpPr>
              <a:spLocks/>
            </p:cNvSpPr>
            <p:nvPr/>
          </p:nvSpPr>
          <p:spPr bwMode="auto">
            <a:xfrm>
              <a:off x="-89" y="2158"/>
              <a:ext cx="69" cy="70"/>
            </a:xfrm>
            <a:custGeom>
              <a:avLst/>
              <a:gdLst>
                <a:gd name="T0" fmla="*/ 606 w 629"/>
                <a:gd name="T1" fmla="*/ 105 h 630"/>
                <a:gd name="T2" fmla="*/ 517 w 629"/>
                <a:gd name="T3" fmla="*/ 196 h 630"/>
                <a:gd name="T4" fmla="*/ 427 w 629"/>
                <a:gd name="T5" fmla="*/ 286 h 630"/>
                <a:gd name="T6" fmla="*/ 106 w 629"/>
                <a:gd name="T7" fmla="*/ 605 h 630"/>
                <a:gd name="T8" fmla="*/ 94 w 629"/>
                <a:gd name="T9" fmla="*/ 618 h 630"/>
                <a:gd name="T10" fmla="*/ 78 w 629"/>
                <a:gd name="T11" fmla="*/ 625 h 630"/>
                <a:gd name="T12" fmla="*/ 63 w 629"/>
                <a:gd name="T13" fmla="*/ 630 h 630"/>
                <a:gd name="T14" fmla="*/ 47 w 629"/>
                <a:gd name="T15" fmla="*/ 630 h 630"/>
                <a:gd name="T16" fmla="*/ 30 w 629"/>
                <a:gd name="T17" fmla="*/ 622 h 630"/>
                <a:gd name="T18" fmla="*/ 16 w 629"/>
                <a:gd name="T19" fmla="*/ 613 h 630"/>
                <a:gd name="T20" fmla="*/ 6 w 629"/>
                <a:gd name="T21" fmla="*/ 601 h 630"/>
                <a:gd name="T22" fmla="*/ 1 w 629"/>
                <a:gd name="T23" fmla="*/ 588 h 630"/>
                <a:gd name="T24" fmla="*/ 0 w 629"/>
                <a:gd name="T25" fmla="*/ 573 h 630"/>
                <a:gd name="T26" fmla="*/ 3 w 629"/>
                <a:gd name="T27" fmla="*/ 557 h 630"/>
                <a:gd name="T28" fmla="*/ 10 w 629"/>
                <a:gd name="T29" fmla="*/ 543 h 630"/>
                <a:gd name="T30" fmla="*/ 20 w 629"/>
                <a:gd name="T31" fmla="*/ 530 h 630"/>
                <a:gd name="T32" fmla="*/ 32 w 629"/>
                <a:gd name="T33" fmla="*/ 517 h 630"/>
                <a:gd name="T34" fmla="*/ 48 w 629"/>
                <a:gd name="T35" fmla="*/ 501 h 630"/>
                <a:gd name="T36" fmla="*/ 68 w 629"/>
                <a:gd name="T37" fmla="*/ 482 h 630"/>
                <a:gd name="T38" fmla="*/ 88 w 629"/>
                <a:gd name="T39" fmla="*/ 461 h 630"/>
                <a:gd name="T40" fmla="*/ 112 w 629"/>
                <a:gd name="T41" fmla="*/ 438 h 630"/>
                <a:gd name="T42" fmla="*/ 136 w 629"/>
                <a:gd name="T43" fmla="*/ 413 h 630"/>
                <a:gd name="T44" fmla="*/ 162 w 629"/>
                <a:gd name="T45" fmla="*/ 387 h 630"/>
                <a:gd name="T46" fmla="*/ 189 w 629"/>
                <a:gd name="T47" fmla="*/ 360 h 630"/>
                <a:gd name="T48" fmla="*/ 217 w 629"/>
                <a:gd name="T49" fmla="*/ 332 h 630"/>
                <a:gd name="T50" fmla="*/ 246 w 629"/>
                <a:gd name="T51" fmla="*/ 303 h 630"/>
                <a:gd name="T52" fmla="*/ 275 w 629"/>
                <a:gd name="T53" fmla="*/ 274 h 630"/>
                <a:gd name="T54" fmla="*/ 303 w 629"/>
                <a:gd name="T55" fmla="*/ 246 h 630"/>
                <a:gd name="T56" fmla="*/ 331 w 629"/>
                <a:gd name="T57" fmla="*/ 217 h 630"/>
                <a:gd name="T58" fmla="*/ 359 w 629"/>
                <a:gd name="T59" fmla="*/ 191 h 630"/>
                <a:gd name="T60" fmla="*/ 385 w 629"/>
                <a:gd name="T61" fmla="*/ 164 h 630"/>
                <a:gd name="T62" fmla="*/ 409 w 629"/>
                <a:gd name="T63" fmla="*/ 139 h 630"/>
                <a:gd name="T64" fmla="*/ 433 w 629"/>
                <a:gd name="T65" fmla="*/ 116 h 630"/>
                <a:gd name="T66" fmla="*/ 455 w 629"/>
                <a:gd name="T67" fmla="*/ 94 h 630"/>
                <a:gd name="T68" fmla="*/ 474 w 629"/>
                <a:gd name="T69" fmla="*/ 75 h 630"/>
                <a:gd name="T70" fmla="*/ 491 w 629"/>
                <a:gd name="T71" fmla="*/ 59 h 630"/>
                <a:gd name="T72" fmla="*/ 505 w 629"/>
                <a:gd name="T73" fmla="*/ 45 h 630"/>
                <a:gd name="T74" fmla="*/ 516 w 629"/>
                <a:gd name="T75" fmla="*/ 34 h 630"/>
                <a:gd name="T76" fmla="*/ 523 w 629"/>
                <a:gd name="T77" fmla="*/ 27 h 630"/>
                <a:gd name="T78" fmla="*/ 527 w 629"/>
                <a:gd name="T79" fmla="*/ 22 h 630"/>
                <a:gd name="T80" fmla="*/ 546 w 629"/>
                <a:gd name="T81" fmla="*/ 9 h 630"/>
                <a:gd name="T82" fmla="*/ 564 w 629"/>
                <a:gd name="T83" fmla="*/ 1 h 630"/>
                <a:gd name="T84" fmla="*/ 581 w 629"/>
                <a:gd name="T85" fmla="*/ 0 h 630"/>
                <a:gd name="T86" fmla="*/ 599 w 629"/>
                <a:gd name="T87" fmla="*/ 6 h 630"/>
                <a:gd name="T88" fmla="*/ 615 w 629"/>
                <a:gd name="T89" fmla="*/ 19 h 630"/>
                <a:gd name="T90" fmla="*/ 623 w 629"/>
                <a:gd name="T91" fmla="*/ 31 h 630"/>
                <a:gd name="T92" fmla="*/ 629 w 629"/>
                <a:gd name="T93" fmla="*/ 45 h 630"/>
                <a:gd name="T94" fmla="*/ 629 w 629"/>
                <a:gd name="T95" fmla="*/ 60 h 630"/>
                <a:gd name="T96" fmla="*/ 625 w 629"/>
                <a:gd name="T97" fmla="*/ 75 h 630"/>
                <a:gd name="T98" fmla="*/ 618 w 629"/>
                <a:gd name="T99" fmla="*/ 90 h 630"/>
                <a:gd name="T100" fmla="*/ 606 w 629"/>
                <a:gd name="T101" fmla="*/ 105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9" h="630">
                  <a:moveTo>
                    <a:pt x="606" y="105"/>
                  </a:moveTo>
                  <a:lnTo>
                    <a:pt x="517" y="196"/>
                  </a:lnTo>
                  <a:lnTo>
                    <a:pt x="427" y="286"/>
                  </a:lnTo>
                  <a:lnTo>
                    <a:pt x="106" y="605"/>
                  </a:lnTo>
                  <a:lnTo>
                    <a:pt x="94" y="618"/>
                  </a:lnTo>
                  <a:lnTo>
                    <a:pt x="78" y="625"/>
                  </a:lnTo>
                  <a:lnTo>
                    <a:pt x="63" y="630"/>
                  </a:lnTo>
                  <a:lnTo>
                    <a:pt x="47" y="630"/>
                  </a:lnTo>
                  <a:lnTo>
                    <a:pt x="30" y="622"/>
                  </a:lnTo>
                  <a:lnTo>
                    <a:pt x="16" y="613"/>
                  </a:lnTo>
                  <a:lnTo>
                    <a:pt x="6" y="601"/>
                  </a:lnTo>
                  <a:lnTo>
                    <a:pt x="1" y="588"/>
                  </a:lnTo>
                  <a:lnTo>
                    <a:pt x="0" y="573"/>
                  </a:lnTo>
                  <a:lnTo>
                    <a:pt x="3" y="557"/>
                  </a:lnTo>
                  <a:lnTo>
                    <a:pt x="10" y="543"/>
                  </a:lnTo>
                  <a:lnTo>
                    <a:pt x="20" y="530"/>
                  </a:lnTo>
                  <a:lnTo>
                    <a:pt x="32" y="517"/>
                  </a:lnTo>
                  <a:lnTo>
                    <a:pt x="48" y="501"/>
                  </a:lnTo>
                  <a:lnTo>
                    <a:pt x="68" y="482"/>
                  </a:lnTo>
                  <a:lnTo>
                    <a:pt x="88" y="461"/>
                  </a:lnTo>
                  <a:lnTo>
                    <a:pt x="112" y="438"/>
                  </a:lnTo>
                  <a:lnTo>
                    <a:pt x="136" y="413"/>
                  </a:lnTo>
                  <a:lnTo>
                    <a:pt x="162" y="387"/>
                  </a:lnTo>
                  <a:lnTo>
                    <a:pt x="189" y="360"/>
                  </a:lnTo>
                  <a:lnTo>
                    <a:pt x="217" y="332"/>
                  </a:lnTo>
                  <a:lnTo>
                    <a:pt x="246" y="303"/>
                  </a:lnTo>
                  <a:lnTo>
                    <a:pt x="275" y="274"/>
                  </a:lnTo>
                  <a:lnTo>
                    <a:pt x="303" y="246"/>
                  </a:lnTo>
                  <a:lnTo>
                    <a:pt x="331" y="217"/>
                  </a:lnTo>
                  <a:lnTo>
                    <a:pt x="359" y="191"/>
                  </a:lnTo>
                  <a:lnTo>
                    <a:pt x="385" y="164"/>
                  </a:lnTo>
                  <a:lnTo>
                    <a:pt x="409" y="139"/>
                  </a:lnTo>
                  <a:lnTo>
                    <a:pt x="433" y="116"/>
                  </a:lnTo>
                  <a:lnTo>
                    <a:pt x="455" y="94"/>
                  </a:lnTo>
                  <a:lnTo>
                    <a:pt x="474" y="75"/>
                  </a:lnTo>
                  <a:lnTo>
                    <a:pt x="491" y="59"/>
                  </a:lnTo>
                  <a:lnTo>
                    <a:pt x="505" y="45"/>
                  </a:lnTo>
                  <a:lnTo>
                    <a:pt x="516" y="34"/>
                  </a:lnTo>
                  <a:lnTo>
                    <a:pt x="523" y="27"/>
                  </a:lnTo>
                  <a:lnTo>
                    <a:pt x="527" y="22"/>
                  </a:lnTo>
                  <a:lnTo>
                    <a:pt x="546" y="9"/>
                  </a:lnTo>
                  <a:lnTo>
                    <a:pt x="564" y="1"/>
                  </a:lnTo>
                  <a:lnTo>
                    <a:pt x="581" y="0"/>
                  </a:lnTo>
                  <a:lnTo>
                    <a:pt x="599" y="6"/>
                  </a:lnTo>
                  <a:lnTo>
                    <a:pt x="615" y="19"/>
                  </a:lnTo>
                  <a:lnTo>
                    <a:pt x="623" y="31"/>
                  </a:lnTo>
                  <a:lnTo>
                    <a:pt x="629" y="45"/>
                  </a:lnTo>
                  <a:lnTo>
                    <a:pt x="629" y="60"/>
                  </a:lnTo>
                  <a:lnTo>
                    <a:pt x="625" y="75"/>
                  </a:lnTo>
                  <a:lnTo>
                    <a:pt x="618" y="90"/>
                  </a:lnTo>
                  <a:lnTo>
                    <a:pt x="606" y="1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5"/>
            <p:cNvSpPr>
              <a:spLocks/>
            </p:cNvSpPr>
            <p:nvPr/>
          </p:nvSpPr>
          <p:spPr bwMode="auto">
            <a:xfrm>
              <a:off x="-312" y="2031"/>
              <a:ext cx="180" cy="13"/>
            </a:xfrm>
            <a:custGeom>
              <a:avLst/>
              <a:gdLst>
                <a:gd name="T0" fmla="*/ 1615 w 1615"/>
                <a:gd name="T1" fmla="*/ 61 h 123"/>
                <a:gd name="T2" fmla="*/ 1612 w 1615"/>
                <a:gd name="T3" fmla="*/ 81 h 123"/>
                <a:gd name="T4" fmla="*/ 1603 w 1615"/>
                <a:gd name="T5" fmla="*/ 98 h 123"/>
                <a:gd name="T6" fmla="*/ 1590 w 1615"/>
                <a:gd name="T7" fmla="*/ 111 h 123"/>
                <a:gd name="T8" fmla="*/ 1573 w 1615"/>
                <a:gd name="T9" fmla="*/ 120 h 123"/>
                <a:gd name="T10" fmla="*/ 1554 w 1615"/>
                <a:gd name="T11" fmla="*/ 123 h 123"/>
                <a:gd name="T12" fmla="*/ 61 w 1615"/>
                <a:gd name="T13" fmla="*/ 123 h 123"/>
                <a:gd name="T14" fmla="*/ 42 w 1615"/>
                <a:gd name="T15" fmla="*/ 120 h 123"/>
                <a:gd name="T16" fmla="*/ 25 w 1615"/>
                <a:gd name="T17" fmla="*/ 111 h 123"/>
                <a:gd name="T18" fmla="*/ 12 w 1615"/>
                <a:gd name="T19" fmla="*/ 98 h 123"/>
                <a:gd name="T20" fmla="*/ 3 w 1615"/>
                <a:gd name="T21" fmla="*/ 81 h 123"/>
                <a:gd name="T22" fmla="*/ 0 w 1615"/>
                <a:gd name="T23" fmla="*/ 61 h 123"/>
                <a:gd name="T24" fmla="*/ 3 w 1615"/>
                <a:gd name="T25" fmla="*/ 42 h 123"/>
                <a:gd name="T26" fmla="*/ 12 w 1615"/>
                <a:gd name="T27" fmla="*/ 25 h 123"/>
                <a:gd name="T28" fmla="*/ 25 w 1615"/>
                <a:gd name="T29" fmla="*/ 12 h 123"/>
                <a:gd name="T30" fmla="*/ 42 w 1615"/>
                <a:gd name="T31" fmla="*/ 3 h 123"/>
                <a:gd name="T32" fmla="*/ 61 w 1615"/>
                <a:gd name="T33" fmla="*/ 0 h 123"/>
                <a:gd name="T34" fmla="*/ 1554 w 1615"/>
                <a:gd name="T35" fmla="*/ 0 h 123"/>
                <a:gd name="T36" fmla="*/ 1573 w 1615"/>
                <a:gd name="T37" fmla="*/ 3 h 123"/>
                <a:gd name="T38" fmla="*/ 1590 w 1615"/>
                <a:gd name="T39" fmla="*/ 12 h 123"/>
                <a:gd name="T40" fmla="*/ 1603 w 1615"/>
                <a:gd name="T41" fmla="*/ 25 h 123"/>
                <a:gd name="T42" fmla="*/ 1612 w 1615"/>
                <a:gd name="T43" fmla="*/ 42 h 123"/>
                <a:gd name="T44" fmla="*/ 1615 w 1615"/>
                <a:gd name="T45" fmla="*/ 6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3">
                  <a:moveTo>
                    <a:pt x="1615" y="61"/>
                  </a:moveTo>
                  <a:lnTo>
                    <a:pt x="1612" y="81"/>
                  </a:lnTo>
                  <a:lnTo>
                    <a:pt x="1603" y="98"/>
                  </a:lnTo>
                  <a:lnTo>
                    <a:pt x="1590" y="111"/>
                  </a:lnTo>
                  <a:lnTo>
                    <a:pt x="1573" y="120"/>
                  </a:lnTo>
                  <a:lnTo>
                    <a:pt x="1554" y="123"/>
                  </a:lnTo>
                  <a:lnTo>
                    <a:pt x="61" y="123"/>
                  </a:lnTo>
                  <a:lnTo>
                    <a:pt x="42" y="120"/>
                  </a:lnTo>
                  <a:lnTo>
                    <a:pt x="25" y="111"/>
                  </a:lnTo>
                  <a:lnTo>
                    <a:pt x="12" y="98"/>
                  </a:lnTo>
                  <a:lnTo>
                    <a:pt x="3" y="81"/>
                  </a:lnTo>
                  <a:lnTo>
                    <a:pt x="0" y="61"/>
                  </a:lnTo>
                  <a:lnTo>
                    <a:pt x="3" y="42"/>
                  </a:lnTo>
                  <a:lnTo>
                    <a:pt x="12" y="25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3"/>
                  </a:lnTo>
                  <a:lnTo>
                    <a:pt x="1590" y="12"/>
                  </a:lnTo>
                  <a:lnTo>
                    <a:pt x="1603" y="25"/>
                  </a:lnTo>
                  <a:lnTo>
                    <a:pt x="1612" y="42"/>
                  </a:lnTo>
                  <a:lnTo>
                    <a:pt x="161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6"/>
            <p:cNvSpPr>
              <a:spLocks/>
            </p:cNvSpPr>
            <p:nvPr/>
          </p:nvSpPr>
          <p:spPr bwMode="auto">
            <a:xfrm>
              <a:off x="-312" y="2092"/>
              <a:ext cx="180" cy="14"/>
            </a:xfrm>
            <a:custGeom>
              <a:avLst/>
              <a:gdLst>
                <a:gd name="T0" fmla="*/ 1615 w 1615"/>
                <a:gd name="T1" fmla="*/ 63 h 124"/>
                <a:gd name="T2" fmla="*/ 1612 w 1615"/>
                <a:gd name="T3" fmla="*/ 82 h 124"/>
                <a:gd name="T4" fmla="*/ 1603 w 1615"/>
                <a:gd name="T5" fmla="*/ 99 h 124"/>
                <a:gd name="T6" fmla="*/ 1590 w 1615"/>
                <a:gd name="T7" fmla="*/ 112 h 124"/>
                <a:gd name="T8" fmla="*/ 1573 w 1615"/>
                <a:gd name="T9" fmla="*/ 120 h 124"/>
                <a:gd name="T10" fmla="*/ 1554 w 1615"/>
                <a:gd name="T11" fmla="*/ 124 h 124"/>
                <a:gd name="T12" fmla="*/ 61 w 1615"/>
                <a:gd name="T13" fmla="*/ 124 h 124"/>
                <a:gd name="T14" fmla="*/ 42 w 1615"/>
                <a:gd name="T15" fmla="*/ 120 h 124"/>
                <a:gd name="T16" fmla="*/ 25 w 1615"/>
                <a:gd name="T17" fmla="*/ 112 h 124"/>
                <a:gd name="T18" fmla="*/ 12 w 1615"/>
                <a:gd name="T19" fmla="*/ 99 h 124"/>
                <a:gd name="T20" fmla="*/ 3 w 1615"/>
                <a:gd name="T21" fmla="*/ 82 h 124"/>
                <a:gd name="T22" fmla="*/ 0 w 1615"/>
                <a:gd name="T23" fmla="*/ 63 h 124"/>
                <a:gd name="T24" fmla="*/ 3 w 1615"/>
                <a:gd name="T25" fmla="*/ 43 h 124"/>
                <a:gd name="T26" fmla="*/ 12 w 1615"/>
                <a:gd name="T27" fmla="*/ 26 h 124"/>
                <a:gd name="T28" fmla="*/ 25 w 1615"/>
                <a:gd name="T29" fmla="*/ 12 h 124"/>
                <a:gd name="T30" fmla="*/ 42 w 1615"/>
                <a:gd name="T31" fmla="*/ 4 h 124"/>
                <a:gd name="T32" fmla="*/ 61 w 1615"/>
                <a:gd name="T33" fmla="*/ 0 h 124"/>
                <a:gd name="T34" fmla="*/ 1554 w 1615"/>
                <a:gd name="T35" fmla="*/ 0 h 124"/>
                <a:gd name="T36" fmla="*/ 1573 w 1615"/>
                <a:gd name="T37" fmla="*/ 4 h 124"/>
                <a:gd name="T38" fmla="*/ 1590 w 1615"/>
                <a:gd name="T39" fmla="*/ 12 h 124"/>
                <a:gd name="T40" fmla="*/ 1603 w 1615"/>
                <a:gd name="T41" fmla="*/ 26 h 124"/>
                <a:gd name="T42" fmla="*/ 1612 w 1615"/>
                <a:gd name="T43" fmla="*/ 43 h 124"/>
                <a:gd name="T44" fmla="*/ 1615 w 1615"/>
                <a:gd name="T45" fmla="*/ 6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4">
                  <a:moveTo>
                    <a:pt x="1615" y="63"/>
                  </a:moveTo>
                  <a:lnTo>
                    <a:pt x="1612" y="82"/>
                  </a:lnTo>
                  <a:lnTo>
                    <a:pt x="1603" y="99"/>
                  </a:lnTo>
                  <a:lnTo>
                    <a:pt x="1590" y="112"/>
                  </a:lnTo>
                  <a:lnTo>
                    <a:pt x="1573" y="120"/>
                  </a:lnTo>
                  <a:lnTo>
                    <a:pt x="1554" y="124"/>
                  </a:lnTo>
                  <a:lnTo>
                    <a:pt x="61" y="124"/>
                  </a:lnTo>
                  <a:lnTo>
                    <a:pt x="42" y="120"/>
                  </a:lnTo>
                  <a:lnTo>
                    <a:pt x="25" y="112"/>
                  </a:lnTo>
                  <a:lnTo>
                    <a:pt x="12" y="99"/>
                  </a:lnTo>
                  <a:lnTo>
                    <a:pt x="3" y="82"/>
                  </a:lnTo>
                  <a:lnTo>
                    <a:pt x="0" y="63"/>
                  </a:lnTo>
                  <a:lnTo>
                    <a:pt x="3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4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4"/>
                  </a:lnTo>
                  <a:lnTo>
                    <a:pt x="1590" y="12"/>
                  </a:lnTo>
                  <a:lnTo>
                    <a:pt x="1603" y="26"/>
                  </a:lnTo>
                  <a:lnTo>
                    <a:pt x="1612" y="43"/>
                  </a:lnTo>
                  <a:lnTo>
                    <a:pt x="1615" y="6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7"/>
            <p:cNvSpPr>
              <a:spLocks/>
            </p:cNvSpPr>
            <p:nvPr/>
          </p:nvSpPr>
          <p:spPr bwMode="auto">
            <a:xfrm>
              <a:off x="-312" y="2153"/>
              <a:ext cx="179" cy="14"/>
            </a:xfrm>
            <a:custGeom>
              <a:avLst/>
              <a:gdLst>
                <a:gd name="T0" fmla="*/ 1614 w 1614"/>
                <a:gd name="T1" fmla="*/ 49 h 124"/>
                <a:gd name="T2" fmla="*/ 1540 w 1614"/>
                <a:gd name="T3" fmla="*/ 124 h 124"/>
                <a:gd name="T4" fmla="*/ 61 w 1614"/>
                <a:gd name="T5" fmla="*/ 124 h 124"/>
                <a:gd name="T6" fmla="*/ 42 w 1614"/>
                <a:gd name="T7" fmla="*/ 121 h 124"/>
                <a:gd name="T8" fmla="*/ 25 w 1614"/>
                <a:gd name="T9" fmla="*/ 112 h 124"/>
                <a:gd name="T10" fmla="*/ 12 w 1614"/>
                <a:gd name="T11" fmla="*/ 98 h 124"/>
                <a:gd name="T12" fmla="*/ 2 w 1614"/>
                <a:gd name="T13" fmla="*/ 81 h 124"/>
                <a:gd name="T14" fmla="*/ 0 w 1614"/>
                <a:gd name="T15" fmla="*/ 62 h 124"/>
                <a:gd name="T16" fmla="*/ 2 w 1614"/>
                <a:gd name="T17" fmla="*/ 43 h 124"/>
                <a:gd name="T18" fmla="*/ 12 w 1614"/>
                <a:gd name="T19" fmla="*/ 26 h 124"/>
                <a:gd name="T20" fmla="*/ 25 w 1614"/>
                <a:gd name="T21" fmla="*/ 12 h 124"/>
                <a:gd name="T22" fmla="*/ 42 w 1614"/>
                <a:gd name="T23" fmla="*/ 3 h 124"/>
                <a:gd name="T24" fmla="*/ 61 w 1614"/>
                <a:gd name="T25" fmla="*/ 0 h 124"/>
                <a:gd name="T26" fmla="*/ 1554 w 1614"/>
                <a:gd name="T27" fmla="*/ 0 h 124"/>
                <a:gd name="T28" fmla="*/ 1571 w 1614"/>
                <a:gd name="T29" fmla="*/ 3 h 124"/>
                <a:gd name="T30" fmla="*/ 1586 w 1614"/>
                <a:gd name="T31" fmla="*/ 10 h 124"/>
                <a:gd name="T32" fmla="*/ 1599 w 1614"/>
                <a:gd name="T33" fmla="*/ 20 h 124"/>
                <a:gd name="T34" fmla="*/ 1609 w 1614"/>
                <a:gd name="T35" fmla="*/ 33 h 124"/>
                <a:gd name="T36" fmla="*/ 1614 w 1614"/>
                <a:gd name="T37" fmla="*/ 49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14" h="124">
                  <a:moveTo>
                    <a:pt x="1614" y="49"/>
                  </a:moveTo>
                  <a:lnTo>
                    <a:pt x="1540" y="124"/>
                  </a:lnTo>
                  <a:lnTo>
                    <a:pt x="61" y="124"/>
                  </a:lnTo>
                  <a:lnTo>
                    <a:pt x="42" y="121"/>
                  </a:lnTo>
                  <a:lnTo>
                    <a:pt x="25" y="112"/>
                  </a:lnTo>
                  <a:lnTo>
                    <a:pt x="12" y="98"/>
                  </a:lnTo>
                  <a:lnTo>
                    <a:pt x="2" y="81"/>
                  </a:lnTo>
                  <a:lnTo>
                    <a:pt x="0" y="62"/>
                  </a:lnTo>
                  <a:lnTo>
                    <a:pt x="2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1" y="3"/>
                  </a:lnTo>
                  <a:lnTo>
                    <a:pt x="1586" y="10"/>
                  </a:lnTo>
                  <a:lnTo>
                    <a:pt x="1599" y="20"/>
                  </a:lnTo>
                  <a:lnTo>
                    <a:pt x="1609" y="33"/>
                  </a:lnTo>
                  <a:lnTo>
                    <a:pt x="1614" y="4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8"/>
            <p:cNvSpPr>
              <a:spLocks/>
            </p:cNvSpPr>
            <p:nvPr/>
          </p:nvSpPr>
          <p:spPr bwMode="auto">
            <a:xfrm>
              <a:off x="-224" y="2177"/>
              <a:ext cx="129" cy="132"/>
            </a:xfrm>
            <a:custGeom>
              <a:avLst/>
              <a:gdLst>
                <a:gd name="T0" fmla="*/ 1155 w 1157"/>
                <a:gd name="T1" fmla="*/ 280 h 1183"/>
                <a:gd name="T2" fmla="*/ 1140 w 1157"/>
                <a:gd name="T3" fmla="*/ 296 h 1183"/>
                <a:gd name="T4" fmla="*/ 1111 w 1157"/>
                <a:gd name="T5" fmla="*/ 325 h 1183"/>
                <a:gd name="T6" fmla="*/ 1070 w 1157"/>
                <a:gd name="T7" fmla="*/ 367 h 1183"/>
                <a:gd name="T8" fmla="*/ 1020 w 1157"/>
                <a:gd name="T9" fmla="*/ 417 h 1183"/>
                <a:gd name="T10" fmla="*/ 963 w 1157"/>
                <a:gd name="T11" fmla="*/ 475 h 1183"/>
                <a:gd name="T12" fmla="*/ 899 w 1157"/>
                <a:gd name="T13" fmla="*/ 537 h 1183"/>
                <a:gd name="T14" fmla="*/ 833 w 1157"/>
                <a:gd name="T15" fmla="*/ 603 h 1183"/>
                <a:gd name="T16" fmla="*/ 765 w 1157"/>
                <a:gd name="T17" fmla="*/ 670 h 1183"/>
                <a:gd name="T18" fmla="*/ 697 w 1157"/>
                <a:gd name="T19" fmla="*/ 736 h 1183"/>
                <a:gd name="T20" fmla="*/ 633 w 1157"/>
                <a:gd name="T21" fmla="*/ 798 h 1183"/>
                <a:gd name="T22" fmla="*/ 573 w 1157"/>
                <a:gd name="T23" fmla="*/ 855 h 1183"/>
                <a:gd name="T24" fmla="*/ 520 w 1157"/>
                <a:gd name="T25" fmla="*/ 904 h 1183"/>
                <a:gd name="T26" fmla="*/ 475 w 1157"/>
                <a:gd name="T27" fmla="*/ 945 h 1183"/>
                <a:gd name="T28" fmla="*/ 442 w 1157"/>
                <a:gd name="T29" fmla="*/ 973 h 1183"/>
                <a:gd name="T30" fmla="*/ 427 w 1157"/>
                <a:gd name="T31" fmla="*/ 983 h 1183"/>
                <a:gd name="T32" fmla="*/ 409 w 1157"/>
                <a:gd name="T33" fmla="*/ 995 h 1183"/>
                <a:gd name="T34" fmla="*/ 378 w 1157"/>
                <a:gd name="T35" fmla="*/ 1017 h 1183"/>
                <a:gd name="T36" fmla="*/ 336 w 1157"/>
                <a:gd name="T37" fmla="*/ 1042 h 1183"/>
                <a:gd name="T38" fmla="*/ 287 w 1157"/>
                <a:gd name="T39" fmla="*/ 1071 h 1183"/>
                <a:gd name="T40" fmla="*/ 234 w 1157"/>
                <a:gd name="T41" fmla="*/ 1099 h 1183"/>
                <a:gd name="T42" fmla="*/ 181 w 1157"/>
                <a:gd name="T43" fmla="*/ 1123 h 1183"/>
                <a:gd name="T44" fmla="*/ 129 w 1157"/>
                <a:gd name="T45" fmla="*/ 1139 h 1183"/>
                <a:gd name="T46" fmla="*/ 84 w 1157"/>
                <a:gd name="T47" fmla="*/ 1143 h 1183"/>
                <a:gd name="T48" fmla="*/ 78 w 1157"/>
                <a:gd name="T49" fmla="*/ 1144 h 1183"/>
                <a:gd name="T50" fmla="*/ 47 w 1157"/>
                <a:gd name="T51" fmla="*/ 1174 h 1183"/>
                <a:gd name="T52" fmla="*/ 27 w 1157"/>
                <a:gd name="T53" fmla="*/ 1183 h 1183"/>
                <a:gd name="T54" fmla="*/ 9 w 1157"/>
                <a:gd name="T55" fmla="*/ 1176 h 1183"/>
                <a:gd name="T56" fmla="*/ 0 w 1157"/>
                <a:gd name="T57" fmla="*/ 1157 h 1183"/>
                <a:gd name="T58" fmla="*/ 6 w 1157"/>
                <a:gd name="T59" fmla="*/ 1137 h 1183"/>
                <a:gd name="T60" fmla="*/ 29 w 1157"/>
                <a:gd name="T61" fmla="*/ 1091 h 1183"/>
                <a:gd name="T62" fmla="*/ 32 w 1157"/>
                <a:gd name="T63" fmla="*/ 1046 h 1183"/>
                <a:gd name="T64" fmla="*/ 46 w 1157"/>
                <a:gd name="T65" fmla="*/ 994 h 1183"/>
                <a:gd name="T66" fmla="*/ 68 w 1157"/>
                <a:gd name="T67" fmla="*/ 941 h 1183"/>
                <a:gd name="T68" fmla="*/ 93 w 1157"/>
                <a:gd name="T69" fmla="*/ 886 h 1183"/>
                <a:gd name="T70" fmla="*/ 120 w 1157"/>
                <a:gd name="T71" fmla="*/ 837 h 1183"/>
                <a:gd name="T72" fmla="*/ 146 w 1157"/>
                <a:gd name="T73" fmla="*/ 794 h 1183"/>
                <a:gd name="T74" fmla="*/ 167 w 1157"/>
                <a:gd name="T75" fmla="*/ 762 h 1183"/>
                <a:gd name="T76" fmla="*/ 177 w 1157"/>
                <a:gd name="T77" fmla="*/ 745 h 1183"/>
                <a:gd name="T78" fmla="*/ 188 w 1157"/>
                <a:gd name="T79" fmla="*/ 730 h 1183"/>
                <a:gd name="T80" fmla="*/ 215 w 1157"/>
                <a:gd name="T81" fmla="*/ 695 h 1183"/>
                <a:gd name="T82" fmla="*/ 254 w 1157"/>
                <a:gd name="T83" fmla="*/ 650 h 1183"/>
                <a:gd name="T84" fmla="*/ 302 w 1157"/>
                <a:gd name="T85" fmla="*/ 596 h 1183"/>
                <a:gd name="T86" fmla="*/ 358 w 1157"/>
                <a:gd name="T87" fmla="*/ 535 h 1183"/>
                <a:gd name="T88" fmla="*/ 419 w 1157"/>
                <a:gd name="T89" fmla="*/ 469 h 1183"/>
                <a:gd name="T90" fmla="*/ 484 w 1157"/>
                <a:gd name="T91" fmla="*/ 400 h 1183"/>
                <a:gd name="T92" fmla="*/ 549 w 1157"/>
                <a:gd name="T93" fmla="*/ 331 h 1183"/>
                <a:gd name="T94" fmla="*/ 614 w 1157"/>
                <a:gd name="T95" fmla="*/ 264 h 1183"/>
                <a:gd name="T96" fmla="*/ 675 w 1157"/>
                <a:gd name="T97" fmla="*/ 199 h 1183"/>
                <a:gd name="T98" fmla="*/ 732 w 1157"/>
                <a:gd name="T99" fmla="*/ 141 h 1183"/>
                <a:gd name="T100" fmla="*/ 781 w 1157"/>
                <a:gd name="T101" fmla="*/ 89 h 1183"/>
                <a:gd name="T102" fmla="*/ 821 w 1157"/>
                <a:gd name="T103" fmla="*/ 47 h 1183"/>
                <a:gd name="T104" fmla="*/ 850 w 1157"/>
                <a:gd name="T105" fmla="*/ 18 h 1183"/>
                <a:gd name="T106" fmla="*/ 865 w 1157"/>
                <a:gd name="T107" fmla="*/ 2 h 1183"/>
                <a:gd name="T108" fmla="*/ 1012 w 1157"/>
                <a:gd name="T109" fmla="*/ 137 h 1183"/>
                <a:gd name="T110" fmla="*/ 1020 w 1157"/>
                <a:gd name="T111" fmla="*/ 145 h 1183"/>
                <a:gd name="T112" fmla="*/ 1039 w 1157"/>
                <a:gd name="T113" fmla="*/ 162 h 1183"/>
                <a:gd name="T114" fmla="*/ 1064 w 1157"/>
                <a:gd name="T115" fmla="*/ 187 h 1183"/>
                <a:gd name="T116" fmla="*/ 1093 w 1157"/>
                <a:gd name="T117" fmla="*/ 214 h 1183"/>
                <a:gd name="T118" fmla="*/ 1121 w 1157"/>
                <a:gd name="T119" fmla="*/ 241 h 1183"/>
                <a:gd name="T120" fmla="*/ 1142 w 1157"/>
                <a:gd name="T121" fmla="*/ 264 h 1183"/>
                <a:gd name="T122" fmla="*/ 1155 w 1157"/>
                <a:gd name="T123" fmla="*/ 277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57" h="1183">
                  <a:moveTo>
                    <a:pt x="1157" y="278"/>
                  </a:moveTo>
                  <a:lnTo>
                    <a:pt x="1155" y="280"/>
                  </a:lnTo>
                  <a:lnTo>
                    <a:pt x="1150" y="286"/>
                  </a:lnTo>
                  <a:lnTo>
                    <a:pt x="1140" y="296"/>
                  </a:lnTo>
                  <a:lnTo>
                    <a:pt x="1127" y="309"/>
                  </a:lnTo>
                  <a:lnTo>
                    <a:pt x="1111" y="325"/>
                  </a:lnTo>
                  <a:lnTo>
                    <a:pt x="1092" y="344"/>
                  </a:lnTo>
                  <a:lnTo>
                    <a:pt x="1070" y="367"/>
                  </a:lnTo>
                  <a:lnTo>
                    <a:pt x="1047" y="390"/>
                  </a:lnTo>
                  <a:lnTo>
                    <a:pt x="1020" y="417"/>
                  </a:lnTo>
                  <a:lnTo>
                    <a:pt x="992" y="445"/>
                  </a:lnTo>
                  <a:lnTo>
                    <a:pt x="963" y="475"/>
                  </a:lnTo>
                  <a:lnTo>
                    <a:pt x="932" y="505"/>
                  </a:lnTo>
                  <a:lnTo>
                    <a:pt x="899" y="537"/>
                  </a:lnTo>
                  <a:lnTo>
                    <a:pt x="866" y="570"/>
                  </a:lnTo>
                  <a:lnTo>
                    <a:pt x="833" y="603"/>
                  </a:lnTo>
                  <a:lnTo>
                    <a:pt x="799" y="636"/>
                  </a:lnTo>
                  <a:lnTo>
                    <a:pt x="765" y="670"/>
                  </a:lnTo>
                  <a:lnTo>
                    <a:pt x="731" y="703"/>
                  </a:lnTo>
                  <a:lnTo>
                    <a:pt x="697" y="736"/>
                  </a:lnTo>
                  <a:lnTo>
                    <a:pt x="665" y="767"/>
                  </a:lnTo>
                  <a:lnTo>
                    <a:pt x="633" y="798"/>
                  </a:lnTo>
                  <a:lnTo>
                    <a:pt x="603" y="827"/>
                  </a:lnTo>
                  <a:lnTo>
                    <a:pt x="573" y="855"/>
                  </a:lnTo>
                  <a:lnTo>
                    <a:pt x="546" y="881"/>
                  </a:lnTo>
                  <a:lnTo>
                    <a:pt x="520" y="904"/>
                  </a:lnTo>
                  <a:lnTo>
                    <a:pt x="496" y="926"/>
                  </a:lnTo>
                  <a:lnTo>
                    <a:pt x="475" y="945"/>
                  </a:lnTo>
                  <a:lnTo>
                    <a:pt x="457" y="960"/>
                  </a:lnTo>
                  <a:lnTo>
                    <a:pt x="442" y="973"/>
                  </a:lnTo>
                  <a:lnTo>
                    <a:pt x="429" y="981"/>
                  </a:lnTo>
                  <a:lnTo>
                    <a:pt x="427" y="983"/>
                  </a:lnTo>
                  <a:lnTo>
                    <a:pt x="420" y="988"/>
                  </a:lnTo>
                  <a:lnTo>
                    <a:pt x="409" y="995"/>
                  </a:lnTo>
                  <a:lnTo>
                    <a:pt x="395" y="1005"/>
                  </a:lnTo>
                  <a:lnTo>
                    <a:pt x="378" y="1017"/>
                  </a:lnTo>
                  <a:lnTo>
                    <a:pt x="359" y="1029"/>
                  </a:lnTo>
                  <a:lnTo>
                    <a:pt x="336" y="1042"/>
                  </a:lnTo>
                  <a:lnTo>
                    <a:pt x="313" y="1057"/>
                  </a:lnTo>
                  <a:lnTo>
                    <a:pt x="287" y="1071"/>
                  </a:lnTo>
                  <a:lnTo>
                    <a:pt x="261" y="1086"/>
                  </a:lnTo>
                  <a:lnTo>
                    <a:pt x="234" y="1099"/>
                  </a:lnTo>
                  <a:lnTo>
                    <a:pt x="207" y="1112"/>
                  </a:lnTo>
                  <a:lnTo>
                    <a:pt x="181" y="1123"/>
                  </a:lnTo>
                  <a:lnTo>
                    <a:pt x="155" y="1131"/>
                  </a:lnTo>
                  <a:lnTo>
                    <a:pt x="129" y="1139"/>
                  </a:lnTo>
                  <a:lnTo>
                    <a:pt x="105" y="1142"/>
                  </a:lnTo>
                  <a:lnTo>
                    <a:pt x="84" y="1143"/>
                  </a:lnTo>
                  <a:lnTo>
                    <a:pt x="82" y="1144"/>
                  </a:lnTo>
                  <a:lnTo>
                    <a:pt x="78" y="1144"/>
                  </a:lnTo>
                  <a:lnTo>
                    <a:pt x="76" y="1144"/>
                  </a:lnTo>
                  <a:lnTo>
                    <a:pt x="47" y="1174"/>
                  </a:lnTo>
                  <a:lnTo>
                    <a:pt x="38" y="1180"/>
                  </a:lnTo>
                  <a:lnTo>
                    <a:pt x="27" y="1183"/>
                  </a:lnTo>
                  <a:lnTo>
                    <a:pt x="17" y="1182"/>
                  </a:lnTo>
                  <a:lnTo>
                    <a:pt x="9" y="1176"/>
                  </a:lnTo>
                  <a:lnTo>
                    <a:pt x="2" y="1167"/>
                  </a:lnTo>
                  <a:lnTo>
                    <a:pt x="0" y="1157"/>
                  </a:lnTo>
                  <a:lnTo>
                    <a:pt x="1" y="1146"/>
                  </a:lnTo>
                  <a:lnTo>
                    <a:pt x="6" y="1137"/>
                  </a:lnTo>
                  <a:lnTo>
                    <a:pt x="33" y="1109"/>
                  </a:lnTo>
                  <a:lnTo>
                    <a:pt x="29" y="1091"/>
                  </a:lnTo>
                  <a:lnTo>
                    <a:pt x="29" y="1069"/>
                  </a:lnTo>
                  <a:lnTo>
                    <a:pt x="32" y="1046"/>
                  </a:lnTo>
                  <a:lnTo>
                    <a:pt x="38" y="1021"/>
                  </a:lnTo>
                  <a:lnTo>
                    <a:pt x="46" y="994"/>
                  </a:lnTo>
                  <a:lnTo>
                    <a:pt x="56" y="967"/>
                  </a:lnTo>
                  <a:lnTo>
                    <a:pt x="68" y="941"/>
                  </a:lnTo>
                  <a:lnTo>
                    <a:pt x="81" y="913"/>
                  </a:lnTo>
                  <a:lnTo>
                    <a:pt x="93" y="886"/>
                  </a:lnTo>
                  <a:lnTo>
                    <a:pt x="107" y="860"/>
                  </a:lnTo>
                  <a:lnTo>
                    <a:pt x="120" y="837"/>
                  </a:lnTo>
                  <a:lnTo>
                    <a:pt x="134" y="814"/>
                  </a:lnTo>
                  <a:lnTo>
                    <a:pt x="146" y="794"/>
                  </a:lnTo>
                  <a:lnTo>
                    <a:pt x="157" y="777"/>
                  </a:lnTo>
                  <a:lnTo>
                    <a:pt x="167" y="762"/>
                  </a:lnTo>
                  <a:lnTo>
                    <a:pt x="173" y="751"/>
                  </a:lnTo>
                  <a:lnTo>
                    <a:pt x="177" y="745"/>
                  </a:lnTo>
                  <a:lnTo>
                    <a:pt x="179" y="742"/>
                  </a:lnTo>
                  <a:lnTo>
                    <a:pt x="188" y="730"/>
                  </a:lnTo>
                  <a:lnTo>
                    <a:pt x="200" y="715"/>
                  </a:lnTo>
                  <a:lnTo>
                    <a:pt x="215" y="695"/>
                  </a:lnTo>
                  <a:lnTo>
                    <a:pt x="233" y="674"/>
                  </a:lnTo>
                  <a:lnTo>
                    <a:pt x="254" y="650"/>
                  </a:lnTo>
                  <a:lnTo>
                    <a:pt x="277" y="624"/>
                  </a:lnTo>
                  <a:lnTo>
                    <a:pt x="302" y="596"/>
                  </a:lnTo>
                  <a:lnTo>
                    <a:pt x="329" y="566"/>
                  </a:lnTo>
                  <a:lnTo>
                    <a:pt x="358" y="535"/>
                  </a:lnTo>
                  <a:lnTo>
                    <a:pt x="388" y="503"/>
                  </a:lnTo>
                  <a:lnTo>
                    <a:pt x="419" y="469"/>
                  </a:lnTo>
                  <a:lnTo>
                    <a:pt x="451" y="435"/>
                  </a:lnTo>
                  <a:lnTo>
                    <a:pt x="484" y="400"/>
                  </a:lnTo>
                  <a:lnTo>
                    <a:pt x="516" y="365"/>
                  </a:lnTo>
                  <a:lnTo>
                    <a:pt x="549" y="331"/>
                  </a:lnTo>
                  <a:lnTo>
                    <a:pt x="581" y="297"/>
                  </a:lnTo>
                  <a:lnTo>
                    <a:pt x="614" y="264"/>
                  </a:lnTo>
                  <a:lnTo>
                    <a:pt x="645" y="230"/>
                  </a:lnTo>
                  <a:lnTo>
                    <a:pt x="675" y="199"/>
                  </a:lnTo>
                  <a:lnTo>
                    <a:pt x="704" y="168"/>
                  </a:lnTo>
                  <a:lnTo>
                    <a:pt x="732" y="141"/>
                  </a:lnTo>
                  <a:lnTo>
                    <a:pt x="758" y="114"/>
                  </a:lnTo>
                  <a:lnTo>
                    <a:pt x="781" y="89"/>
                  </a:lnTo>
                  <a:lnTo>
                    <a:pt x="803" y="68"/>
                  </a:lnTo>
                  <a:lnTo>
                    <a:pt x="821" y="47"/>
                  </a:lnTo>
                  <a:lnTo>
                    <a:pt x="837" y="31"/>
                  </a:lnTo>
                  <a:lnTo>
                    <a:pt x="850" y="18"/>
                  </a:lnTo>
                  <a:lnTo>
                    <a:pt x="860" y="9"/>
                  </a:lnTo>
                  <a:lnTo>
                    <a:pt x="865" y="2"/>
                  </a:lnTo>
                  <a:lnTo>
                    <a:pt x="867" y="0"/>
                  </a:lnTo>
                  <a:lnTo>
                    <a:pt x="1012" y="137"/>
                  </a:lnTo>
                  <a:lnTo>
                    <a:pt x="1014" y="139"/>
                  </a:lnTo>
                  <a:lnTo>
                    <a:pt x="1020" y="145"/>
                  </a:lnTo>
                  <a:lnTo>
                    <a:pt x="1028" y="152"/>
                  </a:lnTo>
                  <a:lnTo>
                    <a:pt x="1039" y="162"/>
                  </a:lnTo>
                  <a:lnTo>
                    <a:pt x="1051" y="174"/>
                  </a:lnTo>
                  <a:lnTo>
                    <a:pt x="1064" y="187"/>
                  </a:lnTo>
                  <a:lnTo>
                    <a:pt x="1079" y="201"/>
                  </a:lnTo>
                  <a:lnTo>
                    <a:pt x="1093" y="214"/>
                  </a:lnTo>
                  <a:lnTo>
                    <a:pt x="1107" y="228"/>
                  </a:lnTo>
                  <a:lnTo>
                    <a:pt x="1121" y="241"/>
                  </a:lnTo>
                  <a:lnTo>
                    <a:pt x="1133" y="253"/>
                  </a:lnTo>
                  <a:lnTo>
                    <a:pt x="1142" y="264"/>
                  </a:lnTo>
                  <a:lnTo>
                    <a:pt x="1151" y="271"/>
                  </a:lnTo>
                  <a:lnTo>
                    <a:pt x="1155" y="277"/>
                  </a:lnTo>
                  <a:lnTo>
                    <a:pt x="1157" y="2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757353" y="3919484"/>
            <a:ext cx="436014" cy="552825"/>
            <a:chOff x="4144754" y="4230048"/>
            <a:chExt cx="873396" cy="1107388"/>
          </a:xfrm>
          <a:solidFill>
            <a:schemeClr val="bg1"/>
          </a:solidFill>
        </p:grpSpPr>
        <p:grpSp>
          <p:nvGrpSpPr>
            <p:cNvPr id="138" name="Group 137"/>
            <p:cNvGrpSpPr/>
            <p:nvPr/>
          </p:nvGrpSpPr>
          <p:grpSpPr>
            <a:xfrm>
              <a:off x="4144754" y="4230048"/>
              <a:ext cx="682248" cy="1107388"/>
              <a:chOff x="2112134" y="12479"/>
              <a:chExt cx="4134119" cy="6710293"/>
            </a:xfrm>
            <a:grpFill/>
          </p:grpSpPr>
          <p:sp>
            <p:nvSpPr>
              <p:cNvPr id="146" name="Freeform 145"/>
              <p:cNvSpPr/>
              <p:nvPr/>
            </p:nvSpPr>
            <p:spPr>
              <a:xfrm>
                <a:off x="2112134" y="592428"/>
                <a:ext cx="4134119" cy="6130344"/>
              </a:xfrm>
              <a:custGeom>
                <a:avLst/>
                <a:gdLst>
                  <a:gd name="connsiteX0" fmla="*/ 399245 w 4134119"/>
                  <a:gd name="connsiteY0" fmla="*/ 1146220 h 6130344"/>
                  <a:gd name="connsiteX1" fmla="*/ 399245 w 4134119"/>
                  <a:gd name="connsiteY1" fmla="*/ 5550795 h 6130344"/>
                  <a:gd name="connsiteX2" fmla="*/ 3734873 w 4134119"/>
                  <a:gd name="connsiteY2" fmla="*/ 5550795 h 6130344"/>
                  <a:gd name="connsiteX3" fmla="*/ 3734873 w 4134119"/>
                  <a:gd name="connsiteY3" fmla="*/ 1146220 h 6130344"/>
                  <a:gd name="connsiteX4" fmla="*/ 398446 w 4134119"/>
                  <a:gd name="connsiteY4" fmla="*/ 0 h 6130344"/>
                  <a:gd name="connsiteX5" fmla="*/ 862886 w 4134119"/>
                  <a:gd name="connsiteY5" fmla="*/ 0 h 6130344"/>
                  <a:gd name="connsiteX6" fmla="*/ 862886 w 4134119"/>
                  <a:gd name="connsiteY6" fmla="*/ 257429 h 6130344"/>
                  <a:gd name="connsiteX7" fmla="*/ 1197885 w 4134119"/>
                  <a:gd name="connsiteY7" fmla="*/ 592428 h 6130344"/>
                  <a:gd name="connsiteX8" fmla="*/ 2923357 w 4134119"/>
                  <a:gd name="connsiteY8" fmla="*/ 592428 h 6130344"/>
                  <a:gd name="connsiteX9" fmla="*/ 3258356 w 4134119"/>
                  <a:gd name="connsiteY9" fmla="*/ 257429 h 6130344"/>
                  <a:gd name="connsiteX10" fmla="*/ 3258356 w 4134119"/>
                  <a:gd name="connsiteY10" fmla="*/ 0 h 6130344"/>
                  <a:gd name="connsiteX11" fmla="*/ 3735673 w 4134119"/>
                  <a:gd name="connsiteY11" fmla="*/ 0 h 6130344"/>
                  <a:gd name="connsiteX12" fmla="*/ 4134119 w 4134119"/>
                  <a:gd name="connsiteY12" fmla="*/ 398446 h 6130344"/>
                  <a:gd name="connsiteX13" fmla="*/ 4134119 w 4134119"/>
                  <a:gd name="connsiteY13" fmla="*/ 5731898 h 6130344"/>
                  <a:gd name="connsiteX14" fmla="*/ 3735673 w 4134119"/>
                  <a:gd name="connsiteY14" fmla="*/ 6130344 h 6130344"/>
                  <a:gd name="connsiteX15" fmla="*/ 398446 w 4134119"/>
                  <a:gd name="connsiteY15" fmla="*/ 6130344 h 6130344"/>
                  <a:gd name="connsiteX16" fmla="*/ 0 w 4134119"/>
                  <a:gd name="connsiteY16" fmla="*/ 5731898 h 6130344"/>
                  <a:gd name="connsiteX17" fmla="*/ 0 w 4134119"/>
                  <a:gd name="connsiteY17" fmla="*/ 398446 h 6130344"/>
                  <a:gd name="connsiteX18" fmla="*/ 398446 w 4134119"/>
                  <a:gd name="connsiteY18" fmla="*/ 0 h 6130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134119" h="6130344">
                    <a:moveTo>
                      <a:pt x="399245" y="1146220"/>
                    </a:moveTo>
                    <a:lnTo>
                      <a:pt x="399245" y="5550795"/>
                    </a:lnTo>
                    <a:lnTo>
                      <a:pt x="3734873" y="5550795"/>
                    </a:lnTo>
                    <a:lnTo>
                      <a:pt x="3734873" y="1146220"/>
                    </a:lnTo>
                    <a:close/>
                    <a:moveTo>
                      <a:pt x="398446" y="0"/>
                    </a:moveTo>
                    <a:lnTo>
                      <a:pt x="862886" y="0"/>
                    </a:lnTo>
                    <a:lnTo>
                      <a:pt x="862886" y="257429"/>
                    </a:lnTo>
                    <a:cubicBezTo>
                      <a:pt x="862886" y="442444"/>
                      <a:pt x="1012870" y="592428"/>
                      <a:pt x="1197885" y="592428"/>
                    </a:cubicBezTo>
                    <a:lnTo>
                      <a:pt x="2923357" y="592428"/>
                    </a:lnTo>
                    <a:cubicBezTo>
                      <a:pt x="3108372" y="592428"/>
                      <a:pt x="3258356" y="442444"/>
                      <a:pt x="3258356" y="257429"/>
                    </a:cubicBezTo>
                    <a:lnTo>
                      <a:pt x="3258356" y="0"/>
                    </a:lnTo>
                    <a:lnTo>
                      <a:pt x="3735673" y="0"/>
                    </a:lnTo>
                    <a:cubicBezTo>
                      <a:pt x="3955729" y="0"/>
                      <a:pt x="4134119" y="178390"/>
                      <a:pt x="4134119" y="398446"/>
                    </a:cubicBezTo>
                    <a:lnTo>
                      <a:pt x="4134119" y="5731898"/>
                    </a:lnTo>
                    <a:cubicBezTo>
                      <a:pt x="4134119" y="5951954"/>
                      <a:pt x="3955729" y="6130344"/>
                      <a:pt x="3735673" y="6130344"/>
                    </a:cubicBezTo>
                    <a:lnTo>
                      <a:pt x="398446" y="6130344"/>
                    </a:lnTo>
                    <a:cubicBezTo>
                      <a:pt x="178390" y="6130344"/>
                      <a:pt x="0" y="5951954"/>
                      <a:pt x="0" y="5731898"/>
                    </a:cubicBezTo>
                    <a:lnTo>
                      <a:pt x="0" y="398446"/>
                    </a:lnTo>
                    <a:cubicBezTo>
                      <a:pt x="0" y="178390"/>
                      <a:pt x="178390" y="0"/>
                      <a:pt x="3984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47" name="Freeform 146"/>
              <p:cNvSpPr/>
              <p:nvPr/>
            </p:nvSpPr>
            <p:spPr>
              <a:xfrm>
                <a:off x="3181082" y="12479"/>
                <a:ext cx="1996225" cy="1007769"/>
              </a:xfrm>
              <a:custGeom>
                <a:avLst/>
                <a:gdLst>
                  <a:gd name="connsiteX0" fmla="*/ 998111 w 1996225"/>
                  <a:gd name="connsiteY0" fmla="*/ 180304 h 1007769"/>
                  <a:gd name="connsiteX1" fmla="*/ 759853 w 1996225"/>
                  <a:gd name="connsiteY1" fmla="*/ 418562 h 1007769"/>
                  <a:gd name="connsiteX2" fmla="*/ 998111 w 1996225"/>
                  <a:gd name="connsiteY2" fmla="*/ 656820 h 1007769"/>
                  <a:gd name="connsiteX3" fmla="*/ 1236369 w 1996225"/>
                  <a:gd name="connsiteY3" fmla="*/ 418562 h 1007769"/>
                  <a:gd name="connsiteX4" fmla="*/ 998111 w 1996225"/>
                  <a:gd name="connsiteY4" fmla="*/ 180304 h 1007769"/>
                  <a:gd name="connsiteX5" fmla="*/ 998111 w 1996225"/>
                  <a:gd name="connsiteY5" fmla="*/ 0 h 1007769"/>
                  <a:gd name="connsiteX6" fmla="*/ 1408170 w 1996225"/>
                  <a:gd name="connsiteY6" fmla="*/ 334207 h 1007769"/>
                  <a:gd name="connsiteX7" fmla="*/ 1408559 w 1996225"/>
                  <a:gd name="connsiteY7" fmla="*/ 338068 h 1007769"/>
                  <a:gd name="connsiteX8" fmla="*/ 1897484 w 1996225"/>
                  <a:gd name="connsiteY8" fmla="*/ 338068 h 1007769"/>
                  <a:gd name="connsiteX9" fmla="*/ 1996225 w 1996225"/>
                  <a:gd name="connsiteY9" fmla="*/ 436809 h 1007769"/>
                  <a:gd name="connsiteX10" fmla="*/ 1996225 w 1996225"/>
                  <a:gd name="connsiteY10" fmla="*/ 909028 h 1007769"/>
                  <a:gd name="connsiteX11" fmla="*/ 1897484 w 1996225"/>
                  <a:gd name="connsiteY11" fmla="*/ 1007769 h 1007769"/>
                  <a:gd name="connsiteX12" fmla="*/ 98741 w 1996225"/>
                  <a:gd name="connsiteY12" fmla="*/ 1007769 h 1007769"/>
                  <a:gd name="connsiteX13" fmla="*/ 0 w 1996225"/>
                  <a:gd name="connsiteY13" fmla="*/ 909028 h 1007769"/>
                  <a:gd name="connsiteX14" fmla="*/ 0 w 1996225"/>
                  <a:gd name="connsiteY14" fmla="*/ 436809 h 1007769"/>
                  <a:gd name="connsiteX15" fmla="*/ 98741 w 1996225"/>
                  <a:gd name="connsiteY15" fmla="*/ 338068 h 1007769"/>
                  <a:gd name="connsiteX16" fmla="*/ 587664 w 1996225"/>
                  <a:gd name="connsiteY16" fmla="*/ 338068 h 1007769"/>
                  <a:gd name="connsiteX17" fmla="*/ 588053 w 1996225"/>
                  <a:gd name="connsiteY17" fmla="*/ 334207 h 1007769"/>
                  <a:gd name="connsiteX18" fmla="*/ 998111 w 1996225"/>
                  <a:gd name="connsiteY18" fmla="*/ 0 h 1007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96225" h="1007769">
                    <a:moveTo>
                      <a:pt x="998111" y="180304"/>
                    </a:moveTo>
                    <a:cubicBezTo>
                      <a:pt x="866525" y="180304"/>
                      <a:pt x="759853" y="286976"/>
                      <a:pt x="759853" y="418562"/>
                    </a:cubicBezTo>
                    <a:cubicBezTo>
                      <a:pt x="759853" y="550148"/>
                      <a:pt x="866525" y="656820"/>
                      <a:pt x="998111" y="656820"/>
                    </a:cubicBezTo>
                    <a:cubicBezTo>
                      <a:pt x="1129697" y="656820"/>
                      <a:pt x="1236369" y="550148"/>
                      <a:pt x="1236369" y="418562"/>
                    </a:cubicBezTo>
                    <a:cubicBezTo>
                      <a:pt x="1236369" y="286976"/>
                      <a:pt x="1129697" y="180304"/>
                      <a:pt x="998111" y="180304"/>
                    </a:cubicBezTo>
                    <a:close/>
                    <a:moveTo>
                      <a:pt x="998111" y="0"/>
                    </a:moveTo>
                    <a:cubicBezTo>
                      <a:pt x="1200381" y="0"/>
                      <a:pt x="1369140" y="143476"/>
                      <a:pt x="1408170" y="334207"/>
                    </a:cubicBezTo>
                    <a:lnTo>
                      <a:pt x="1408559" y="338068"/>
                    </a:lnTo>
                    <a:lnTo>
                      <a:pt x="1897484" y="338068"/>
                    </a:lnTo>
                    <a:cubicBezTo>
                      <a:pt x="1952017" y="338068"/>
                      <a:pt x="1996225" y="382276"/>
                      <a:pt x="1996225" y="436809"/>
                    </a:cubicBezTo>
                    <a:lnTo>
                      <a:pt x="1996225" y="909028"/>
                    </a:lnTo>
                    <a:cubicBezTo>
                      <a:pt x="1996225" y="963561"/>
                      <a:pt x="1952017" y="1007769"/>
                      <a:pt x="1897484" y="1007769"/>
                    </a:cubicBezTo>
                    <a:lnTo>
                      <a:pt x="98741" y="1007769"/>
                    </a:lnTo>
                    <a:cubicBezTo>
                      <a:pt x="44208" y="1007769"/>
                      <a:pt x="0" y="963561"/>
                      <a:pt x="0" y="909028"/>
                    </a:cubicBezTo>
                    <a:lnTo>
                      <a:pt x="0" y="436809"/>
                    </a:lnTo>
                    <a:cubicBezTo>
                      <a:pt x="0" y="382276"/>
                      <a:pt x="44208" y="338068"/>
                      <a:pt x="98741" y="338068"/>
                    </a:cubicBezTo>
                    <a:lnTo>
                      <a:pt x="587664" y="338068"/>
                    </a:lnTo>
                    <a:lnTo>
                      <a:pt x="588053" y="334207"/>
                    </a:lnTo>
                    <a:cubicBezTo>
                      <a:pt x="627082" y="143476"/>
                      <a:pt x="795842" y="0"/>
                      <a:pt x="9981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48" name="Group 147"/>
              <p:cNvGrpSpPr/>
              <p:nvPr/>
            </p:nvGrpSpPr>
            <p:grpSpPr>
              <a:xfrm>
                <a:off x="2979287" y="1957742"/>
                <a:ext cx="1174521" cy="1120738"/>
                <a:chOff x="2971799" y="1957742"/>
                <a:chExt cx="1174521" cy="1120738"/>
              </a:xfrm>
              <a:grpFill/>
            </p:grpSpPr>
            <p:sp>
              <p:nvSpPr>
                <p:cNvPr id="164" name="Freeform 163"/>
                <p:cNvSpPr/>
                <p:nvPr/>
              </p:nvSpPr>
              <p:spPr>
                <a:xfrm>
                  <a:off x="2971799" y="2354580"/>
                  <a:ext cx="543605" cy="723900"/>
                </a:xfrm>
                <a:custGeom>
                  <a:avLst/>
                  <a:gdLst>
                    <a:gd name="connsiteX0" fmla="*/ 432877 w 546522"/>
                    <a:gd name="connsiteY0" fmla="*/ 0 h 723900"/>
                    <a:gd name="connsiteX1" fmla="*/ 457198 w 546522"/>
                    <a:gd name="connsiteY1" fmla="*/ 0 h 723900"/>
                    <a:gd name="connsiteX2" fmla="*/ 541454 w 546522"/>
                    <a:gd name="connsiteY2" fmla="*/ 55849 h 723900"/>
                    <a:gd name="connsiteX3" fmla="*/ 546522 w 546522"/>
                    <a:gd name="connsiteY3" fmla="*/ 80948 h 723900"/>
                    <a:gd name="connsiteX4" fmla="*/ 91442 w 546522"/>
                    <a:gd name="connsiteY4" fmla="*/ 0 h 723900"/>
                    <a:gd name="connsiteX5" fmla="*/ 294237 w 546522"/>
                    <a:gd name="connsiteY5" fmla="*/ 0 h 723900"/>
                    <a:gd name="connsiteX6" fmla="*/ 259248 w 546522"/>
                    <a:gd name="connsiteY6" fmla="*/ 99060 h 723900"/>
                    <a:gd name="connsiteX7" fmla="*/ 147939 w 546522"/>
                    <a:gd name="connsiteY7" fmla="*/ 99060 h 723900"/>
                    <a:gd name="connsiteX8" fmla="*/ 84747 w 546522"/>
                    <a:gd name="connsiteY8" fmla="*/ 162252 h 723900"/>
                    <a:gd name="connsiteX9" fmla="*/ 84747 w 546522"/>
                    <a:gd name="connsiteY9" fmla="*/ 561648 h 723900"/>
                    <a:gd name="connsiteX10" fmla="*/ 147939 w 546522"/>
                    <a:gd name="connsiteY10" fmla="*/ 624840 h 723900"/>
                    <a:gd name="connsiteX11" fmla="*/ 400702 w 546522"/>
                    <a:gd name="connsiteY11" fmla="*/ 624840 h 723900"/>
                    <a:gd name="connsiteX12" fmla="*/ 458928 w 546522"/>
                    <a:gd name="connsiteY12" fmla="*/ 586245 h 723900"/>
                    <a:gd name="connsiteX13" fmla="*/ 460480 w 546522"/>
                    <a:gd name="connsiteY13" fmla="*/ 578560 h 723900"/>
                    <a:gd name="connsiteX14" fmla="*/ 543605 w 546522"/>
                    <a:gd name="connsiteY14" fmla="*/ 657400 h 723900"/>
                    <a:gd name="connsiteX15" fmla="*/ 541454 w 546522"/>
                    <a:gd name="connsiteY15" fmla="*/ 668051 h 723900"/>
                    <a:gd name="connsiteX16" fmla="*/ 457198 w 546522"/>
                    <a:gd name="connsiteY16" fmla="*/ 723900 h 723900"/>
                    <a:gd name="connsiteX17" fmla="*/ 91442 w 546522"/>
                    <a:gd name="connsiteY17" fmla="*/ 723900 h 723900"/>
                    <a:gd name="connsiteX18" fmla="*/ 0 w 546522"/>
                    <a:gd name="connsiteY18" fmla="*/ 632458 h 723900"/>
                    <a:gd name="connsiteX19" fmla="*/ 0 w 546522"/>
                    <a:gd name="connsiteY19" fmla="*/ 91442 h 723900"/>
                    <a:gd name="connsiteX20" fmla="*/ 91442 w 546522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541454 w 543605"/>
                    <a:gd name="connsiteY2" fmla="*/ 55849 h 723900"/>
                    <a:gd name="connsiteX3" fmla="*/ 432877 w 543605"/>
                    <a:gd name="connsiteY3" fmla="*/ 0 h 723900"/>
                    <a:gd name="connsiteX4" fmla="*/ 91442 w 543605"/>
                    <a:gd name="connsiteY4" fmla="*/ 0 h 723900"/>
                    <a:gd name="connsiteX5" fmla="*/ 294237 w 543605"/>
                    <a:gd name="connsiteY5" fmla="*/ 0 h 723900"/>
                    <a:gd name="connsiteX6" fmla="*/ 259248 w 543605"/>
                    <a:gd name="connsiteY6" fmla="*/ 99060 h 723900"/>
                    <a:gd name="connsiteX7" fmla="*/ 147939 w 543605"/>
                    <a:gd name="connsiteY7" fmla="*/ 99060 h 723900"/>
                    <a:gd name="connsiteX8" fmla="*/ 84747 w 543605"/>
                    <a:gd name="connsiteY8" fmla="*/ 162252 h 723900"/>
                    <a:gd name="connsiteX9" fmla="*/ 84747 w 543605"/>
                    <a:gd name="connsiteY9" fmla="*/ 561648 h 723900"/>
                    <a:gd name="connsiteX10" fmla="*/ 147939 w 543605"/>
                    <a:gd name="connsiteY10" fmla="*/ 624840 h 723900"/>
                    <a:gd name="connsiteX11" fmla="*/ 400702 w 543605"/>
                    <a:gd name="connsiteY11" fmla="*/ 624840 h 723900"/>
                    <a:gd name="connsiteX12" fmla="*/ 458928 w 543605"/>
                    <a:gd name="connsiteY12" fmla="*/ 586245 h 723900"/>
                    <a:gd name="connsiteX13" fmla="*/ 460480 w 543605"/>
                    <a:gd name="connsiteY13" fmla="*/ 578560 h 723900"/>
                    <a:gd name="connsiteX14" fmla="*/ 543605 w 543605"/>
                    <a:gd name="connsiteY14" fmla="*/ 657400 h 723900"/>
                    <a:gd name="connsiteX15" fmla="*/ 541454 w 543605"/>
                    <a:gd name="connsiteY15" fmla="*/ 668051 h 723900"/>
                    <a:gd name="connsiteX16" fmla="*/ 457198 w 543605"/>
                    <a:gd name="connsiteY16" fmla="*/ 723900 h 723900"/>
                    <a:gd name="connsiteX17" fmla="*/ 91442 w 543605"/>
                    <a:gd name="connsiteY17" fmla="*/ 723900 h 723900"/>
                    <a:gd name="connsiteX18" fmla="*/ 0 w 543605"/>
                    <a:gd name="connsiteY18" fmla="*/ 632458 h 723900"/>
                    <a:gd name="connsiteX19" fmla="*/ 0 w 543605"/>
                    <a:gd name="connsiteY19" fmla="*/ 91442 h 723900"/>
                    <a:gd name="connsiteX20" fmla="*/ 91442 w 543605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432877 w 543605"/>
                    <a:gd name="connsiteY2" fmla="*/ 0 h 723900"/>
                    <a:gd name="connsiteX3" fmla="*/ 91442 w 543605"/>
                    <a:gd name="connsiteY3" fmla="*/ 0 h 723900"/>
                    <a:gd name="connsiteX4" fmla="*/ 294237 w 543605"/>
                    <a:gd name="connsiteY4" fmla="*/ 0 h 723900"/>
                    <a:gd name="connsiteX5" fmla="*/ 259248 w 543605"/>
                    <a:gd name="connsiteY5" fmla="*/ 99060 h 723900"/>
                    <a:gd name="connsiteX6" fmla="*/ 147939 w 543605"/>
                    <a:gd name="connsiteY6" fmla="*/ 99060 h 723900"/>
                    <a:gd name="connsiteX7" fmla="*/ 84747 w 543605"/>
                    <a:gd name="connsiteY7" fmla="*/ 162252 h 723900"/>
                    <a:gd name="connsiteX8" fmla="*/ 84747 w 543605"/>
                    <a:gd name="connsiteY8" fmla="*/ 561648 h 723900"/>
                    <a:gd name="connsiteX9" fmla="*/ 147939 w 543605"/>
                    <a:gd name="connsiteY9" fmla="*/ 624840 h 723900"/>
                    <a:gd name="connsiteX10" fmla="*/ 400702 w 543605"/>
                    <a:gd name="connsiteY10" fmla="*/ 624840 h 723900"/>
                    <a:gd name="connsiteX11" fmla="*/ 458928 w 543605"/>
                    <a:gd name="connsiteY11" fmla="*/ 586245 h 723900"/>
                    <a:gd name="connsiteX12" fmla="*/ 460480 w 543605"/>
                    <a:gd name="connsiteY12" fmla="*/ 578560 h 723900"/>
                    <a:gd name="connsiteX13" fmla="*/ 543605 w 543605"/>
                    <a:gd name="connsiteY13" fmla="*/ 657400 h 723900"/>
                    <a:gd name="connsiteX14" fmla="*/ 541454 w 543605"/>
                    <a:gd name="connsiteY14" fmla="*/ 668051 h 723900"/>
                    <a:gd name="connsiteX15" fmla="*/ 457198 w 543605"/>
                    <a:gd name="connsiteY15" fmla="*/ 723900 h 723900"/>
                    <a:gd name="connsiteX16" fmla="*/ 91442 w 543605"/>
                    <a:gd name="connsiteY16" fmla="*/ 723900 h 723900"/>
                    <a:gd name="connsiteX17" fmla="*/ 0 w 543605"/>
                    <a:gd name="connsiteY17" fmla="*/ 632458 h 723900"/>
                    <a:gd name="connsiteX18" fmla="*/ 0 w 543605"/>
                    <a:gd name="connsiteY18" fmla="*/ 91442 h 723900"/>
                    <a:gd name="connsiteX19" fmla="*/ 91442 w 543605"/>
                    <a:gd name="connsiteY19" fmla="*/ 0 h 723900"/>
                    <a:gd name="connsiteX0" fmla="*/ 91442 w 543605"/>
                    <a:gd name="connsiteY0" fmla="*/ 0 h 723900"/>
                    <a:gd name="connsiteX1" fmla="*/ 294237 w 543605"/>
                    <a:gd name="connsiteY1" fmla="*/ 0 h 723900"/>
                    <a:gd name="connsiteX2" fmla="*/ 259248 w 543605"/>
                    <a:gd name="connsiteY2" fmla="*/ 99060 h 723900"/>
                    <a:gd name="connsiteX3" fmla="*/ 147939 w 543605"/>
                    <a:gd name="connsiteY3" fmla="*/ 99060 h 723900"/>
                    <a:gd name="connsiteX4" fmla="*/ 84747 w 543605"/>
                    <a:gd name="connsiteY4" fmla="*/ 162252 h 723900"/>
                    <a:gd name="connsiteX5" fmla="*/ 84747 w 543605"/>
                    <a:gd name="connsiteY5" fmla="*/ 561648 h 723900"/>
                    <a:gd name="connsiteX6" fmla="*/ 147939 w 543605"/>
                    <a:gd name="connsiteY6" fmla="*/ 624840 h 723900"/>
                    <a:gd name="connsiteX7" fmla="*/ 400702 w 543605"/>
                    <a:gd name="connsiteY7" fmla="*/ 624840 h 723900"/>
                    <a:gd name="connsiteX8" fmla="*/ 458928 w 543605"/>
                    <a:gd name="connsiteY8" fmla="*/ 586245 h 723900"/>
                    <a:gd name="connsiteX9" fmla="*/ 460480 w 543605"/>
                    <a:gd name="connsiteY9" fmla="*/ 578560 h 723900"/>
                    <a:gd name="connsiteX10" fmla="*/ 543605 w 543605"/>
                    <a:gd name="connsiteY10" fmla="*/ 657400 h 723900"/>
                    <a:gd name="connsiteX11" fmla="*/ 541454 w 543605"/>
                    <a:gd name="connsiteY11" fmla="*/ 668051 h 723900"/>
                    <a:gd name="connsiteX12" fmla="*/ 457198 w 543605"/>
                    <a:gd name="connsiteY12" fmla="*/ 723900 h 723900"/>
                    <a:gd name="connsiteX13" fmla="*/ 91442 w 543605"/>
                    <a:gd name="connsiteY13" fmla="*/ 723900 h 723900"/>
                    <a:gd name="connsiteX14" fmla="*/ 0 w 543605"/>
                    <a:gd name="connsiteY14" fmla="*/ 632458 h 723900"/>
                    <a:gd name="connsiteX15" fmla="*/ 0 w 543605"/>
                    <a:gd name="connsiteY15" fmla="*/ 91442 h 723900"/>
                    <a:gd name="connsiteX16" fmla="*/ 91442 w 543605"/>
                    <a:gd name="connsiteY16" fmla="*/ 0 h 72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43605" h="723900">
                      <a:moveTo>
                        <a:pt x="91442" y="0"/>
                      </a:moveTo>
                      <a:lnTo>
                        <a:pt x="294237" y="0"/>
                      </a:lnTo>
                      <a:lnTo>
                        <a:pt x="259248" y="99060"/>
                      </a:lnTo>
                      <a:lnTo>
                        <a:pt x="147939" y="99060"/>
                      </a:lnTo>
                      <a:cubicBezTo>
                        <a:pt x="113039" y="99060"/>
                        <a:pt x="84747" y="127352"/>
                        <a:pt x="84747" y="162252"/>
                      </a:cubicBezTo>
                      <a:lnTo>
                        <a:pt x="84747" y="561648"/>
                      </a:lnTo>
                      <a:cubicBezTo>
                        <a:pt x="84747" y="596548"/>
                        <a:pt x="113039" y="624840"/>
                        <a:pt x="147939" y="624840"/>
                      </a:cubicBezTo>
                      <a:lnTo>
                        <a:pt x="400702" y="624840"/>
                      </a:lnTo>
                      <a:cubicBezTo>
                        <a:pt x="426877" y="624840"/>
                        <a:pt x="449335" y="608926"/>
                        <a:pt x="458928" y="586245"/>
                      </a:cubicBezTo>
                      <a:lnTo>
                        <a:pt x="460480" y="578560"/>
                      </a:lnTo>
                      <a:lnTo>
                        <a:pt x="543605" y="657400"/>
                      </a:lnTo>
                      <a:lnTo>
                        <a:pt x="541454" y="668051"/>
                      </a:lnTo>
                      <a:cubicBezTo>
                        <a:pt x="527573" y="700871"/>
                        <a:pt x="495075" y="723900"/>
                        <a:pt x="457198" y="723900"/>
                      </a:cubicBezTo>
                      <a:lnTo>
                        <a:pt x="91442" y="723900"/>
                      </a:lnTo>
                      <a:cubicBezTo>
                        <a:pt x="40940" y="723900"/>
                        <a:pt x="0" y="682960"/>
                        <a:pt x="0" y="632458"/>
                      </a:cubicBezTo>
                      <a:lnTo>
                        <a:pt x="0" y="91442"/>
                      </a:lnTo>
                      <a:cubicBezTo>
                        <a:pt x="0" y="40940"/>
                        <a:pt x="40940" y="0"/>
                        <a:pt x="9144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65" name="Rectangle 20"/>
                <p:cNvSpPr/>
                <p:nvPr/>
              </p:nvSpPr>
              <p:spPr>
                <a:xfrm>
                  <a:off x="3267940" y="1957742"/>
                  <a:ext cx="878380" cy="946077"/>
                </a:xfrm>
                <a:custGeom>
                  <a:avLst/>
                  <a:gdLst>
                    <a:gd name="connsiteX0" fmla="*/ 0 w 910858"/>
                    <a:gd name="connsiteY0" fmla="*/ 0 h 1112520"/>
                    <a:gd name="connsiteX1" fmla="*/ 9108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10858"/>
                    <a:gd name="connsiteY0" fmla="*/ 0 h 1112520"/>
                    <a:gd name="connsiteX1" fmla="*/ 8727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94678"/>
                    <a:gd name="connsiteY0" fmla="*/ 0 h 1112520"/>
                    <a:gd name="connsiteX1" fmla="*/ 872758 w 994678"/>
                    <a:gd name="connsiteY1" fmla="*/ 0 h 1112520"/>
                    <a:gd name="connsiteX2" fmla="*/ 994678 w 994678"/>
                    <a:gd name="connsiteY2" fmla="*/ 68580 h 1112520"/>
                    <a:gd name="connsiteX3" fmla="*/ 0 w 994678"/>
                    <a:gd name="connsiteY3" fmla="*/ 1112520 h 1112520"/>
                    <a:gd name="connsiteX4" fmla="*/ 0 w 994678"/>
                    <a:gd name="connsiteY4" fmla="*/ 0 h 1112520"/>
                    <a:gd name="connsiteX0" fmla="*/ 0 w 994678"/>
                    <a:gd name="connsiteY0" fmla="*/ 0 h 883920"/>
                    <a:gd name="connsiteX1" fmla="*/ 872758 w 994678"/>
                    <a:gd name="connsiteY1" fmla="*/ 0 h 883920"/>
                    <a:gd name="connsiteX2" fmla="*/ 994678 w 994678"/>
                    <a:gd name="connsiteY2" fmla="*/ 68580 h 883920"/>
                    <a:gd name="connsiteX3" fmla="*/ 434340 w 994678"/>
                    <a:gd name="connsiteY3" fmla="*/ 883920 h 883920"/>
                    <a:gd name="connsiteX4" fmla="*/ 0 w 994678"/>
                    <a:gd name="connsiteY4" fmla="*/ 0 h 883920"/>
                    <a:gd name="connsiteX0" fmla="*/ 7620 w 560338"/>
                    <a:gd name="connsiteY0" fmla="*/ 548640 h 883920"/>
                    <a:gd name="connsiteX1" fmla="*/ 438418 w 560338"/>
                    <a:gd name="connsiteY1" fmla="*/ 0 h 883920"/>
                    <a:gd name="connsiteX2" fmla="*/ 560338 w 560338"/>
                    <a:gd name="connsiteY2" fmla="*/ 68580 h 883920"/>
                    <a:gd name="connsiteX3" fmla="*/ 0 w 560338"/>
                    <a:gd name="connsiteY3" fmla="*/ 883920 h 883920"/>
                    <a:gd name="connsiteX4" fmla="*/ 7620 w 560338"/>
                    <a:gd name="connsiteY4" fmla="*/ 548640 h 883920"/>
                    <a:gd name="connsiteX0" fmla="*/ 18782 w 571500"/>
                    <a:gd name="connsiteY0" fmla="*/ 548640 h 883920"/>
                    <a:gd name="connsiteX1" fmla="*/ 449580 w 571500"/>
                    <a:gd name="connsiteY1" fmla="*/ 0 h 883920"/>
                    <a:gd name="connsiteX2" fmla="*/ 571500 w 571500"/>
                    <a:gd name="connsiteY2" fmla="*/ 68580 h 883920"/>
                    <a:gd name="connsiteX3" fmla="*/ 11162 w 571500"/>
                    <a:gd name="connsiteY3" fmla="*/ 883920 h 883920"/>
                    <a:gd name="connsiteX4" fmla="*/ 0 w 571500"/>
                    <a:gd name="connsiteY4" fmla="*/ 739140 h 883920"/>
                    <a:gd name="connsiteX5" fmla="*/ 18782 w 5715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0 w 800100"/>
                    <a:gd name="connsiteY4" fmla="*/ 472440 h 883920"/>
                    <a:gd name="connsiteX5" fmla="*/ 247382 w 8001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129540 w 800100"/>
                    <a:gd name="connsiteY4" fmla="*/ 678180 h 883920"/>
                    <a:gd name="connsiteX5" fmla="*/ 0 w 800100"/>
                    <a:gd name="connsiteY5" fmla="*/ 472440 h 883920"/>
                    <a:gd name="connsiteX6" fmla="*/ 247382 w 8001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31596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27024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23582 w 876300"/>
                    <a:gd name="connsiteY6" fmla="*/ 548640 h 914400"/>
                    <a:gd name="connsiteX0" fmla="*/ 308342 w 876300"/>
                    <a:gd name="connsiteY0" fmla="*/ 60198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08342 w 876300"/>
                    <a:gd name="connsiteY6" fmla="*/ 601980 h 914400"/>
                    <a:gd name="connsiteX0" fmla="*/ 308342 w 876300"/>
                    <a:gd name="connsiteY0" fmla="*/ 601980 h 876300"/>
                    <a:gd name="connsiteX1" fmla="*/ 754380 w 876300"/>
                    <a:gd name="connsiteY1" fmla="*/ 0 h 876300"/>
                    <a:gd name="connsiteX2" fmla="*/ 876300 w 876300"/>
                    <a:gd name="connsiteY2" fmla="*/ 68580 h 876300"/>
                    <a:gd name="connsiteX3" fmla="*/ 285482 w 876300"/>
                    <a:gd name="connsiteY3" fmla="*/ 876300 h 876300"/>
                    <a:gd name="connsiteX4" fmla="*/ 0 w 876300"/>
                    <a:gd name="connsiteY4" fmla="*/ 609600 h 876300"/>
                    <a:gd name="connsiteX5" fmla="*/ 76200 w 876300"/>
                    <a:gd name="connsiteY5" fmla="*/ 472440 h 876300"/>
                    <a:gd name="connsiteX6" fmla="*/ 308342 w 876300"/>
                    <a:gd name="connsiteY6" fmla="*/ 601980 h 876300"/>
                    <a:gd name="connsiteX0" fmla="*/ 331202 w 899160"/>
                    <a:gd name="connsiteY0" fmla="*/ 60198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31202 w 899160"/>
                    <a:gd name="connsiteY6" fmla="*/ 601980 h 876300"/>
                    <a:gd name="connsiteX0" fmla="*/ 323582 w 899160"/>
                    <a:gd name="connsiteY0" fmla="*/ 65532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23582 w 899160"/>
                    <a:gd name="connsiteY6" fmla="*/ 655320 h 876300"/>
                    <a:gd name="connsiteX0" fmla="*/ 323582 w 899160"/>
                    <a:gd name="connsiteY0" fmla="*/ 67056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70560 h 891540"/>
                    <a:gd name="connsiteX0" fmla="*/ 323582 w 899160"/>
                    <a:gd name="connsiteY0" fmla="*/ 64008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40080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283538 w 899160"/>
                    <a:gd name="connsiteY6" fmla="*/ 700339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67025 w 899160"/>
                    <a:gd name="connsiteY5" fmla="*/ 514462 h 891540"/>
                    <a:gd name="connsiteX6" fmla="*/ 283538 w 899160"/>
                    <a:gd name="connsiteY6" fmla="*/ 700339 h 891540"/>
                    <a:gd name="connsiteX0" fmla="*/ 283538 w 891151"/>
                    <a:gd name="connsiteY0" fmla="*/ 700339 h 891540"/>
                    <a:gd name="connsiteX1" fmla="*/ 746760 w 891151"/>
                    <a:gd name="connsiteY1" fmla="*/ 0 h 891540"/>
                    <a:gd name="connsiteX2" fmla="*/ 891151 w 891151"/>
                    <a:gd name="connsiteY2" fmla="*/ 150774 h 891540"/>
                    <a:gd name="connsiteX3" fmla="*/ 308342 w 891151"/>
                    <a:gd name="connsiteY3" fmla="*/ 891540 h 891540"/>
                    <a:gd name="connsiteX4" fmla="*/ 0 w 891151"/>
                    <a:gd name="connsiteY4" fmla="*/ 647700 h 891540"/>
                    <a:gd name="connsiteX5" fmla="*/ 67025 w 891151"/>
                    <a:gd name="connsiteY5" fmla="*/ 514462 h 891540"/>
                    <a:gd name="connsiteX6" fmla="*/ 283538 w 891151"/>
                    <a:gd name="connsiteY6" fmla="*/ 700339 h 891540"/>
                    <a:gd name="connsiteX0" fmla="*/ 283538 w 891151"/>
                    <a:gd name="connsiteY0" fmla="*/ 640080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83538 w 891151"/>
                    <a:gd name="connsiteY6" fmla="*/ 640080 h 831281"/>
                    <a:gd name="connsiteX0" fmla="*/ 275530 w 891151"/>
                    <a:gd name="connsiteY0" fmla="*/ 599908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75530 w 891151"/>
                    <a:gd name="connsiteY6" fmla="*/ 599908 h 831281"/>
                    <a:gd name="connsiteX0" fmla="*/ 307565 w 923186"/>
                    <a:gd name="connsiteY0" fmla="*/ 599908 h 831281"/>
                    <a:gd name="connsiteX1" fmla="*/ 762778 w 923186"/>
                    <a:gd name="connsiteY1" fmla="*/ 0 h 831281"/>
                    <a:gd name="connsiteX2" fmla="*/ 923186 w 923186"/>
                    <a:gd name="connsiteY2" fmla="*/ 90515 h 831281"/>
                    <a:gd name="connsiteX3" fmla="*/ 340377 w 923186"/>
                    <a:gd name="connsiteY3" fmla="*/ 831281 h 831281"/>
                    <a:gd name="connsiteX4" fmla="*/ 0 w 923186"/>
                    <a:gd name="connsiteY4" fmla="*/ 620918 h 831281"/>
                    <a:gd name="connsiteX5" fmla="*/ 99060 w 923186"/>
                    <a:gd name="connsiteY5" fmla="*/ 454203 h 831281"/>
                    <a:gd name="connsiteX6" fmla="*/ 307565 w 923186"/>
                    <a:gd name="connsiteY6" fmla="*/ 599908 h 831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23186" h="831281">
                      <a:moveTo>
                        <a:pt x="307565" y="599908"/>
                      </a:moveTo>
                      <a:lnTo>
                        <a:pt x="762778" y="0"/>
                      </a:lnTo>
                      <a:lnTo>
                        <a:pt x="923186" y="90515"/>
                      </a:lnTo>
                      <a:lnTo>
                        <a:pt x="340377" y="831281"/>
                      </a:lnTo>
                      <a:lnTo>
                        <a:pt x="0" y="620918"/>
                      </a:lnTo>
                      <a:lnTo>
                        <a:pt x="99060" y="454203"/>
                      </a:lnTo>
                      <a:lnTo>
                        <a:pt x="307565" y="5999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49" name="Group 148"/>
              <p:cNvGrpSpPr/>
              <p:nvPr/>
            </p:nvGrpSpPr>
            <p:grpSpPr>
              <a:xfrm>
                <a:off x="2979287" y="3257864"/>
                <a:ext cx="1174521" cy="1120738"/>
                <a:chOff x="2971799" y="1957742"/>
                <a:chExt cx="1174521" cy="1120738"/>
              </a:xfrm>
              <a:grpFill/>
            </p:grpSpPr>
            <p:sp>
              <p:nvSpPr>
                <p:cNvPr id="162" name="Freeform 161"/>
                <p:cNvSpPr/>
                <p:nvPr/>
              </p:nvSpPr>
              <p:spPr>
                <a:xfrm>
                  <a:off x="2971799" y="2354580"/>
                  <a:ext cx="543605" cy="723900"/>
                </a:xfrm>
                <a:custGeom>
                  <a:avLst/>
                  <a:gdLst>
                    <a:gd name="connsiteX0" fmla="*/ 432877 w 546522"/>
                    <a:gd name="connsiteY0" fmla="*/ 0 h 723900"/>
                    <a:gd name="connsiteX1" fmla="*/ 457198 w 546522"/>
                    <a:gd name="connsiteY1" fmla="*/ 0 h 723900"/>
                    <a:gd name="connsiteX2" fmla="*/ 541454 w 546522"/>
                    <a:gd name="connsiteY2" fmla="*/ 55849 h 723900"/>
                    <a:gd name="connsiteX3" fmla="*/ 546522 w 546522"/>
                    <a:gd name="connsiteY3" fmla="*/ 80948 h 723900"/>
                    <a:gd name="connsiteX4" fmla="*/ 91442 w 546522"/>
                    <a:gd name="connsiteY4" fmla="*/ 0 h 723900"/>
                    <a:gd name="connsiteX5" fmla="*/ 294237 w 546522"/>
                    <a:gd name="connsiteY5" fmla="*/ 0 h 723900"/>
                    <a:gd name="connsiteX6" fmla="*/ 259248 w 546522"/>
                    <a:gd name="connsiteY6" fmla="*/ 99060 h 723900"/>
                    <a:gd name="connsiteX7" fmla="*/ 147939 w 546522"/>
                    <a:gd name="connsiteY7" fmla="*/ 99060 h 723900"/>
                    <a:gd name="connsiteX8" fmla="*/ 84747 w 546522"/>
                    <a:gd name="connsiteY8" fmla="*/ 162252 h 723900"/>
                    <a:gd name="connsiteX9" fmla="*/ 84747 w 546522"/>
                    <a:gd name="connsiteY9" fmla="*/ 561648 h 723900"/>
                    <a:gd name="connsiteX10" fmla="*/ 147939 w 546522"/>
                    <a:gd name="connsiteY10" fmla="*/ 624840 h 723900"/>
                    <a:gd name="connsiteX11" fmla="*/ 400702 w 546522"/>
                    <a:gd name="connsiteY11" fmla="*/ 624840 h 723900"/>
                    <a:gd name="connsiteX12" fmla="*/ 458928 w 546522"/>
                    <a:gd name="connsiteY12" fmla="*/ 586245 h 723900"/>
                    <a:gd name="connsiteX13" fmla="*/ 460480 w 546522"/>
                    <a:gd name="connsiteY13" fmla="*/ 578560 h 723900"/>
                    <a:gd name="connsiteX14" fmla="*/ 543605 w 546522"/>
                    <a:gd name="connsiteY14" fmla="*/ 657400 h 723900"/>
                    <a:gd name="connsiteX15" fmla="*/ 541454 w 546522"/>
                    <a:gd name="connsiteY15" fmla="*/ 668051 h 723900"/>
                    <a:gd name="connsiteX16" fmla="*/ 457198 w 546522"/>
                    <a:gd name="connsiteY16" fmla="*/ 723900 h 723900"/>
                    <a:gd name="connsiteX17" fmla="*/ 91442 w 546522"/>
                    <a:gd name="connsiteY17" fmla="*/ 723900 h 723900"/>
                    <a:gd name="connsiteX18" fmla="*/ 0 w 546522"/>
                    <a:gd name="connsiteY18" fmla="*/ 632458 h 723900"/>
                    <a:gd name="connsiteX19" fmla="*/ 0 w 546522"/>
                    <a:gd name="connsiteY19" fmla="*/ 91442 h 723900"/>
                    <a:gd name="connsiteX20" fmla="*/ 91442 w 546522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541454 w 543605"/>
                    <a:gd name="connsiteY2" fmla="*/ 55849 h 723900"/>
                    <a:gd name="connsiteX3" fmla="*/ 432877 w 543605"/>
                    <a:gd name="connsiteY3" fmla="*/ 0 h 723900"/>
                    <a:gd name="connsiteX4" fmla="*/ 91442 w 543605"/>
                    <a:gd name="connsiteY4" fmla="*/ 0 h 723900"/>
                    <a:gd name="connsiteX5" fmla="*/ 294237 w 543605"/>
                    <a:gd name="connsiteY5" fmla="*/ 0 h 723900"/>
                    <a:gd name="connsiteX6" fmla="*/ 259248 w 543605"/>
                    <a:gd name="connsiteY6" fmla="*/ 99060 h 723900"/>
                    <a:gd name="connsiteX7" fmla="*/ 147939 w 543605"/>
                    <a:gd name="connsiteY7" fmla="*/ 99060 h 723900"/>
                    <a:gd name="connsiteX8" fmla="*/ 84747 w 543605"/>
                    <a:gd name="connsiteY8" fmla="*/ 162252 h 723900"/>
                    <a:gd name="connsiteX9" fmla="*/ 84747 w 543605"/>
                    <a:gd name="connsiteY9" fmla="*/ 561648 h 723900"/>
                    <a:gd name="connsiteX10" fmla="*/ 147939 w 543605"/>
                    <a:gd name="connsiteY10" fmla="*/ 624840 h 723900"/>
                    <a:gd name="connsiteX11" fmla="*/ 400702 w 543605"/>
                    <a:gd name="connsiteY11" fmla="*/ 624840 h 723900"/>
                    <a:gd name="connsiteX12" fmla="*/ 458928 w 543605"/>
                    <a:gd name="connsiteY12" fmla="*/ 586245 h 723900"/>
                    <a:gd name="connsiteX13" fmla="*/ 460480 w 543605"/>
                    <a:gd name="connsiteY13" fmla="*/ 578560 h 723900"/>
                    <a:gd name="connsiteX14" fmla="*/ 543605 w 543605"/>
                    <a:gd name="connsiteY14" fmla="*/ 657400 h 723900"/>
                    <a:gd name="connsiteX15" fmla="*/ 541454 w 543605"/>
                    <a:gd name="connsiteY15" fmla="*/ 668051 h 723900"/>
                    <a:gd name="connsiteX16" fmla="*/ 457198 w 543605"/>
                    <a:gd name="connsiteY16" fmla="*/ 723900 h 723900"/>
                    <a:gd name="connsiteX17" fmla="*/ 91442 w 543605"/>
                    <a:gd name="connsiteY17" fmla="*/ 723900 h 723900"/>
                    <a:gd name="connsiteX18" fmla="*/ 0 w 543605"/>
                    <a:gd name="connsiteY18" fmla="*/ 632458 h 723900"/>
                    <a:gd name="connsiteX19" fmla="*/ 0 w 543605"/>
                    <a:gd name="connsiteY19" fmla="*/ 91442 h 723900"/>
                    <a:gd name="connsiteX20" fmla="*/ 91442 w 543605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432877 w 543605"/>
                    <a:gd name="connsiteY2" fmla="*/ 0 h 723900"/>
                    <a:gd name="connsiteX3" fmla="*/ 91442 w 543605"/>
                    <a:gd name="connsiteY3" fmla="*/ 0 h 723900"/>
                    <a:gd name="connsiteX4" fmla="*/ 294237 w 543605"/>
                    <a:gd name="connsiteY4" fmla="*/ 0 h 723900"/>
                    <a:gd name="connsiteX5" fmla="*/ 259248 w 543605"/>
                    <a:gd name="connsiteY5" fmla="*/ 99060 h 723900"/>
                    <a:gd name="connsiteX6" fmla="*/ 147939 w 543605"/>
                    <a:gd name="connsiteY6" fmla="*/ 99060 h 723900"/>
                    <a:gd name="connsiteX7" fmla="*/ 84747 w 543605"/>
                    <a:gd name="connsiteY7" fmla="*/ 162252 h 723900"/>
                    <a:gd name="connsiteX8" fmla="*/ 84747 w 543605"/>
                    <a:gd name="connsiteY8" fmla="*/ 561648 h 723900"/>
                    <a:gd name="connsiteX9" fmla="*/ 147939 w 543605"/>
                    <a:gd name="connsiteY9" fmla="*/ 624840 h 723900"/>
                    <a:gd name="connsiteX10" fmla="*/ 400702 w 543605"/>
                    <a:gd name="connsiteY10" fmla="*/ 624840 h 723900"/>
                    <a:gd name="connsiteX11" fmla="*/ 458928 w 543605"/>
                    <a:gd name="connsiteY11" fmla="*/ 586245 h 723900"/>
                    <a:gd name="connsiteX12" fmla="*/ 460480 w 543605"/>
                    <a:gd name="connsiteY12" fmla="*/ 578560 h 723900"/>
                    <a:gd name="connsiteX13" fmla="*/ 543605 w 543605"/>
                    <a:gd name="connsiteY13" fmla="*/ 657400 h 723900"/>
                    <a:gd name="connsiteX14" fmla="*/ 541454 w 543605"/>
                    <a:gd name="connsiteY14" fmla="*/ 668051 h 723900"/>
                    <a:gd name="connsiteX15" fmla="*/ 457198 w 543605"/>
                    <a:gd name="connsiteY15" fmla="*/ 723900 h 723900"/>
                    <a:gd name="connsiteX16" fmla="*/ 91442 w 543605"/>
                    <a:gd name="connsiteY16" fmla="*/ 723900 h 723900"/>
                    <a:gd name="connsiteX17" fmla="*/ 0 w 543605"/>
                    <a:gd name="connsiteY17" fmla="*/ 632458 h 723900"/>
                    <a:gd name="connsiteX18" fmla="*/ 0 w 543605"/>
                    <a:gd name="connsiteY18" fmla="*/ 91442 h 723900"/>
                    <a:gd name="connsiteX19" fmla="*/ 91442 w 543605"/>
                    <a:gd name="connsiteY19" fmla="*/ 0 h 723900"/>
                    <a:gd name="connsiteX0" fmla="*/ 91442 w 543605"/>
                    <a:gd name="connsiteY0" fmla="*/ 0 h 723900"/>
                    <a:gd name="connsiteX1" fmla="*/ 294237 w 543605"/>
                    <a:gd name="connsiteY1" fmla="*/ 0 h 723900"/>
                    <a:gd name="connsiteX2" fmla="*/ 259248 w 543605"/>
                    <a:gd name="connsiteY2" fmla="*/ 99060 h 723900"/>
                    <a:gd name="connsiteX3" fmla="*/ 147939 w 543605"/>
                    <a:gd name="connsiteY3" fmla="*/ 99060 h 723900"/>
                    <a:gd name="connsiteX4" fmla="*/ 84747 w 543605"/>
                    <a:gd name="connsiteY4" fmla="*/ 162252 h 723900"/>
                    <a:gd name="connsiteX5" fmla="*/ 84747 w 543605"/>
                    <a:gd name="connsiteY5" fmla="*/ 561648 h 723900"/>
                    <a:gd name="connsiteX6" fmla="*/ 147939 w 543605"/>
                    <a:gd name="connsiteY6" fmla="*/ 624840 h 723900"/>
                    <a:gd name="connsiteX7" fmla="*/ 400702 w 543605"/>
                    <a:gd name="connsiteY7" fmla="*/ 624840 h 723900"/>
                    <a:gd name="connsiteX8" fmla="*/ 458928 w 543605"/>
                    <a:gd name="connsiteY8" fmla="*/ 586245 h 723900"/>
                    <a:gd name="connsiteX9" fmla="*/ 460480 w 543605"/>
                    <a:gd name="connsiteY9" fmla="*/ 578560 h 723900"/>
                    <a:gd name="connsiteX10" fmla="*/ 543605 w 543605"/>
                    <a:gd name="connsiteY10" fmla="*/ 657400 h 723900"/>
                    <a:gd name="connsiteX11" fmla="*/ 541454 w 543605"/>
                    <a:gd name="connsiteY11" fmla="*/ 668051 h 723900"/>
                    <a:gd name="connsiteX12" fmla="*/ 457198 w 543605"/>
                    <a:gd name="connsiteY12" fmla="*/ 723900 h 723900"/>
                    <a:gd name="connsiteX13" fmla="*/ 91442 w 543605"/>
                    <a:gd name="connsiteY13" fmla="*/ 723900 h 723900"/>
                    <a:gd name="connsiteX14" fmla="*/ 0 w 543605"/>
                    <a:gd name="connsiteY14" fmla="*/ 632458 h 723900"/>
                    <a:gd name="connsiteX15" fmla="*/ 0 w 543605"/>
                    <a:gd name="connsiteY15" fmla="*/ 91442 h 723900"/>
                    <a:gd name="connsiteX16" fmla="*/ 91442 w 543605"/>
                    <a:gd name="connsiteY16" fmla="*/ 0 h 72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43605" h="723900">
                      <a:moveTo>
                        <a:pt x="91442" y="0"/>
                      </a:moveTo>
                      <a:lnTo>
                        <a:pt x="294237" y="0"/>
                      </a:lnTo>
                      <a:lnTo>
                        <a:pt x="259248" y="99060"/>
                      </a:lnTo>
                      <a:lnTo>
                        <a:pt x="147939" y="99060"/>
                      </a:lnTo>
                      <a:cubicBezTo>
                        <a:pt x="113039" y="99060"/>
                        <a:pt x="84747" y="127352"/>
                        <a:pt x="84747" y="162252"/>
                      </a:cubicBezTo>
                      <a:lnTo>
                        <a:pt x="84747" y="561648"/>
                      </a:lnTo>
                      <a:cubicBezTo>
                        <a:pt x="84747" y="596548"/>
                        <a:pt x="113039" y="624840"/>
                        <a:pt x="147939" y="624840"/>
                      </a:cubicBezTo>
                      <a:lnTo>
                        <a:pt x="400702" y="624840"/>
                      </a:lnTo>
                      <a:cubicBezTo>
                        <a:pt x="426877" y="624840"/>
                        <a:pt x="449335" y="608926"/>
                        <a:pt x="458928" y="586245"/>
                      </a:cubicBezTo>
                      <a:lnTo>
                        <a:pt x="460480" y="578560"/>
                      </a:lnTo>
                      <a:lnTo>
                        <a:pt x="543605" y="657400"/>
                      </a:lnTo>
                      <a:lnTo>
                        <a:pt x="541454" y="668051"/>
                      </a:lnTo>
                      <a:cubicBezTo>
                        <a:pt x="527573" y="700871"/>
                        <a:pt x="495075" y="723900"/>
                        <a:pt x="457198" y="723900"/>
                      </a:cubicBezTo>
                      <a:lnTo>
                        <a:pt x="91442" y="723900"/>
                      </a:lnTo>
                      <a:cubicBezTo>
                        <a:pt x="40940" y="723900"/>
                        <a:pt x="0" y="682960"/>
                        <a:pt x="0" y="632458"/>
                      </a:cubicBezTo>
                      <a:lnTo>
                        <a:pt x="0" y="91442"/>
                      </a:lnTo>
                      <a:cubicBezTo>
                        <a:pt x="0" y="40940"/>
                        <a:pt x="40940" y="0"/>
                        <a:pt x="9144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63" name="Rectangle 20"/>
                <p:cNvSpPr/>
                <p:nvPr/>
              </p:nvSpPr>
              <p:spPr>
                <a:xfrm>
                  <a:off x="3267940" y="1957742"/>
                  <a:ext cx="878380" cy="946077"/>
                </a:xfrm>
                <a:custGeom>
                  <a:avLst/>
                  <a:gdLst>
                    <a:gd name="connsiteX0" fmla="*/ 0 w 910858"/>
                    <a:gd name="connsiteY0" fmla="*/ 0 h 1112520"/>
                    <a:gd name="connsiteX1" fmla="*/ 9108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10858"/>
                    <a:gd name="connsiteY0" fmla="*/ 0 h 1112520"/>
                    <a:gd name="connsiteX1" fmla="*/ 8727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94678"/>
                    <a:gd name="connsiteY0" fmla="*/ 0 h 1112520"/>
                    <a:gd name="connsiteX1" fmla="*/ 872758 w 994678"/>
                    <a:gd name="connsiteY1" fmla="*/ 0 h 1112520"/>
                    <a:gd name="connsiteX2" fmla="*/ 994678 w 994678"/>
                    <a:gd name="connsiteY2" fmla="*/ 68580 h 1112520"/>
                    <a:gd name="connsiteX3" fmla="*/ 0 w 994678"/>
                    <a:gd name="connsiteY3" fmla="*/ 1112520 h 1112520"/>
                    <a:gd name="connsiteX4" fmla="*/ 0 w 994678"/>
                    <a:gd name="connsiteY4" fmla="*/ 0 h 1112520"/>
                    <a:gd name="connsiteX0" fmla="*/ 0 w 994678"/>
                    <a:gd name="connsiteY0" fmla="*/ 0 h 883920"/>
                    <a:gd name="connsiteX1" fmla="*/ 872758 w 994678"/>
                    <a:gd name="connsiteY1" fmla="*/ 0 h 883920"/>
                    <a:gd name="connsiteX2" fmla="*/ 994678 w 994678"/>
                    <a:gd name="connsiteY2" fmla="*/ 68580 h 883920"/>
                    <a:gd name="connsiteX3" fmla="*/ 434340 w 994678"/>
                    <a:gd name="connsiteY3" fmla="*/ 883920 h 883920"/>
                    <a:gd name="connsiteX4" fmla="*/ 0 w 994678"/>
                    <a:gd name="connsiteY4" fmla="*/ 0 h 883920"/>
                    <a:gd name="connsiteX0" fmla="*/ 7620 w 560338"/>
                    <a:gd name="connsiteY0" fmla="*/ 548640 h 883920"/>
                    <a:gd name="connsiteX1" fmla="*/ 438418 w 560338"/>
                    <a:gd name="connsiteY1" fmla="*/ 0 h 883920"/>
                    <a:gd name="connsiteX2" fmla="*/ 560338 w 560338"/>
                    <a:gd name="connsiteY2" fmla="*/ 68580 h 883920"/>
                    <a:gd name="connsiteX3" fmla="*/ 0 w 560338"/>
                    <a:gd name="connsiteY3" fmla="*/ 883920 h 883920"/>
                    <a:gd name="connsiteX4" fmla="*/ 7620 w 560338"/>
                    <a:gd name="connsiteY4" fmla="*/ 548640 h 883920"/>
                    <a:gd name="connsiteX0" fmla="*/ 18782 w 571500"/>
                    <a:gd name="connsiteY0" fmla="*/ 548640 h 883920"/>
                    <a:gd name="connsiteX1" fmla="*/ 449580 w 571500"/>
                    <a:gd name="connsiteY1" fmla="*/ 0 h 883920"/>
                    <a:gd name="connsiteX2" fmla="*/ 571500 w 571500"/>
                    <a:gd name="connsiteY2" fmla="*/ 68580 h 883920"/>
                    <a:gd name="connsiteX3" fmla="*/ 11162 w 571500"/>
                    <a:gd name="connsiteY3" fmla="*/ 883920 h 883920"/>
                    <a:gd name="connsiteX4" fmla="*/ 0 w 571500"/>
                    <a:gd name="connsiteY4" fmla="*/ 739140 h 883920"/>
                    <a:gd name="connsiteX5" fmla="*/ 18782 w 5715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0 w 800100"/>
                    <a:gd name="connsiteY4" fmla="*/ 472440 h 883920"/>
                    <a:gd name="connsiteX5" fmla="*/ 247382 w 8001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129540 w 800100"/>
                    <a:gd name="connsiteY4" fmla="*/ 678180 h 883920"/>
                    <a:gd name="connsiteX5" fmla="*/ 0 w 800100"/>
                    <a:gd name="connsiteY5" fmla="*/ 472440 h 883920"/>
                    <a:gd name="connsiteX6" fmla="*/ 247382 w 8001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31596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27024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23582 w 876300"/>
                    <a:gd name="connsiteY6" fmla="*/ 548640 h 914400"/>
                    <a:gd name="connsiteX0" fmla="*/ 308342 w 876300"/>
                    <a:gd name="connsiteY0" fmla="*/ 60198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08342 w 876300"/>
                    <a:gd name="connsiteY6" fmla="*/ 601980 h 914400"/>
                    <a:gd name="connsiteX0" fmla="*/ 308342 w 876300"/>
                    <a:gd name="connsiteY0" fmla="*/ 601980 h 876300"/>
                    <a:gd name="connsiteX1" fmla="*/ 754380 w 876300"/>
                    <a:gd name="connsiteY1" fmla="*/ 0 h 876300"/>
                    <a:gd name="connsiteX2" fmla="*/ 876300 w 876300"/>
                    <a:gd name="connsiteY2" fmla="*/ 68580 h 876300"/>
                    <a:gd name="connsiteX3" fmla="*/ 285482 w 876300"/>
                    <a:gd name="connsiteY3" fmla="*/ 876300 h 876300"/>
                    <a:gd name="connsiteX4" fmla="*/ 0 w 876300"/>
                    <a:gd name="connsiteY4" fmla="*/ 609600 h 876300"/>
                    <a:gd name="connsiteX5" fmla="*/ 76200 w 876300"/>
                    <a:gd name="connsiteY5" fmla="*/ 472440 h 876300"/>
                    <a:gd name="connsiteX6" fmla="*/ 308342 w 876300"/>
                    <a:gd name="connsiteY6" fmla="*/ 601980 h 876300"/>
                    <a:gd name="connsiteX0" fmla="*/ 331202 w 899160"/>
                    <a:gd name="connsiteY0" fmla="*/ 60198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31202 w 899160"/>
                    <a:gd name="connsiteY6" fmla="*/ 601980 h 876300"/>
                    <a:gd name="connsiteX0" fmla="*/ 323582 w 899160"/>
                    <a:gd name="connsiteY0" fmla="*/ 65532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23582 w 899160"/>
                    <a:gd name="connsiteY6" fmla="*/ 655320 h 876300"/>
                    <a:gd name="connsiteX0" fmla="*/ 323582 w 899160"/>
                    <a:gd name="connsiteY0" fmla="*/ 67056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70560 h 891540"/>
                    <a:gd name="connsiteX0" fmla="*/ 323582 w 899160"/>
                    <a:gd name="connsiteY0" fmla="*/ 64008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40080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283538 w 899160"/>
                    <a:gd name="connsiteY6" fmla="*/ 700339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67025 w 899160"/>
                    <a:gd name="connsiteY5" fmla="*/ 514462 h 891540"/>
                    <a:gd name="connsiteX6" fmla="*/ 283538 w 899160"/>
                    <a:gd name="connsiteY6" fmla="*/ 700339 h 891540"/>
                    <a:gd name="connsiteX0" fmla="*/ 283538 w 891151"/>
                    <a:gd name="connsiteY0" fmla="*/ 700339 h 891540"/>
                    <a:gd name="connsiteX1" fmla="*/ 746760 w 891151"/>
                    <a:gd name="connsiteY1" fmla="*/ 0 h 891540"/>
                    <a:gd name="connsiteX2" fmla="*/ 891151 w 891151"/>
                    <a:gd name="connsiteY2" fmla="*/ 150774 h 891540"/>
                    <a:gd name="connsiteX3" fmla="*/ 308342 w 891151"/>
                    <a:gd name="connsiteY3" fmla="*/ 891540 h 891540"/>
                    <a:gd name="connsiteX4" fmla="*/ 0 w 891151"/>
                    <a:gd name="connsiteY4" fmla="*/ 647700 h 891540"/>
                    <a:gd name="connsiteX5" fmla="*/ 67025 w 891151"/>
                    <a:gd name="connsiteY5" fmla="*/ 514462 h 891540"/>
                    <a:gd name="connsiteX6" fmla="*/ 283538 w 891151"/>
                    <a:gd name="connsiteY6" fmla="*/ 700339 h 891540"/>
                    <a:gd name="connsiteX0" fmla="*/ 283538 w 891151"/>
                    <a:gd name="connsiteY0" fmla="*/ 640080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83538 w 891151"/>
                    <a:gd name="connsiteY6" fmla="*/ 640080 h 831281"/>
                    <a:gd name="connsiteX0" fmla="*/ 275530 w 891151"/>
                    <a:gd name="connsiteY0" fmla="*/ 599908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75530 w 891151"/>
                    <a:gd name="connsiteY6" fmla="*/ 599908 h 831281"/>
                    <a:gd name="connsiteX0" fmla="*/ 307565 w 923186"/>
                    <a:gd name="connsiteY0" fmla="*/ 599908 h 831281"/>
                    <a:gd name="connsiteX1" fmla="*/ 762778 w 923186"/>
                    <a:gd name="connsiteY1" fmla="*/ 0 h 831281"/>
                    <a:gd name="connsiteX2" fmla="*/ 923186 w 923186"/>
                    <a:gd name="connsiteY2" fmla="*/ 90515 h 831281"/>
                    <a:gd name="connsiteX3" fmla="*/ 340377 w 923186"/>
                    <a:gd name="connsiteY3" fmla="*/ 831281 h 831281"/>
                    <a:gd name="connsiteX4" fmla="*/ 0 w 923186"/>
                    <a:gd name="connsiteY4" fmla="*/ 620918 h 831281"/>
                    <a:gd name="connsiteX5" fmla="*/ 99060 w 923186"/>
                    <a:gd name="connsiteY5" fmla="*/ 454203 h 831281"/>
                    <a:gd name="connsiteX6" fmla="*/ 307565 w 923186"/>
                    <a:gd name="connsiteY6" fmla="*/ 599908 h 831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23186" h="831281">
                      <a:moveTo>
                        <a:pt x="307565" y="599908"/>
                      </a:moveTo>
                      <a:lnTo>
                        <a:pt x="762778" y="0"/>
                      </a:lnTo>
                      <a:lnTo>
                        <a:pt x="923186" y="90515"/>
                      </a:lnTo>
                      <a:lnTo>
                        <a:pt x="340377" y="831281"/>
                      </a:lnTo>
                      <a:lnTo>
                        <a:pt x="0" y="620918"/>
                      </a:lnTo>
                      <a:lnTo>
                        <a:pt x="99060" y="454203"/>
                      </a:lnTo>
                      <a:lnTo>
                        <a:pt x="307565" y="5999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50" name="Group 149"/>
              <p:cNvGrpSpPr/>
              <p:nvPr/>
            </p:nvGrpSpPr>
            <p:grpSpPr>
              <a:xfrm>
                <a:off x="2979287" y="4557986"/>
                <a:ext cx="1174521" cy="1120738"/>
                <a:chOff x="2971799" y="1957742"/>
                <a:chExt cx="1174521" cy="1120738"/>
              </a:xfrm>
              <a:grpFill/>
            </p:grpSpPr>
            <p:sp>
              <p:nvSpPr>
                <p:cNvPr id="160" name="Freeform 159"/>
                <p:cNvSpPr/>
                <p:nvPr/>
              </p:nvSpPr>
              <p:spPr>
                <a:xfrm>
                  <a:off x="2971799" y="2354580"/>
                  <a:ext cx="543605" cy="723900"/>
                </a:xfrm>
                <a:custGeom>
                  <a:avLst/>
                  <a:gdLst>
                    <a:gd name="connsiteX0" fmla="*/ 432877 w 546522"/>
                    <a:gd name="connsiteY0" fmla="*/ 0 h 723900"/>
                    <a:gd name="connsiteX1" fmla="*/ 457198 w 546522"/>
                    <a:gd name="connsiteY1" fmla="*/ 0 h 723900"/>
                    <a:gd name="connsiteX2" fmla="*/ 541454 w 546522"/>
                    <a:gd name="connsiteY2" fmla="*/ 55849 h 723900"/>
                    <a:gd name="connsiteX3" fmla="*/ 546522 w 546522"/>
                    <a:gd name="connsiteY3" fmla="*/ 80948 h 723900"/>
                    <a:gd name="connsiteX4" fmla="*/ 91442 w 546522"/>
                    <a:gd name="connsiteY4" fmla="*/ 0 h 723900"/>
                    <a:gd name="connsiteX5" fmla="*/ 294237 w 546522"/>
                    <a:gd name="connsiteY5" fmla="*/ 0 h 723900"/>
                    <a:gd name="connsiteX6" fmla="*/ 259248 w 546522"/>
                    <a:gd name="connsiteY6" fmla="*/ 99060 h 723900"/>
                    <a:gd name="connsiteX7" fmla="*/ 147939 w 546522"/>
                    <a:gd name="connsiteY7" fmla="*/ 99060 h 723900"/>
                    <a:gd name="connsiteX8" fmla="*/ 84747 w 546522"/>
                    <a:gd name="connsiteY8" fmla="*/ 162252 h 723900"/>
                    <a:gd name="connsiteX9" fmla="*/ 84747 w 546522"/>
                    <a:gd name="connsiteY9" fmla="*/ 561648 h 723900"/>
                    <a:gd name="connsiteX10" fmla="*/ 147939 w 546522"/>
                    <a:gd name="connsiteY10" fmla="*/ 624840 h 723900"/>
                    <a:gd name="connsiteX11" fmla="*/ 400702 w 546522"/>
                    <a:gd name="connsiteY11" fmla="*/ 624840 h 723900"/>
                    <a:gd name="connsiteX12" fmla="*/ 458928 w 546522"/>
                    <a:gd name="connsiteY12" fmla="*/ 586245 h 723900"/>
                    <a:gd name="connsiteX13" fmla="*/ 460480 w 546522"/>
                    <a:gd name="connsiteY13" fmla="*/ 578560 h 723900"/>
                    <a:gd name="connsiteX14" fmla="*/ 543605 w 546522"/>
                    <a:gd name="connsiteY14" fmla="*/ 657400 h 723900"/>
                    <a:gd name="connsiteX15" fmla="*/ 541454 w 546522"/>
                    <a:gd name="connsiteY15" fmla="*/ 668051 h 723900"/>
                    <a:gd name="connsiteX16" fmla="*/ 457198 w 546522"/>
                    <a:gd name="connsiteY16" fmla="*/ 723900 h 723900"/>
                    <a:gd name="connsiteX17" fmla="*/ 91442 w 546522"/>
                    <a:gd name="connsiteY17" fmla="*/ 723900 h 723900"/>
                    <a:gd name="connsiteX18" fmla="*/ 0 w 546522"/>
                    <a:gd name="connsiteY18" fmla="*/ 632458 h 723900"/>
                    <a:gd name="connsiteX19" fmla="*/ 0 w 546522"/>
                    <a:gd name="connsiteY19" fmla="*/ 91442 h 723900"/>
                    <a:gd name="connsiteX20" fmla="*/ 91442 w 546522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541454 w 543605"/>
                    <a:gd name="connsiteY2" fmla="*/ 55849 h 723900"/>
                    <a:gd name="connsiteX3" fmla="*/ 432877 w 543605"/>
                    <a:gd name="connsiteY3" fmla="*/ 0 h 723900"/>
                    <a:gd name="connsiteX4" fmla="*/ 91442 w 543605"/>
                    <a:gd name="connsiteY4" fmla="*/ 0 h 723900"/>
                    <a:gd name="connsiteX5" fmla="*/ 294237 w 543605"/>
                    <a:gd name="connsiteY5" fmla="*/ 0 h 723900"/>
                    <a:gd name="connsiteX6" fmla="*/ 259248 w 543605"/>
                    <a:gd name="connsiteY6" fmla="*/ 99060 h 723900"/>
                    <a:gd name="connsiteX7" fmla="*/ 147939 w 543605"/>
                    <a:gd name="connsiteY7" fmla="*/ 99060 h 723900"/>
                    <a:gd name="connsiteX8" fmla="*/ 84747 w 543605"/>
                    <a:gd name="connsiteY8" fmla="*/ 162252 h 723900"/>
                    <a:gd name="connsiteX9" fmla="*/ 84747 w 543605"/>
                    <a:gd name="connsiteY9" fmla="*/ 561648 h 723900"/>
                    <a:gd name="connsiteX10" fmla="*/ 147939 w 543605"/>
                    <a:gd name="connsiteY10" fmla="*/ 624840 h 723900"/>
                    <a:gd name="connsiteX11" fmla="*/ 400702 w 543605"/>
                    <a:gd name="connsiteY11" fmla="*/ 624840 h 723900"/>
                    <a:gd name="connsiteX12" fmla="*/ 458928 w 543605"/>
                    <a:gd name="connsiteY12" fmla="*/ 586245 h 723900"/>
                    <a:gd name="connsiteX13" fmla="*/ 460480 w 543605"/>
                    <a:gd name="connsiteY13" fmla="*/ 578560 h 723900"/>
                    <a:gd name="connsiteX14" fmla="*/ 543605 w 543605"/>
                    <a:gd name="connsiteY14" fmla="*/ 657400 h 723900"/>
                    <a:gd name="connsiteX15" fmla="*/ 541454 w 543605"/>
                    <a:gd name="connsiteY15" fmla="*/ 668051 h 723900"/>
                    <a:gd name="connsiteX16" fmla="*/ 457198 w 543605"/>
                    <a:gd name="connsiteY16" fmla="*/ 723900 h 723900"/>
                    <a:gd name="connsiteX17" fmla="*/ 91442 w 543605"/>
                    <a:gd name="connsiteY17" fmla="*/ 723900 h 723900"/>
                    <a:gd name="connsiteX18" fmla="*/ 0 w 543605"/>
                    <a:gd name="connsiteY18" fmla="*/ 632458 h 723900"/>
                    <a:gd name="connsiteX19" fmla="*/ 0 w 543605"/>
                    <a:gd name="connsiteY19" fmla="*/ 91442 h 723900"/>
                    <a:gd name="connsiteX20" fmla="*/ 91442 w 543605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432877 w 543605"/>
                    <a:gd name="connsiteY2" fmla="*/ 0 h 723900"/>
                    <a:gd name="connsiteX3" fmla="*/ 91442 w 543605"/>
                    <a:gd name="connsiteY3" fmla="*/ 0 h 723900"/>
                    <a:gd name="connsiteX4" fmla="*/ 294237 w 543605"/>
                    <a:gd name="connsiteY4" fmla="*/ 0 h 723900"/>
                    <a:gd name="connsiteX5" fmla="*/ 259248 w 543605"/>
                    <a:gd name="connsiteY5" fmla="*/ 99060 h 723900"/>
                    <a:gd name="connsiteX6" fmla="*/ 147939 w 543605"/>
                    <a:gd name="connsiteY6" fmla="*/ 99060 h 723900"/>
                    <a:gd name="connsiteX7" fmla="*/ 84747 w 543605"/>
                    <a:gd name="connsiteY7" fmla="*/ 162252 h 723900"/>
                    <a:gd name="connsiteX8" fmla="*/ 84747 w 543605"/>
                    <a:gd name="connsiteY8" fmla="*/ 561648 h 723900"/>
                    <a:gd name="connsiteX9" fmla="*/ 147939 w 543605"/>
                    <a:gd name="connsiteY9" fmla="*/ 624840 h 723900"/>
                    <a:gd name="connsiteX10" fmla="*/ 400702 w 543605"/>
                    <a:gd name="connsiteY10" fmla="*/ 624840 h 723900"/>
                    <a:gd name="connsiteX11" fmla="*/ 458928 w 543605"/>
                    <a:gd name="connsiteY11" fmla="*/ 586245 h 723900"/>
                    <a:gd name="connsiteX12" fmla="*/ 460480 w 543605"/>
                    <a:gd name="connsiteY12" fmla="*/ 578560 h 723900"/>
                    <a:gd name="connsiteX13" fmla="*/ 543605 w 543605"/>
                    <a:gd name="connsiteY13" fmla="*/ 657400 h 723900"/>
                    <a:gd name="connsiteX14" fmla="*/ 541454 w 543605"/>
                    <a:gd name="connsiteY14" fmla="*/ 668051 h 723900"/>
                    <a:gd name="connsiteX15" fmla="*/ 457198 w 543605"/>
                    <a:gd name="connsiteY15" fmla="*/ 723900 h 723900"/>
                    <a:gd name="connsiteX16" fmla="*/ 91442 w 543605"/>
                    <a:gd name="connsiteY16" fmla="*/ 723900 h 723900"/>
                    <a:gd name="connsiteX17" fmla="*/ 0 w 543605"/>
                    <a:gd name="connsiteY17" fmla="*/ 632458 h 723900"/>
                    <a:gd name="connsiteX18" fmla="*/ 0 w 543605"/>
                    <a:gd name="connsiteY18" fmla="*/ 91442 h 723900"/>
                    <a:gd name="connsiteX19" fmla="*/ 91442 w 543605"/>
                    <a:gd name="connsiteY19" fmla="*/ 0 h 723900"/>
                    <a:gd name="connsiteX0" fmla="*/ 91442 w 543605"/>
                    <a:gd name="connsiteY0" fmla="*/ 0 h 723900"/>
                    <a:gd name="connsiteX1" fmla="*/ 294237 w 543605"/>
                    <a:gd name="connsiteY1" fmla="*/ 0 h 723900"/>
                    <a:gd name="connsiteX2" fmla="*/ 259248 w 543605"/>
                    <a:gd name="connsiteY2" fmla="*/ 99060 h 723900"/>
                    <a:gd name="connsiteX3" fmla="*/ 147939 w 543605"/>
                    <a:gd name="connsiteY3" fmla="*/ 99060 h 723900"/>
                    <a:gd name="connsiteX4" fmla="*/ 84747 w 543605"/>
                    <a:gd name="connsiteY4" fmla="*/ 162252 h 723900"/>
                    <a:gd name="connsiteX5" fmla="*/ 84747 w 543605"/>
                    <a:gd name="connsiteY5" fmla="*/ 561648 h 723900"/>
                    <a:gd name="connsiteX6" fmla="*/ 147939 w 543605"/>
                    <a:gd name="connsiteY6" fmla="*/ 624840 h 723900"/>
                    <a:gd name="connsiteX7" fmla="*/ 400702 w 543605"/>
                    <a:gd name="connsiteY7" fmla="*/ 624840 h 723900"/>
                    <a:gd name="connsiteX8" fmla="*/ 458928 w 543605"/>
                    <a:gd name="connsiteY8" fmla="*/ 586245 h 723900"/>
                    <a:gd name="connsiteX9" fmla="*/ 460480 w 543605"/>
                    <a:gd name="connsiteY9" fmla="*/ 578560 h 723900"/>
                    <a:gd name="connsiteX10" fmla="*/ 543605 w 543605"/>
                    <a:gd name="connsiteY10" fmla="*/ 657400 h 723900"/>
                    <a:gd name="connsiteX11" fmla="*/ 541454 w 543605"/>
                    <a:gd name="connsiteY11" fmla="*/ 668051 h 723900"/>
                    <a:gd name="connsiteX12" fmla="*/ 457198 w 543605"/>
                    <a:gd name="connsiteY12" fmla="*/ 723900 h 723900"/>
                    <a:gd name="connsiteX13" fmla="*/ 91442 w 543605"/>
                    <a:gd name="connsiteY13" fmla="*/ 723900 h 723900"/>
                    <a:gd name="connsiteX14" fmla="*/ 0 w 543605"/>
                    <a:gd name="connsiteY14" fmla="*/ 632458 h 723900"/>
                    <a:gd name="connsiteX15" fmla="*/ 0 w 543605"/>
                    <a:gd name="connsiteY15" fmla="*/ 91442 h 723900"/>
                    <a:gd name="connsiteX16" fmla="*/ 91442 w 543605"/>
                    <a:gd name="connsiteY16" fmla="*/ 0 h 72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43605" h="723900">
                      <a:moveTo>
                        <a:pt x="91442" y="0"/>
                      </a:moveTo>
                      <a:lnTo>
                        <a:pt x="294237" y="0"/>
                      </a:lnTo>
                      <a:lnTo>
                        <a:pt x="259248" y="99060"/>
                      </a:lnTo>
                      <a:lnTo>
                        <a:pt x="147939" y="99060"/>
                      </a:lnTo>
                      <a:cubicBezTo>
                        <a:pt x="113039" y="99060"/>
                        <a:pt x="84747" y="127352"/>
                        <a:pt x="84747" y="162252"/>
                      </a:cubicBezTo>
                      <a:lnTo>
                        <a:pt x="84747" y="561648"/>
                      </a:lnTo>
                      <a:cubicBezTo>
                        <a:pt x="84747" y="596548"/>
                        <a:pt x="113039" y="624840"/>
                        <a:pt x="147939" y="624840"/>
                      </a:cubicBezTo>
                      <a:lnTo>
                        <a:pt x="400702" y="624840"/>
                      </a:lnTo>
                      <a:cubicBezTo>
                        <a:pt x="426877" y="624840"/>
                        <a:pt x="449335" y="608926"/>
                        <a:pt x="458928" y="586245"/>
                      </a:cubicBezTo>
                      <a:lnTo>
                        <a:pt x="460480" y="578560"/>
                      </a:lnTo>
                      <a:lnTo>
                        <a:pt x="543605" y="657400"/>
                      </a:lnTo>
                      <a:lnTo>
                        <a:pt x="541454" y="668051"/>
                      </a:lnTo>
                      <a:cubicBezTo>
                        <a:pt x="527573" y="700871"/>
                        <a:pt x="495075" y="723900"/>
                        <a:pt x="457198" y="723900"/>
                      </a:cubicBezTo>
                      <a:lnTo>
                        <a:pt x="91442" y="723900"/>
                      </a:lnTo>
                      <a:cubicBezTo>
                        <a:pt x="40940" y="723900"/>
                        <a:pt x="0" y="682960"/>
                        <a:pt x="0" y="632458"/>
                      </a:cubicBezTo>
                      <a:lnTo>
                        <a:pt x="0" y="91442"/>
                      </a:lnTo>
                      <a:cubicBezTo>
                        <a:pt x="0" y="40940"/>
                        <a:pt x="40940" y="0"/>
                        <a:pt x="9144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61" name="Rectangle 20"/>
                <p:cNvSpPr/>
                <p:nvPr/>
              </p:nvSpPr>
              <p:spPr>
                <a:xfrm>
                  <a:off x="3267940" y="1957742"/>
                  <a:ext cx="878380" cy="946077"/>
                </a:xfrm>
                <a:custGeom>
                  <a:avLst/>
                  <a:gdLst>
                    <a:gd name="connsiteX0" fmla="*/ 0 w 910858"/>
                    <a:gd name="connsiteY0" fmla="*/ 0 h 1112520"/>
                    <a:gd name="connsiteX1" fmla="*/ 9108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10858"/>
                    <a:gd name="connsiteY0" fmla="*/ 0 h 1112520"/>
                    <a:gd name="connsiteX1" fmla="*/ 8727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94678"/>
                    <a:gd name="connsiteY0" fmla="*/ 0 h 1112520"/>
                    <a:gd name="connsiteX1" fmla="*/ 872758 w 994678"/>
                    <a:gd name="connsiteY1" fmla="*/ 0 h 1112520"/>
                    <a:gd name="connsiteX2" fmla="*/ 994678 w 994678"/>
                    <a:gd name="connsiteY2" fmla="*/ 68580 h 1112520"/>
                    <a:gd name="connsiteX3" fmla="*/ 0 w 994678"/>
                    <a:gd name="connsiteY3" fmla="*/ 1112520 h 1112520"/>
                    <a:gd name="connsiteX4" fmla="*/ 0 w 994678"/>
                    <a:gd name="connsiteY4" fmla="*/ 0 h 1112520"/>
                    <a:gd name="connsiteX0" fmla="*/ 0 w 994678"/>
                    <a:gd name="connsiteY0" fmla="*/ 0 h 883920"/>
                    <a:gd name="connsiteX1" fmla="*/ 872758 w 994678"/>
                    <a:gd name="connsiteY1" fmla="*/ 0 h 883920"/>
                    <a:gd name="connsiteX2" fmla="*/ 994678 w 994678"/>
                    <a:gd name="connsiteY2" fmla="*/ 68580 h 883920"/>
                    <a:gd name="connsiteX3" fmla="*/ 434340 w 994678"/>
                    <a:gd name="connsiteY3" fmla="*/ 883920 h 883920"/>
                    <a:gd name="connsiteX4" fmla="*/ 0 w 994678"/>
                    <a:gd name="connsiteY4" fmla="*/ 0 h 883920"/>
                    <a:gd name="connsiteX0" fmla="*/ 7620 w 560338"/>
                    <a:gd name="connsiteY0" fmla="*/ 548640 h 883920"/>
                    <a:gd name="connsiteX1" fmla="*/ 438418 w 560338"/>
                    <a:gd name="connsiteY1" fmla="*/ 0 h 883920"/>
                    <a:gd name="connsiteX2" fmla="*/ 560338 w 560338"/>
                    <a:gd name="connsiteY2" fmla="*/ 68580 h 883920"/>
                    <a:gd name="connsiteX3" fmla="*/ 0 w 560338"/>
                    <a:gd name="connsiteY3" fmla="*/ 883920 h 883920"/>
                    <a:gd name="connsiteX4" fmla="*/ 7620 w 560338"/>
                    <a:gd name="connsiteY4" fmla="*/ 548640 h 883920"/>
                    <a:gd name="connsiteX0" fmla="*/ 18782 w 571500"/>
                    <a:gd name="connsiteY0" fmla="*/ 548640 h 883920"/>
                    <a:gd name="connsiteX1" fmla="*/ 449580 w 571500"/>
                    <a:gd name="connsiteY1" fmla="*/ 0 h 883920"/>
                    <a:gd name="connsiteX2" fmla="*/ 571500 w 571500"/>
                    <a:gd name="connsiteY2" fmla="*/ 68580 h 883920"/>
                    <a:gd name="connsiteX3" fmla="*/ 11162 w 571500"/>
                    <a:gd name="connsiteY3" fmla="*/ 883920 h 883920"/>
                    <a:gd name="connsiteX4" fmla="*/ 0 w 571500"/>
                    <a:gd name="connsiteY4" fmla="*/ 739140 h 883920"/>
                    <a:gd name="connsiteX5" fmla="*/ 18782 w 5715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0 w 800100"/>
                    <a:gd name="connsiteY4" fmla="*/ 472440 h 883920"/>
                    <a:gd name="connsiteX5" fmla="*/ 247382 w 8001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129540 w 800100"/>
                    <a:gd name="connsiteY4" fmla="*/ 678180 h 883920"/>
                    <a:gd name="connsiteX5" fmla="*/ 0 w 800100"/>
                    <a:gd name="connsiteY5" fmla="*/ 472440 h 883920"/>
                    <a:gd name="connsiteX6" fmla="*/ 247382 w 8001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31596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27024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23582 w 876300"/>
                    <a:gd name="connsiteY6" fmla="*/ 548640 h 914400"/>
                    <a:gd name="connsiteX0" fmla="*/ 308342 w 876300"/>
                    <a:gd name="connsiteY0" fmla="*/ 60198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08342 w 876300"/>
                    <a:gd name="connsiteY6" fmla="*/ 601980 h 914400"/>
                    <a:gd name="connsiteX0" fmla="*/ 308342 w 876300"/>
                    <a:gd name="connsiteY0" fmla="*/ 601980 h 876300"/>
                    <a:gd name="connsiteX1" fmla="*/ 754380 w 876300"/>
                    <a:gd name="connsiteY1" fmla="*/ 0 h 876300"/>
                    <a:gd name="connsiteX2" fmla="*/ 876300 w 876300"/>
                    <a:gd name="connsiteY2" fmla="*/ 68580 h 876300"/>
                    <a:gd name="connsiteX3" fmla="*/ 285482 w 876300"/>
                    <a:gd name="connsiteY3" fmla="*/ 876300 h 876300"/>
                    <a:gd name="connsiteX4" fmla="*/ 0 w 876300"/>
                    <a:gd name="connsiteY4" fmla="*/ 609600 h 876300"/>
                    <a:gd name="connsiteX5" fmla="*/ 76200 w 876300"/>
                    <a:gd name="connsiteY5" fmla="*/ 472440 h 876300"/>
                    <a:gd name="connsiteX6" fmla="*/ 308342 w 876300"/>
                    <a:gd name="connsiteY6" fmla="*/ 601980 h 876300"/>
                    <a:gd name="connsiteX0" fmla="*/ 331202 w 899160"/>
                    <a:gd name="connsiteY0" fmla="*/ 60198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31202 w 899160"/>
                    <a:gd name="connsiteY6" fmla="*/ 601980 h 876300"/>
                    <a:gd name="connsiteX0" fmla="*/ 323582 w 899160"/>
                    <a:gd name="connsiteY0" fmla="*/ 65532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23582 w 899160"/>
                    <a:gd name="connsiteY6" fmla="*/ 655320 h 876300"/>
                    <a:gd name="connsiteX0" fmla="*/ 323582 w 899160"/>
                    <a:gd name="connsiteY0" fmla="*/ 67056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70560 h 891540"/>
                    <a:gd name="connsiteX0" fmla="*/ 323582 w 899160"/>
                    <a:gd name="connsiteY0" fmla="*/ 64008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40080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283538 w 899160"/>
                    <a:gd name="connsiteY6" fmla="*/ 700339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67025 w 899160"/>
                    <a:gd name="connsiteY5" fmla="*/ 514462 h 891540"/>
                    <a:gd name="connsiteX6" fmla="*/ 283538 w 899160"/>
                    <a:gd name="connsiteY6" fmla="*/ 700339 h 891540"/>
                    <a:gd name="connsiteX0" fmla="*/ 283538 w 891151"/>
                    <a:gd name="connsiteY0" fmla="*/ 700339 h 891540"/>
                    <a:gd name="connsiteX1" fmla="*/ 746760 w 891151"/>
                    <a:gd name="connsiteY1" fmla="*/ 0 h 891540"/>
                    <a:gd name="connsiteX2" fmla="*/ 891151 w 891151"/>
                    <a:gd name="connsiteY2" fmla="*/ 150774 h 891540"/>
                    <a:gd name="connsiteX3" fmla="*/ 308342 w 891151"/>
                    <a:gd name="connsiteY3" fmla="*/ 891540 h 891540"/>
                    <a:gd name="connsiteX4" fmla="*/ 0 w 891151"/>
                    <a:gd name="connsiteY4" fmla="*/ 647700 h 891540"/>
                    <a:gd name="connsiteX5" fmla="*/ 67025 w 891151"/>
                    <a:gd name="connsiteY5" fmla="*/ 514462 h 891540"/>
                    <a:gd name="connsiteX6" fmla="*/ 283538 w 891151"/>
                    <a:gd name="connsiteY6" fmla="*/ 700339 h 891540"/>
                    <a:gd name="connsiteX0" fmla="*/ 283538 w 891151"/>
                    <a:gd name="connsiteY0" fmla="*/ 640080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83538 w 891151"/>
                    <a:gd name="connsiteY6" fmla="*/ 640080 h 831281"/>
                    <a:gd name="connsiteX0" fmla="*/ 275530 w 891151"/>
                    <a:gd name="connsiteY0" fmla="*/ 599908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75530 w 891151"/>
                    <a:gd name="connsiteY6" fmla="*/ 599908 h 831281"/>
                    <a:gd name="connsiteX0" fmla="*/ 307565 w 923186"/>
                    <a:gd name="connsiteY0" fmla="*/ 599908 h 831281"/>
                    <a:gd name="connsiteX1" fmla="*/ 762778 w 923186"/>
                    <a:gd name="connsiteY1" fmla="*/ 0 h 831281"/>
                    <a:gd name="connsiteX2" fmla="*/ 923186 w 923186"/>
                    <a:gd name="connsiteY2" fmla="*/ 90515 h 831281"/>
                    <a:gd name="connsiteX3" fmla="*/ 340377 w 923186"/>
                    <a:gd name="connsiteY3" fmla="*/ 831281 h 831281"/>
                    <a:gd name="connsiteX4" fmla="*/ 0 w 923186"/>
                    <a:gd name="connsiteY4" fmla="*/ 620918 h 831281"/>
                    <a:gd name="connsiteX5" fmla="*/ 99060 w 923186"/>
                    <a:gd name="connsiteY5" fmla="*/ 454203 h 831281"/>
                    <a:gd name="connsiteX6" fmla="*/ 307565 w 923186"/>
                    <a:gd name="connsiteY6" fmla="*/ 599908 h 831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23186" h="831281">
                      <a:moveTo>
                        <a:pt x="307565" y="599908"/>
                      </a:moveTo>
                      <a:lnTo>
                        <a:pt x="762778" y="0"/>
                      </a:lnTo>
                      <a:lnTo>
                        <a:pt x="923186" y="90515"/>
                      </a:lnTo>
                      <a:lnTo>
                        <a:pt x="340377" y="831281"/>
                      </a:lnTo>
                      <a:lnTo>
                        <a:pt x="0" y="620918"/>
                      </a:lnTo>
                      <a:lnTo>
                        <a:pt x="99060" y="454203"/>
                      </a:lnTo>
                      <a:lnTo>
                        <a:pt x="307565" y="5999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51" name="Group 150"/>
              <p:cNvGrpSpPr/>
              <p:nvPr/>
            </p:nvGrpSpPr>
            <p:grpSpPr>
              <a:xfrm>
                <a:off x="4060893" y="2430780"/>
                <a:ext cx="1403798" cy="430745"/>
                <a:chOff x="4043965" y="2430780"/>
                <a:chExt cx="1403798" cy="430745"/>
              </a:xfrm>
              <a:grpFill/>
            </p:grpSpPr>
            <p:sp>
              <p:nvSpPr>
                <p:cNvPr id="158" name="Rectangle 157"/>
                <p:cNvSpPr/>
                <p:nvPr/>
              </p:nvSpPr>
              <p:spPr>
                <a:xfrm>
                  <a:off x="4043966" y="243078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9" name="Rectangle 158"/>
                <p:cNvSpPr/>
                <p:nvPr/>
              </p:nvSpPr>
              <p:spPr>
                <a:xfrm>
                  <a:off x="4043965" y="271653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52" name="Group 151"/>
              <p:cNvGrpSpPr/>
              <p:nvPr/>
            </p:nvGrpSpPr>
            <p:grpSpPr>
              <a:xfrm>
                <a:off x="4060893" y="3771968"/>
                <a:ext cx="1403798" cy="430745"/>
                <a:chOff x="4043965" y="2430780"/>
                <a:chExt cx="1403798" cy="430745"/>
              </a:xfrm>
              <a:grpFill/>
            </p:grpSpPr>
            <p:sp>
              <p:nvSpPr>
                <p:cNvPr id="156" name="Rectangle 155"/>
                <p:cNvSpPr/>
                <p:nvPr/>
              </p:nvSpPr>
              <p:spPr>
                <a:xfrm>
                  <a:off x="4043966" y="243078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7" name="Rectangle 156"/>
                <p:cNvSpPr/>
                <p:nvPr/>
              </p:nvSpPr>
              <p:spPr>
                <a:xfrm>
                  <a:off x="4043965" y="271653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53" name="Group 152"/>
              <p:cNvGrpSpPr/>
              <p:nvPr/>
            </p:nvGrpSpPr>
            <p:grpSpPr>
              <a:xfrm>
                <a:off x="4060893" y="5113157"/>
                <a:ext cx="1403798" cy="430745"/>
                <a:chOff x="4043965" y="2430780"/>
                <a:chExt cx="1403798" cy="430745"/>
              </a:xfrm>
              <a:grpFill/>
            </p:grpSpPr>
            <p:sp>
              <p:nvSpPr>
                <p:cNvPr id="154" name="Rectangle 153"/>
                <p:cNvSpPr/>
                <p:nvPr/>
              </p:nvSpPr>
              <p:spPr>
                <a:xfrm>
                  <a:off x="4043966" y="243078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5" name="Rectangle 154"/>
                <p:cNvSpPr/>
                <p:nvPr/>
              </p:nvSpPr>
              <p:spPr>
                <a:xfrm>
                  <a:off x="4043965" y="271653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</p:grpSp>
        <p:grpSp>
          <p:nvGrpSpPr>
            <p:cNvPr id="139" name="Group 138"/>
            <p:cNvGrpSpPr/>
            <p:nvPr/>
          </p:nvGrpSpPr>
          <p:grpSpPr>
            <a:xfrm rot="21219949">
              <a:off x="4596429" y="4634545"/>
              <a:ext cx="421721" cy="387807"/>
              <a:chOff x="7862023" y="5744193"/>
              <a:chExt cx="561310" cy="516172"/>
            </a:xfrm>
            <a:grpFill/>
          </p:grpSpPr>
          <p:sp>
            <p:nvSpPr>
              <p:cNvPr id="140" name="Round Same Side Corner Rectangle 139"/>
              <p:cNvSpPr/>
              <p:nvPr/>
            </p:nvSpPr>
            <p:spPr>
              <a:xfrm rot="2819098">
                <a:off x="8360133" y="5766821"/>
                <a:ext cx="85827" cy="4057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1" name="Rectangle 87"/>
              <p:cNvSpPr/>
              <p:nvPr/>
            </p:nvSpPr>
            <p:spPr>
              <a:xfrm rot="18993470">
                <a:off x="8258931" y="5801083"/>
                <a:ext cx="138649" cy="102307"/>
              </a:xfrm>
              <a:custGeom>
                <a:avLst/>
                <a:gdLst>
                  <a:gd name="connsiteX0" fmla="*/ 0 w 1067195"/>
                  <a:gd name="connsiteY0" fmla="*/ 0 h 767452"/>
                  <a:gd name="connsiteX1" fmla="*/ 1067195 w 1067195"/>
                  <a:gd name="connsiteY1" fmla="*/ 0 h 767452"/>
                  <a:gd name="connsiteX2" fmla="*/ 1067195 w 1067195"/>
                  <a:gd name="connsiteY2" fmla="*/ 767452 h 767452"/>
                  <a:gd name="connsiteX3" fmla="*/ 0 w 1067195"/>
                  <a:gd name="connsiteY3" fmla="*/ 767452 h 767452"/>
                  <a:gd name="connsiteX4" fmla="*/ 0 w 1067195"/>
                  <a:gd name="connsiteY4" fmla="*/ 0 h 767452"/>
                  <a:gd name="connsiteX0" fmla="*/ 0 w 1077007"/>
                  <a:gd name="connsiteY0" fmla="*/ 0 h 767452"/>
                  <a:gd name="connsiteX1" fmla="*/ 1077007 w 1077007"/>
                  <a:gd name="connsiteY1" fmla="*/ 4141 h 767452"/>
                  <a:gd name="connsiteX2" fmla="*/ 1067195 w 1077007"/>
                  <a:gd name="connsiteY2" fmla="*/ 767452 h 767452"/>
                  <a:gd name="connsiteX3" fmla="*/ 0 w 1077007"/>
                  <a:gd name="connsiteY3" fmla="*/ 767452 h 767452"/>
                  <a:gd name="connsiteX4" fmla="*/ 0 w 1077007"/>
                  <a:gd name="connsiteY4" fmla="*/ 0 h 767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77007" h="767452">
                    <a:moveTo>
                      <a:pt x="0" y="0"/>
                    </a:moveTo>
                    <a:lnTo>
                      <a:pt x="1077007" y="4141"/>
                    </a:lnTo>
                    <a:lnTo>
                      <a:pt x="1067195" y="767452"/>
                    </a:lnTo>
                    <a:lnTo>
                      <a:pt x="0" y="76745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2" name="Rectangle 88"/>
              <p:cNvSpPr/>
              <p:nvPr/>
            </p:nvSpPr>
            <p:spPr>
              <a:xfrm rot="18964861">
                <a:off x="8385144" y="5858800"/>
                <a:ext cx="34828" cy="40222"/>
              </a:xfrm>
              <a:custGeom>
                <a:avLst/>
                <a:gdLst>
                  <a:gd name="connsiteX0" fmla="*/ 0 w 270532"/>
                  <a:gd name="connsiteY0" fmla="*/ 0 h 333375"/>
                  <a:gd name="connsiteX1" fmla="*/ 270532 w 270532"/>
                  <a:gd name="connsiteY1" fmla="*/ 0 h 333375"/>
                  <a:gd name="connsiteX2" fmla="*/ 270532 w 270532"/>
                  <a:gd name="connsiteY2" fmla="*/ 333375 h 333375"/>
                  <a:gd name="connsiteX3" fmla="*/ 0 w 270532"/>
                  <a:gd name="connsiteY3" fmla="*/ 333375 h 333375"/>
                  <a:gd name="connsiteX4" fmla="*/ 0 w 270532"/>
                  <a:gd name="connsiteY4" fmla="*/ 0 h 333375"/>
                  <a:gd name="connsiteX0" fmla="*/ 0 w 270532"/>
                  <a:gd name="connsiteY0" fmla="*/ 0 h 333375"/>
                  <a:gd name="connsiteX1" fmla="*/ 270532 w 270532"/>
                  <a:gd name="connsiteY1" fmla="*/ 0 h 333375"/>
                  <a:gd name="connsiteX2" fmla="*/ 256354 w 270532"/>
                  <a:gd name="connsiteY2" fmla="*/ 301734 h 333375"/>
                  <a:gd name="connsiteX3" fmla="*/ 0 w 270532"/>
                  <a:gd name="connsiteY3" fmla="*/ 333375 h 333375"/>
                  <a:gd name="connsiteX4" fmla="*/ 0 w 270532"/>
                  <a:gd name="connsiteY4" fmla="*/ 0 h 333375"/>
                  <a:gd name="connsiteX0" fmla="*/ 0 w 270532"/>
                  <a:gd name="connsiteY0" fmla="*/ 0 h 301734"/>
                  <a:gd name="connsiteX1" fmla="*/ 270532 w 270532"/>
                  <a:gd name="connsiteY1" fmla="*/ 0 h 301734"/>
                  <a:gd name="connsiteX2" fmla="*/ 256354 w 270532"/>
                  <a:gd name="connsiteY2" fmla="*/ 301734 h 301734"/>
                  <a:gd name="connsiteX3" fmla="*/ 21107 w 270532"/>
                  <a:gd name="connsiteY3" fmla="*/ 284491 h 301734"/>
                  <a:gd name="connsiteX4" fmla="*/ 0 w 270532"/>
                  <a:gd name="connsiteY4" fmla="*/ 0 h 301734"/>
                  <a:gd name="connsiteX0" fmla="*/ 0 w 270532"/>
                  <a:gd name="connsiteY0" fmla="*/ 0 h 301734"/>
                  <a:gd name="connsiteX1" fmla="*/ 270532 w 270532"/>
                  <a:gd name="connsiteY1" fmla="*/ 0 h 301734"/>
                  <a:gd name="connsiteX2" fmla="*/ 256354 w 270532"/>
                  <a:gd name="connsiteY2" fmla="*/ 301734 h 301734"/>
                  <a:gd name="connsiteX3" fmla="*/ 18040 w 270532"/>
                  <a:gd name="connsiteY3" fmla="*/ 280847 h 301734"/>
                  <a:gd name="connsiteX4" fmla="*/ 0 w 270532"/>
                  <a:gd name="connsiteY4" fmla="*/ 0 h 301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532" h="301734">
                    <a:moveTo>
                      <a:pt x="0" y="0"/>
                    </a:moveTo>
                    <a:lnTo>
                      <a:pt x="270532" y="0"/>
                    </a:lnTo>
                    <a:lnTo>
                      <a:pt x="256354" y="301734"/>
                    </a:lnTo>
                    <a:lnTo>
                      <a:pt x="18040" y="28084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3" name="Rectangle 89"/>
              <p:cNvSpPr/>
              <p:nvPr/>
            </p:nvSpPr>
            <p:spPr>
              <a:xfrm rot="3060000">
                <a:off x="8298191" y="5848534"/>
                <a:ext cx="23943" cy="220137"/>
              </a:xfrm>
              <a:custGeom>
                <a:avLst/>
                <a:gdLst>
                  <a:gd name="connsiteX0" fmla="*/ 0 w 111898"/>
                  <a:gd name="connsiteY0" fmla="*/ 0 h 1644627"/>
                  <a:gd name="connsiteX1" fmla="*/ 111898 w 111898"/>
                  <a:gd name="connsiteY1" fmla="*/ 0 h 1644627"/>
                  <a:gd name="connsiteX2" fmla="*/ 111898 w 111898"/>
                  <a:gd name="connsiteY2" fmla="*/ 1644627 h 1644627"/>
                  <a:gd name="connsiteX3" fmla="*/ 0 w 111898"/>
                  <a:gd name="connsiteY3" fmla="*/ 1644627 h 1644627"/>
                  <a:gd name="connsiteX4" fmla="*/ 0 w 111898"/>
                  <a:gd name="connsiteY4" fmla="*/ 0 h 1644627"/>
                  <a:gd name="connsiteX0" fmla="*/ 0 w 148942"/>
                  <a:gd name="connsiteY0" fmla="*/ 23574 h 1668201"/>
                  <a:gd name="connsiteX1" fmla="*/ 148942 w 148942"/>
                  <a:gd name="connsiteY1" fmla="*/ 0 h 1668201"/>
                  <a:gd name="connsiteX2" fmla="*/ 111898 w 148942"/>
                  <a:gd name="connsiteY2" fmla="*/ 1668201 h 1668201"/>
                  <a:gd name="connsiteX3" fmla="*/ 0 w 148942"/>
                  <a:gd name="connsiteY3" fmla="*/ 1668201 h 1668201"/>
                  <a:gd name="connsiteX4" fmla="*/ 0 w 148942"/>
                  <a:gd name="connsiteY4" fmla="*/ 23574 h 1668201"/>
                  <a:gd name="connsiteX0" fmla="*/ 0 w 185985"/>
                  <a:gd name="connsiteY0" fmla="*/ 26941 h 1668201"/>
                  <a:gd name="connsiteX1" fmla="*/ 185985 w 185985"/>
                  <a:gd name="connsiteY1" fmla="*/ 0 h 1668201"/>
                  <a:gd name="connsiteX2" fmla="*/ 148941 w 185985"/>
                  <a:gd name="connsiteY2" fmla="*/ 1668201 h 1668201"/>
                  <a:gd name="connsiteX3" fmla="*/ 37043 w 185985"/>
                  <a:gd name="connsiteY3" fmla="*/ 1668201 h 1668201"/>
                  <a:gd name="connsiteX4" fmla="*/ 0 w 185985"/>
                  <a:gd name="connsiteY4" fmla="*/ 26941 h 1668201"/>
                  <a:gd name="connsiteX0" fmla="*/ 0 w 185985"/>
                  <a:gd name="connsiteY0" fmla="*/ 26941 h 1668201"/>
                  <a:gd name="connsiteX1" fmla="*/ 185985 w 185985"/>
                  <a:gd name="connsiteY1" fmla="*/ 0 h 1668201"/>
                  <a:gd name="connsiteX2" fmla="*/ 145574 w 185985"/>
                  <a:gd name="connsiteY2" fmla="*/ 1631158 h 1668201"/>
                  <a:gd name="connsiteX3" fmla="*/ 37043 w 185985"/>
                  <a:gd name="connsiteY3" fmla="*/ 1668201 h 1668201"/>
                  <a:gd name="connsiteX4" fmla="*/ 0 w 185985"/>
                  <a:gd name="connsiteY4" fmla="*/ 26941 h 1668201"/>
                  <a:gd name="connsiteX0" fmla="*/ 0 w 185985"/>
                  <a:gd name="connsiteY0" fmla="*/ 26941 h 1651362"/>
                  <a:gd name="connsiteX1" fmla="*/ 185985 w 185985"/>
                  <a:gd name="connsiteY1" fmla="*/ 0 h 1651362"/>
                  <a:gd name="connsiteX2" fmla="*/ 145574 w 185985"/>
                  <a:gd name="connsiteY2" fmla="*/ 1631158 h 1651362"/>
                  <a:gd name="connsiteX3" fmla="*/ 67352 w 185985"/>
                  <a:gd name="connsiteY3" fmla="*/ 1651362 h 1651362"/>
                  <a:gd name="connsiteX4" fmla="*/ 0 w 185985"/>
                  <a:gd name="connsiteY4" fmla="*/ 26941 h 1651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5985" h="1651362">
                    <a:moveTo>
                      <a:pt x="0" y="26941"/>
                    </a:moveTo>
                    <a:lnTo>
                      <a:pt x="185985" y="0"/>
                    </a:lnTo>
                    <a:lnTo>
                      <a:pt x="145574" y="1631158"/>
                    </a:lnTo>
                    <a:lnTo>
                      <a:pt x="67352" y="1651362"/>
                    </a:lnTo>
                    <a:lnTo>
                      <a:pt x="0" y="26941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4" name="Rectangle 109"/>
              <p:cNvSpPr/>
              <p:nvPr/>
            </p:nvSpPr>
            <p:spPr>
              <a:xfrm rot="19015320">
                <a:off x="7883921" y="6003368"/>
                <a:ext cx="441960" cy="100976"/>
              </a:xfrm>
              <a:custGeom>
                <a:avLst/>
                <a:gdLst>
                  <a:gd name="connsiteX0" fmla="*/ 0 w 3429000"/>
                  <a:gd name="connsiteY0" fmla="*/ 0 h 772673"/>
                  <a:gd name="connsiteX1" fmla="*/ 3429000 w 3429000"/>
                  <a:gd name="connsiteY1" fmla="*/ 0 h 772673"/>
                  <a:gd name="connsiteX2" fmla="*/ 3429000 w 3429000"/>
                  <a:gd name="connsiteY2" fmla="*/ 772673 h 772673"/>
                  <a:gd name="connsiteX3" fmla="*/ 0 w 3429000"/>
                  <a:gd name="connsiteY3" fmla="*/ 772673 h 772673"/>
                  <a:gd name="connsiteX4" fmla="*/ 0 w 3429000"/>
                  <a:gd name="connsiteY4" fmla="*/ 0 h 772673"/>
                  <a:gd name="connsiteX0" fmla="*/ 18453 w 3447453"/>
                  <a:gd name="connsiteY0" fmla="*/ 0 h 772673"/>
                  <a:gd name="connsiteX1" fmla="*/ 3447453 w 3447453"/>
                  <a:gd name="connsiteY1" fmla="*/ 0 h 772673"/>
                  <a:gd name="connsiteX2" fmla="*/ 3447453 w 3447453"/>
                  <a:gd name="connsiteY2" fmla="*/ 772673 h 772673"/>
                  <a:gd name="connsiteX3" fmla="*/ 0 w 3447453"/>
                  <a:gd name="connsiteY3" fmla="*/ 576890 h 772673"/>
                  <a:gd name="connsiteX4" fmla="*/ 18453 w 3447453"/>
                  <a:gd name="connsiteY4" fmla="*/ 0 h 772673"/>
                  <a:gd name="connsiteX0" fmla="*/ 28456 w 3447453"/>
                  <a:gd name="connsiteY0" fmla="*/ 162768 h 772673"/>
                  <a:gd name="connsiteX1" fmla="*/ 3447453 w 3447453"/>
                  <a:gd name="connsiteY1" fmla="*/ 0 h 772673"/>
                  <a:gd name="connsiteX2" fmla="*/ 3447453 w 3447453"/>
                  <a:gd name="connsiteY2" fmla="*/ 772673 h 772673"/>
                  <a:gd name="connsiteX3" fmla="*/ 0 w 3447453"/>
                  <a:gd name="connsiteY3" fmla="*/ 576890 h 772673"/>
                  <a:gd name="connsiteX4" fmla="*/ 28456 w 3447453"/>
                  <a:gd name="connsiteY4" fmla="*/ 162768 h 772673"/>
                  <a:gd name="connsiteX0" fmla="*/ 28456 w 3447453"/>
                  <a:gd name="connsiteY0" fmla="*/ 161327 h 771232"/>
                  <a:gd name="connsiteX1" fmla="*/ 3436096 w 3447453"/>
                  <a:gd name="connsiteY1" fmla="*/ 0 h 771232"/>
                  <a:gd name="connsiteX2" fmla="*/ 3447453 w 3447453"/>
                  <a:gd name="connsiteY2" fmla="*/ 771232 h 771232"/>
                  <a:gd name="connsiteX3" fmla="*/ 0 w 3447453"/>
                  <a:gd name="connsiteY3" fmla="*/ 575449 h 771232"/>
                  <a:gd name="connsiteX4" fmla="*/ 28456 w 3447453"/>
                  <a:gd name="connsiteY4" fmla="*/ 161327 h 771232"/>
                  <a:gd name="connsiteX0" fmla="*/ 28456 w 3443932"/>
                  <a:gd name="connsiteY0" fmla="*/ 161327 h 757477"/>
                  <a:gd name="connsiteX1" fmla="*/ 3436096 w 3443932"/>
                  <a:gd name="connsiteY1" fmla="*/ 0 h 757477"/>
                  <a:gd name="connsiteX2" fmla="*/ 3443932 w 3443932"/>
                  <a:gd name="connsiteY2" fmla="*/ 757477 h 757477"/>
                  <a:gd name="connsiteX3" fmla="*/ 0 w 3443932"/>
                  <a:gd name="connsiteY3" fmla="*/ 575449 h 757477"/>
                  <a:gd name="connsiteX4" fmla="*/ 28456 w 3443932"/>
                  <a:gd name="connsiteY4" fmla="*/ 161327 h 757477"/>
                  <a:gd name="connsiteX0" fmla="*/ 22217 w 3443932"/>
                  <a:gd name="connsiteY0" fmla="*/ 154130 h 757477"/>
                  <a:gd name="connsiteX1" fmla="*/ 3436096 w 3443932"/>
                  <a:gd name="connsiteY1" fmla="*/ 0 h 757477"/>
                  <a:gd name="connsiteX2" fmla="*/ 3443932 w 3443932"/>
                  <a:gd name="connsiteY2" fmla="*/ 757477 h 757477"/>
                  <a:gd name="connsiteX3" fmla="*/ 0 w 3443932"/>
                  <a:gd name="connsiteY3" fmla="*/ 575449 h 757477"/>
                  <a:gd name="connsiteX4" fmla="*/ 22217 w 3443932"/>
                  <a:gd name="connsiteY4" fmla="*/ 154130 h 757477"/>
                  <a:gd name="connsiteX0" fmla="*/ 10222 w 3431937"/>
                  <a:gd name="connsiteY0" fmla="*/ 154130 h 757477"/>
                  <a:gd name="connsiteX1" fmla="*/ 3424101 w 3431937"/>
                  <a:gd name="connsiteY1" fmla="*/ 0 h 757477"/>
                  <a:gd name="connsiteX2" fmla="*/ 3431937 w 3431937"/>
                  <a:gd name="connsiteY2" fmla="*/ 757477 h 757477"/>
                  <a:gd name="connsiteX3" fmla="*/ 0 w 3431937"/>
                  <a:gd name="connsiteY3" fmla="*/ 565050 h 757477"/>
                  <a:gd name="connsiteX4" fmla="*/ 10222 w 3431937"/>
                  <a:gd name="connsiteY4" fmla="*/ 154130 h 757477"/>
                  <a:gd name="connsiteX0" fmla="*/ 0 w 3433071"/>
                  <a:gd name="connsiteY0" fmla="*/ 155571 h 757477"/>
                  <a:gd name="connsiteX1" fmla="*/ 3425235 w 3433071"/>
                  <a:gd name="connsiteY1" fmla="*/ 0 h 757477"/>
                  <a:gd name="connsiteX2" fmla="*/ 3433071 w 3433071"/>
                  <a:gd name="connsiteY2" fmla="*/ 757477 h 757477"/>
                  <a:gd name="connsiteX3" fmla="*/ 1134 w 3433071"/>
                  <a:gd name="connsiteY3" fmla="*/ 565050 h 757477"/>
                  <a:gd name="connsiteX4" fmla="*/ 0 w 3433071"/>
                  <a:gd name="connsiteY4" fmla="*/ 155571 h 757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33071" h="757477">
                    <a:moveTo>
                      <a:pt x="0" y="155571"/>
                    </a:moveTo>
                    <a:lnTo>
                      <a:pt x="3425235" y="0"/>
                    </a:lnTo>
                    <a:lnTo>
                      <a:pt x="3433071" y="757477"/>
                    </a:lnTo>
                    <a:lnTo>
                      <a:pt x="1134" y="565050"/>
                    </a:lnTo>
                    <a:lnTo>
                      <a:pt x="0" y="155571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5" name="Isosceles Triangle 110"/>
              <p:cNvSpPr/>
              <p:nvPr/>
            </p:nvSpPr>
            <p:spPr>
              <a:xfrm rot="13692272">
                <a:off x="7875737" y="6192469"/>
                <a:ext cx="54182" cy="81609"/>
              </a:xfrm>
              <a:custGeom>
                <a:avLst/>
                <a:gdLst>
                  <a:gd name="connsiteX0" fmla="*/ 0 w 405957"/>
                  <a:gd name="connsiteY0" fmla="*/ 609600 h 609600"/>
                  <a:gd name="connsiteX1" fmla="*/ 202979 w 405957"/>
                  <a:gd name="connsiteY1" fmla="*/ 0 h 609600"/>
                  <a:gd name="connsiteX2" fmla="*/ 405957 w 405957"/>
                  <a:gd name="connsiteY2" fmla="*/ 609600 h 609600"/>
                  <a:gd name="connsiteX3" fmla="*/ 0 w 405957"/>
                  <a:gd name="connsiteY3" fmla="*/ 609600 h 609600"/>
                  <a:gd name="connsiteX0" fmla="*/ 0 w 389754"/>
                  <a:gd name="connsiteY0" fmla="*/ 609600 h 630725"/>
                  <a:gd name="connsiteX1" fmla="*/ 202979 w 389754"/>
                  <a:gd name="connsiteY1" fmla="*/ 0 h 630725"/>
                  <a:gd name="connsiteX2" fmla="*/ 389754 w 389754"/>
                  <a:gd name="connsiteY2" fmla="*/ 630725 h 630725"/>
                  <a:gd name="connsiteX3" fmla="*/ 0 w 389754"/>
                  <a:gd name="connsiteY3" fmla="*/ 609600 h 630725"/>
                  <a:gd name="connsiteX0" fmla="*/ 0 w 406450"/>
                  <a:gd name="connsiteY0" fmla="*/ 640815 h 640815"/>
                  <a:gd name="connsiteX1" fmla="*/ 219675 w 406450"/>
                  <a:gd name="connsiteY1" fmla="*/ 0 h 640815"/>
                  <a:gd name="connsiteX2" fmla="*/ 406450 w 406450"/>
                  <a:gd name="connsiteY2" fmla="*/ 630725 h 640815"/>
                  <a:gd name="connsiteX3" fmla="*/ 0 w 406450"/>
                  <a:gd name="connsiteY3" fmla="*/ 640815 h 640815"/>
                  <a:gd name="connsiteX0" fmla="*/ 0 w 406450"/>
                  <a:gd name="connsiteY0" fmla="*/ 633759 h 633759"/>
                  <a:gd name="connsiteX1" fmla="*/ 226073 w 406450"/>
                  <a:gd name="connsiteY1" fmla="*/ 0 h 633759"/>
                  <a:gd name="connsiteX2" fmla="*/ 406450 w 406450"/>
                  <a:gd name="connsiteY2" fmla="*/ 623669 h 633759"/>
                  <a:gd name="connsiteX3" fmla="*/ 0 w 406450"/>
                  <a:gd name="connsiteY3" fmla="*/ 633759 h 633759"/>
                  <a:gd name="connsiteX0" fmla="*/ 0 w 406450"/>
                  <a:gd name="connsiteY0" fmla="*/ 633923 h 633923"/>
                  <a:gd name="connsiteX1" fmla="*/ 222709 w 406450"/>
                  <a:gd name="connsiteY1" fmla="*/ 0 h 633923"/>
                  <a:gd name="connsiteX2" fmla="*/ 406450 w 406450"/>
                  <a:gd name="connsiteY2" fmla="*/ 623833 h 633923"/>
                  <a:gd name="connsiteX3" fmla="*/ 0 w 406450"/>
                  <a:gd name="connsiteY3" fmla="*/ 633923 h 633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6450" h="633923">
                    <a:moveTo>
                      <a:pt x="0" y="633923"/>
                    </a:moveTo>
                    <a:lnTo>
                      <a:pt x="222709" y="0"/>
                    </a:lnTo>
                    <a:lnTo>
                      <a:pt x="406450" y="623833"/>
                    </a:lnTo>
                    <a:lnTo>
                      <a:pt x="0" y="633923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731038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FINDING THE RIGHT ATTORNEY/ADVIS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7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 marL="457200" indent="-457200">
              <a:spcBef>
                <a:spcPts val="600"/>
              </a:spcBef>
              <a:buAutoNum type="arabicPeriod"/>
            </a:pPr>
            <a:r>
              <a:rPr lang="en-US" sz="2000" dirty="0">
                <a:solidFill>
                  <a:schemeClr val="tx1"/>
                </a:solidFill>
              </a:rPr>
              <a:t>Ask about their practice and if they have the ability to successfully put together a trust for your client.</a:t>
            </a:r>
          </a:p>
          <a:p>
            <a:pPr marL="457200" indent="-457200">
              <a:spcBef>
                <a:spcPts val="600"/>
              </a:spcBef>
              <a:buAutoNum type="arabicPeriod"/>
            </a:pPr>
            <a:r>
              <a:rPr lang="en-US" sz="2000" dirty="0">
                <a:solidFill>
                  <a:schemeClr val="tx1"/>
                </a:solidFill>
              </a:rPr>
              <a:t> What are their fees?  (A fixed fee is always preferable).</a:t>
            </a:r>
          </a:p>
          <a:p>
            <a:pPr marL="457200" indent="-457200">
              <a:spcBef>
                <a:spcPts val="600"/>
              </a:spcBef>
              <a:buAutoNum type="arabicPeriod"/>
            </a:pPr>
            <a:r>
              <a:rPr lang="en-US" sz="2000" dirty="0">
                <a:solidFill>
                  <a:schemeClr val="tx1"/>
                </a:solidFill>
              </a:rPr>
              <a:t> Does the attorney charge for phone consultations and how long is the </a:t>
            </a:r>
            <a:r>
              <a:rPr lang="en-US" sz="2000" dirty="0" err="1">
                <a:solidFill>
                  <a:schemeClr val="tx1"/>
                </a:solidFill>
              </a:rPr>
              <a:t>timelag</a:t>
            </a:r>
            <a:r>
              <a:rPr lang="en-US" sz="2000" dirty="0">
                <a:solidFill>
                  <a:schemeClr val="tx1"/>
                </a:solidFill>
              </a:rPr>
              <a:t> to return </a:t>
            </a:r>
          </a:p>
          <a:p>
            <a:pPr>
              <a:spcBef>
                <a:spcPts val="600"/>
              </a:spcBef>
            </a:pPr>
            <a:r>
              <a:rPr lang="en-US" sz="2000" dirty="0">
                <a:solidFill>
                  <a:schemeClr val="tx1"/>
                </a:solidFill>
              </a:rPr>
              <a:t>        calls?</a:t>
            </a:r>
          </a:p>
          <a:p>
            <a:pPr marL="457200" indent="-457200">
              <a:spcBef>
                <a:spcPts val="600"/>
              </a:spcBef>
              <a:buAutoNum type="arabicPeriod" startAt="4"/>
            </a:pPr>
            <a:r>
              <a:rPr lang="en-US" sz="2000" dirty="0">
                <a:solidFill>
                  <a:schemeClr val="tx1"/>
                </a:solidFill>
              </a:rPr>
              <a:t>What is the turnaround time to prepare the trust?</a:t>
            </a:r>
          </a:p>
          <a:p>
            <a:pPr marL="457200" indent="-457200">
              <a:spcBef>
                <a:spcPts val="600"/>
              </a:spcBef>
              <a:buAutoNum type="arabicPeriod" startAt="5"/>
            </a:pPr>
            <a:r>
              <a:rPr lang="en-US" sz="2000" dirty="0">
                <a:solidFill>
                  <a:schemeClr val="tx1"/>
                </a:solidFill>
              </a:rPr>
              <a:t>Does he suggest you attend the meetings?</a:t>
            </a:r>
          </a:p>
          <a:p>
            <a:pPr marL="457200" indent="-457200">
              <a:spcBef>
                <a:spcPts val="600"/>
              </a:spcBef>
              <a:buAutoNum type="arabicPeriod" startAt="6"/>
            </a:pPr>
            <a:r>
              <a:rPr lang="en-US" sz="2000" dirty="0">
                <a:solidFill>
                  <a:schemeClr val="tx1"/>
                </a:solidFill>
              </a:rPr>
              <a:t>Did you like his misdemeanor?</a:t>
            </a:r>
          </a:p>
          <a:p>
            <a:pPr marL="457200" indent="-457200">
              <a:spcBef>
                <a:spcPts val="600"/>
              </a:spcBef>
              <a:buAutoNum type="arabicPeriod" startAt="6"/>
            </a:pPr>
            <a:r>
              <a:rPr lang="en-US" sz="2000" dirty="0">
                <a:solidFill>
                  <a:schemeClr val="tx1"/>
                </a:solidFill>
              </a:rPr>
              <a:t>Did he seem knowledgeable?</a:t>
            </a:r>
          </a:p>
          <a:p>
            <a:pPr marL="457200" indent="-457200">
              <a:spcBef>
                <a:spcPts val="600"/>
              </a:spcBef>
              <a:buAutoNum type="arabicPeriod" startAt="6"/>
            </a:pPr>
            <a:r>
              <a:rPr lang="en-US" sz="2000" dirty="0">
                <a:solidFill>
                  <a:schemeClr val="tx1"/>
                </a:solidFill>
              </a:rPr>
              <a:t>Was he focused on you or did he seem distracted?</a:t>
            </a:r>
          </a:p>
          <a:p>
            <a:pPr marL="457200" indent="-457200">
              <a:spcBef>
                <a:spcPts val="600"/>
              </a:spcBef>
              <a:buAutoNum type="arabicPeriod" startAt="6"/>
            </a:pPr>
            <a:r>
              <a:rPr lang="en-US" sz="2000" dirty="0">
                <a:solidFill>
                  <a:schemeClr val="tx1"/>
                </a:solidFill>
              </a:rPr>
              <a:t>Does he seem likely to work with your team player colleagues?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118636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 LARNER  Strategic Alliance Extended Tea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684DE1-8CE9-4318-A22E-6A360B692DD5}" type="slidenum">
              <a:rPr lang="en-US" smtClean="0"/>
              <a:t>8</a:t>
            </a:fld>
            <a:endParaRPr lang="en-US"/>
          </a:p>
        </p:txBody>
      </p:sp>
      <p:cxnSp>
        <p:nvCxnSpPr>
          <p:cNvPr id="5" name="Straight Connector 4"/>
          <p:cNvCxnSpPr/>
          <p:nvPr/>
        </p:nvCxnSpPr>
        <p:spPr>
          <a:xfrm rot="5400000">
            <a:off x="7141389" y="4247593"/>
            <a:ext cx="4005223" cy="0"/>
          </a:xfrm>
          <a:prstGeom prst="line">
            <a:avLst/>
          </a:prstGeom>
          <a:noFill/>
          <a:ln w="6350" cap="flat" cmpd="sng" algn="ctr">
            <a:gradFill flip="none" rotWithShape="1">
              <a:gsLst>
                <a:gs pos="0">
                  <a:sysClr val="window" lastClr="FFFFFF"/>
                </a:gs>
                <a:gs pos="69188">
                  <a:sysClr val="window" lastClr="FFFFFF">
                    <a:lumMod val="65000"/>
                  </a:sysClr>
                </a:gs>
                <a:gs pos="37000">
                  <a:sysClr val="window" lastClr="FFFFFF">
                    <a:lumMod val="65000"/>
                  </a:sys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prstDash val="solid"/>
            <a:miter lim="800000"/>
          </a:ln>
          <a:effectLst/>
        </p:spPr>
      </p:cxnSp>
      <p:cxnSp>
        <p:nvCxnSpPr>
          <p:cNvPr id="6" name="Straight Connector 5"/>
          <p:cNvCxnSpPr/>
          <p:nvPr/>
        </p:nvCxnSpPr>
        <p:spPr>
          <a:xfrm rot="5400000">
            <a:off x="4093389" y="4247593"/>
            <a:ext cx="4005223" cy="0"/>
          </a:xfrm>
          <a:prstGeom prst="line">
            <a:avLst/>
          </a:prstGeom>
          <a:noFill/>
          <a:ln w="6350" cap="flat" cmpd="sng" algn="ctr">
            <a:gradFill flip="none" rotWithShape="1">
              <a:gsLst>
                <a:gs pos="0">
                  <a:sysClr val="window" lastClr="FFFFFF"/>
                </a:gs>
                <a:gs pos="69188">
                  <a:sysClr val="window" lastClr="FFFFFF">
                    <a:lumMod val="65000"/>
                  </a:sysClr>
                </a:gs>
                <a:gs pos="37000">
                  <a:sysClr val="window" lastClr="FFFFFF">
                    <a:lumMod val="65000"/>
                  </a:sys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prstDash val="solid"/>
            <a:miter lim="800000"/>
          </a:ln>
          <a:effectLst/>
        </p:spPr>
      </p:cxnSp>
      <p:cxnSp>
        <p:nvCxnSpPr>
          <p:cNvPr id="7" name="Straight Connector 6"/>
          <p:cNvCxnSpPr/>
          <p:nvPr/>
        </p:nvCxnSpPr>
        <p:spPr>
          <a:xfrm rot="5400000">
            <a:off x="1045389" y="4247593"/>
            <a:ext cx="4005223" cy="0"/>
          </a:xfrm>
          <a:prstGeom prst="line">
            <a:avLst/>
          </a:prstGeom>
          <a:noFill/>
          <a:ln w="6350" cap="flat" cmpd="sng" algn="ctr">
            <a:gradFill flip="none" rotWithShape="1">
              <a:gsLst>
                <a:gs pos="0">
                  <a:sysClr val="window" lastClr="FFFFFF"/>
                </a:gs>
                <a:gs pos="69188">
                  <a:sysClr val="window" lastClr="FFFFFF">
                    <a:lumMod val="65000"/>
                  </a:sysClr>
                </a:gs>
                <a:gs pos="37000">
                  <a:sysClr val="window" lastClr="FFFFFF">
                    <a:lumMod val="65000"/>
                  </a:sys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prstDash val="solid"/>
            <a:miter lim="800000"/>
          </a:ln>
          <a:effectLst/>
        </p:spPr>
      </p:cxnSp>
      <p:cxnSp>
        <p:nvCxnSpPr>
          <p:cNvPr id="8" name="Straight Connector 7"/>
          <p:cNvCxnSpPr/>
          <p:nvPr/>
        </p:nvCxnSpPr>
        <p:spPr>
          <a:xfrm>
            <a:off x="1524000" y="3163996"/>
            <a:ext cx="9144000" cy="0"/>
          </a:xfrm>
          <a:prstGeom prst="line">
            <a:avLst/>
          </a:prstGeom>
          <a:noFill/>
          <a:ln w="6350" cap="flat" cmpd="sng" algn="ctr">
            <a:gradFill flip="none" rotWithShape="1">
              <a:gsLst>
                <a:gs pos="0">
                  <a:sysClr val="window" lastClr="FFFFFF"/>
                </a:gs>
                <a:gs pos="69188">
                  <a:sysClr val="window" lastClr="FFFFFF">
                    <a:lumMod val="65000"/>
                  </a:sysClr>
                </a:gs>
                <a:gs pos="37000">
                  <a:sysClr val="window" lastClr="FFFFFF">
                    <a:lumMod val="65000"/>
                  </a:sys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prstDash val="solid"/>
            <a:miter lim="800000"/>
          </a:ln>
          <a:effectLst/>
        </p:spPr>
      </p:cxnSp>
      <p:cxnSp>
        <p:nvCxnSpPr>
          <p:cNvPr id="9" name="Straight Connector 8"/>
          <p:cNvCxnSpPr/>
          <p:nvPr/>
        </p:nvCxnSpPr>
        <p:spPr>
          <a:xfrm>
            <a:off x="1524000" y="4360877"/>
            <a:ext cx="9144000" cy="0"/>
          </a:xfrm>
          <a:prstGeom prst="line">
            <a:avLst/>
          </a:prstGeom>
          <a:noFill/>
          <a:ln w="6350" cap="flat" cmpd="sng" algn="ctr">
            <a:gradFill flip="none" rotWithShape="1">
              <a:gsLst>
                <a:gs pos="0">
                  <a:sysClr val="window" lastClr="FFFFFF"/>
                </a:gs>
                <a:gs pos="69188">
                  <a:sysClr val="window" lastClr="FFFFFF">
                    <a:lumMod val="65000"/>
                  </a:sysClr>
                </a:gs>
                <a:gs pos="37000">
                  <a:sysClr val="window" lastClr="FFFFFF">
                    <a:lumMod val="65000"/>
                  </a:sys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prstDash val="solid"/>
            <a:miter lim="800000"/>
          </a:ln>
          <a:effectLst/>
        </p:spPr>
      </p:cxnSp>
      <p:cxnSp>
        <p:nvCxnSpPr>
          <p:cNvPr id="10" name="Straight Connector 9"/>
          <p:cNvCxnSpPr/>
          <p:nvPr/>
        </p:nvCxnSpPr>
        <p:spPr>
          <a:xfrm>
            <a:off x="1524000" y="5665334"/>
            <a:ext cx="9144000" cy="0"/>
          </a:xfrm>
          <a:prstGeom prst="line">
            <a:avLst/>
          </a:prstGeom>
          <a:noFill/>
          <a:ln w="6350" cap="flat" cmpd="sng" algn="ctr">
            <a:gradFill flip="none" rotWithShape="1">
              <a:gsLst>
                <a:gs pos="0">
                  <a:sysClr val="window" lastClr="FFFFFF"/>
                </a:gs>
                <a:gs pos="69188">
                  <a:sysClr val="window" lastClr="FFFFFF">
                    <a:lumMod val="65000"/>
                  </a:sysClr>
                </a:gs>
                <a:gs pos="37000">
                  <a:sysClr val="window" lastClr="FFFFFF">
                    <a:lumMod val="65000"/>
                  </a:sysClr>
                </a:gs>
                <a:gs pos="100000">
                  <a:sysClr val="window" lastClr="FFFFFF"/>
                </a:gs>
              </a:gsLst>
              <a:lin ang="0" scaled="1"/>
              <a:tileRect/>
            </a:gradFill>
            <a:prstDash val="solid"/>
            <a:miter lim="800000"/>
          </a:ln>
          <a:effectLst/>
        </p:spPr>
      </p:cxnSp>
      <p:grpSp>
        <p:nvGrpSpPr>
          <p:cNvPr id="112" name="Group 111"/>
          <p:cNvGrpSpPr/>
          <p:nvPr/>
        </p:nvGrpSpPr>
        <p:grpSpPr>
          <a:xfrm>
            <a:off x="3720574" y="1993502"/>
            <a:ext cx="1702853" cy="4723720"/>
            <a:chOff x="2611160" y="1860152"/>
            <a:chExt cx="1702853" cy="4723720"/>
          </a:xfrm>
        </p:grpSpPr>
        <p:sp>
          <p:nvSpPr>
            <p:cNvPr id="13" name="Rectangle 12"/>
            <p:cNvSpPr/>
            <p:nvPr/>
          </p:nvSpPr>
          <p:spPr>
            <a:xfrm>
              <a:off x="2710079" y="2427212"/>
              <a:ext cx="1603934" cy="4616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en-US" sz="12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+mj-lt"/>
                  <a:cs typeface="Arial" panose="020B0604020202020204" pitchFamily="34" charset="0"/>
                </a:rPr>
                <a:t>International Tax Accountant</a:t>
              </a: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3148155" y="1860152"/>
              <a:ext cx="560707" cy="503264"/>
              <a:chOff x="6194426" y="2630488"/>
              <a:chExt cx="812800" cy="722312"/>
            </a:xfrm>
            <a:solidFill>
              <a:srgbClr val="33B3A6"/>
            </a:solidFill>
          </p:grpSpPr>
          <p:sp>
            <p:nvSpPr>
              <p:cNvPr id="15" name="Freeform 11"/>
              <p:cNvSpPr>
                <a:spLocks/>
              </p:cNvSpPr>
              <p:nvPr/>
            </p:nvSpPr>
            <p:spPr bwMode="auto">
              <a:xfrm>
                <a:off x="6423026" y="3178175"/>
                <a:ext cx="92075" cy="114300"/>
              </a:xfrm>
              <a:custGeom>
                <a:avLst/>
                <a:gdLst>
                  <a:gd name="T0" fmla="*/ 370 w 410"/>
                  <a:gd name="T1" fmla="*/ 0 h 505"/>
                  <a:gd name="T2" fmla="*/ 59 w 410"/>
                  <a:gd name="T3" fmla="*/ 238 h 505"/>
                  <a:gd name="T4" fmla="*/ 0 w 410"/>
                  <a:gd name="T5" fmla="*/ 505 h 505"/>
                  <a:gd name="T6" fmla="*/ 410 w 410"/>
                  <a:gd name="T7" fmla="*/ 190 h 505"/>
                  <a:gd name="T8" fmla="*/ 370 w 410"/>
                  <a:gd name="T9" fmla="*/ 0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0" h="505">
                    <a:moveTo>
                      <a:pt x="370" y="0"/>
                    </a:moveTo>
                    <a:lnTo>
                      <a:pt x="59" y="238"/>
                    </a:lnTo>
                    <a:lnTo>
                      <a:pt x="0" y="505"/>
                    </a:lnTo>
                    <a:lnTo>
                      <a:pt x="410" y="190"/>
                    </a:lnTo>
                    <a:lnTo>
                      <a:pt x="37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16" name="Freeform 12"/>
              <p:cNvSpPr>
                <a:spLocks/>
              </p:cNvSpPr>
              <p:nvPr/>
            </p:nvSpPr>
            <p:spPr bwMode="auto">
              <a:xfrm>
                <a:off x="6434138" y="3244850"/>
                <a:ext cx="98425" cy="107950"/>
              </a:xfrm>
              <a:custGeom>
                <a:avLst/>
                <a:gdLst>
                  <a:gd name="T0" fmla="*/ 378 w 429"/>
                  <a:gd name="T1" fmla="*/ 0 h 473"/>
                  <a:gd name="T2" fmla="*/ 0 w 429"/>
                  <a:gd name="T3" fmla="*/ 290 h 473"/>
                  <a:gd name="T4" fmla="*/ 191 w 429"/>
                  <a:gd name="T5" fmla="*/ 468 h 473"/>
                  <a:gd name="T6" fmla="*/ 193 w 429"/>
                  <a:gd name="T7" fmla="*/ 471 h 473"/>
                  <a:gd name="T8" fmla="*/ 194 w 429"/>
                  <a:gd name="T9" fmla="*/ 472 h 473"/>
                  <a:gd name="T10" fmla="*/ 196 w 429"/>
                  <a:gd name="T11" fmla="*/ 473 h 473"/>
                  <a:gd name="T12" fmla="*/ 197 w 429"/>
                  <a:gd name="T13" fmla="*/ 473 h 473"/>
                  <a:gd name="T14" fmla="*/ 199 w 429"/>
                  <a:gd name="T15" fmla="*/ 473 h 473"/>
                  <a:gd name="T16" fmla="*/ 201 w 429"/>
                  <a:gd name="T17" fmla="*/ 473 h 473"/>
                  <a:gd name="T18" fmla="*/ 202 w 429"/>
                  <a:gd name="T19" fmla="*/ 473 h 473"/>
                  <a:gd name="T20" fmla="*/ 204 w 429"/>
                  <a:gd name="T21" fmla="*/ 472 h 473"/>
                  <a:gd name="T22" fmla="*/ 205 w 429"/>
                  <a:gd name="T23" fmla="*/ 471 h 473"/>
                  <a:gd name="T24" fmla="*/ 205 w 429"/>
                  <a:gd name="T25" fmla="*/ 468 h 473"/>
                  <a:gd name="T26" fmla="*/ 426 w 429"/>
                  <a:gd name="T27" fmla="*/ 234 h 473"/>
                  <a:gd name="T28" fmla="*/ 428 w 429"/>
                  <a:gd name="T29" fmla="*/ 232 h 473"/>
                  <a:gd name="T30" fmla="*/ 429 w 429"/>
                  <a:gd name="T31" fmla="*/ 228 h 473"/>
                  <a:gd name="T32" fmla="*/ 429 w 429"/>
                  <a:gd name="T33" fmla="*/ 224 h 473"/>
                  <a:gd name="T34" fmla="*/ 429 w 429"/>
                  <a:gd name="T35" fmla="*/ 220 h 473"/>
                  <a:gd name="T36" fmla="*/ 378 w 429"/>
                  <a:gd name="T37" fmla="*/ 0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29" h="473">
                    <a:moveTo>
                      <a:pt x="378" y="0"/>
                    </a:moveTo>
                    <a:lnTo>
                      <a:pt x="0" y="290"/>
                    </a:lnTo>
                    <a:lnTo>
                      <a:pt x="191" y="468"/>
                    </a:lnTo>
                    <a:lnTo>
                      <a:pt x="193" y="471"/>
                    </a:lnTo>
                    <a:lnTo>
                      <a:pt x="194" y="472"/>
                    </a:lnTo>
                    <a:lnTo>
                      <a:pt x="196" y="473"/>
                    </a:lnTo>
                    <a:lnTo>
                      <a:pt x="197" y="473"/>
                    </a:lnTo>
                    <a:lnTo>
                      <a:pt x="199" y="473"/>
                    </a:lnTo>
                    <a:lnTo>
                      <a:pt x="201" y="473"/>
                    </a:lnTo>
                    <a:lnTo>
                      <a:pt x="202" y="473"/>
                    </a:lnTo>
                    <a:lnTo>
                      <a:pt x="204" y="472"/>
                    </a:lnTo>
                    <a:lnTo>
                      <a:pt x="205" y="471"/>
                    </a:lnTo>
                    <a:lnTo>
                      <a:pt x="205" y="468"/>
                    </a:lnTo>
                    <a:lnTo>
                      <a:pt x="426" y="234"/>
                    </a:lnTo>
                    <a:lnTo>
                      <a:pt x="428" y="232"/>
                    </a:lnTo>
                    <a:lnTo>
                      <a:pt x="429" y="228"/>
                    </a:lnTo>
                    <a:lnTo>
                      <a:pt x="429" y="224"/>
                    </a:lnTo>
                    <a:lnTo>
                      <a:pt x="429" y="220"/>
                    </a:lnTo>
                    <a:lnTo>
                      <a:pt x="37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17" name="Freeform 13"/>
              <p:cNvSpPr>
                <a:spLocks/>
              </p:cNvSpPr>
              <p:nvPr/>
            </p:nvSpPr>
            <p:spPr bwMode="auto">
              <a:xfrm>
                <a:off x="6435726" y="3046413"/>
                <a:ext cx="82550" cy="153987"/>
              </a:xfrm>
              <a:custGeom>
                <a:avLst/>
                <a:gdLst>
                  <a:gd name="T0" fmla="*/ 111 w 364"/>
                  <a:gd name="T1" fmla="*/ 322 h 674"/>
                  <a:gd name="T2" fmla="*/ 30 w 364"/>
                  <a:gd name="T3" fmla="*/ 674 h 674"/>
                  <a:gd name="T4" fmla="*/ 287 w 364"/>
                  <a:gd name="T5" fmla="*/ 480 h 674"/>
                  <a:gd name="T6" fmla="*/ 254 w 364"/>
                  <a:gd name="T7" fmla="*/ 326 h 674"/>
                  <a:gd name="T8" fmla="*/ 360 w 364"/>
                  <a:gd name="T9" fmla="*/ 194 h 674"/>
                  <a:gd name="T10" fmla="*/ 362 w 364"/>
                  <a:gd name="T11" fmla="*/ 191 h 674"/>
                  <a:gd name="T12" fmla="*/ 363 w 364"/>
                  <a:gd name="T13" fmla="*/ 188 h 674"/>
                  <a:gd name="T14" fmla="*/ 364 w 364"/>
                  <a:gd name="T15" fmla="*/ 185 h 674"/>
                  <a:gd name="T16" fmla="*/ 364 w 364"/>
                  <a:gd name="T17" fmla="*/ 182 h 674"/>
                  <a:gd name="T18" fmla="*/ 364 w 364"/>
                  <a:gd name="T19" fmla="*/ 179 h 674"/>
                  <a:gd name="T20" fmla="*/ 294 w 364"/>
                  <a:gd name="T21" fmla="*/ 7 h 674"/>
                  <a:gd name="T22" fmla="*/ 292 w 364"/>
                  <a:gd name="T23" fmla="*/ 5 h 674"/>
                  <a:gd name="T24" fmla="*/ 289 w 364"/>
                  <a:gd name="T25" fmla="*/ 2 h 674"/>
                  <a:gd name="T26" fmla="*/ 286 w 364"/>
                  <a:gd name="T27" fmla="*/ 0 h 674"/>
                  <a:gd name="T28" fmla="*/ 283 w 364"/>
                  <a:gd name="T29" fmla="*/ 0 h 674"/>
                  <a:gd name="T30" fmla="*/ 78 w 364"/>
                  <a:gd name="T31" fmla="*/ 0 h 674"/>
                  <a:gd name="T32" fmla="*/ 76 w 364"/>
                  <a:gd name="T33" fmla="*/ 0 h 674"/>
                  <a:gd name="T34" fmla="*/ 73 w 364"/>
                  <a:gd name="T35" fmla="*/ 1 h 674"/>
                  <a:gd name="T36" fmla="*/ 70 w 364"/>
                  <a:gd name="T37" fmla="*/ 2 h 674"/>
                  <a:gd name="T38" fmla="*/ 68 w 364"/>
                  <a:gd name="T39" fmla="*/ 5 h 674"/>
                  <a:gd name="T40" fmla="*/ 67 w 364"/>
                  <a:gd name="T41" fmla="*/ 7 h 674"/>
                  <a:gd name="T42" fmla="*/ 2 w 364"/>
                  <a:gd name="T43" fmla="*/ 179 h 674"/>
                  <a:gd name="T44" fmla="*/ 0 w 364"/>
                  <a:gd name="T45" fmla="*/ 181 h 674"/>
                  <a:gd name="T46" fmla="*/ 0 w 364"/>
                  <a:gd name="T47" fmla="*/ 183 h 674"/>
                  <a:gd name="T48" fmla="*/ 1 w 364"/>
                  <a:gd name="T49" fmla="*/ 187 h 674"/>
                  <a:gd name="T50" fmla="*/ 2 w 364"/>
                  <a:gd name="T51" fmla="*/ 189 h 674"/>
                  <a:gd name="T52" fmla="*/ 3 w 364"/>
                  <a:gd name="T53" fmla="*/ 192 h 674"/>
                  <a:gd name="T54" fmla="*/ 5 w 364"/>
                  <a:gd name="T55" fmla="*/ 194 h 674"/>
                  <a:gd name="T56" fmla="*/ 111 w 364"/>
                  <a:gd name="T57" fmla="*/ 322 h 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64" h="674">
                    <a:moveTo>
                      <a:pt x="111" y="322"/>
                    </a:moveTo>
                    <a:lnTo>
                      <a:pt x="30" y="674"/>
                    </a:lnTo>
                    <a:lnTo>
                      <a:pt x="287" y="480"/>
                    </a:lnTo>
                    <a:lnTo>
                      <a:pt x="254" y="326"/>
                    </a:lnTo>
                    <a:lnTo>
                      <a:pt x="360" y="194"/>
                    </a:lnTo>
                    <a:lnTo>
                      <a:pt x="362" y="191"/>
                    </a:lnTo>
                    <a:lnTo>
                      <a:pt x="363" y="188"/>
                    </a:lnTo>
                    <a:lnTo>
                      <a:pt x="364" y="185"/>
                    </a:lnTo>
                    <a:lnTo>
                      <a:pt x="364" y="182"/>
                    </a:lnTo>
                    <a:lnTo>
                      <a:pt x="364" y="179"/>
                    </a:lnTo>
                    <a:lnTo>
                      <a:pt x="294" y="7"/>
                    </a:lnTo>
                    <a:lnTo>
                      <a:pt x="292" y="5"/>
                    </a:lnTo>
                    <a:lnTo>
                      <a:pt x="289" y="2"/>
                    </a:lnTo>
                    <a:lnTo>
                      <a:pt x="286" y="0"/>
                    </a:lnTo>
                    <a:lnTo>
                      <a:pt x="283" y="0"/>
                    </a:lnTo>
                    <a:lnTo>
                      <a:pt x="78" y="0"/>
                    </a:lnTo>
                    <a:lnTo>
                      <a:pt x="76" y="0"/>
                    </a:lnTo>
                    <a:lnTo>
                      <a:pt x="73" y="1"/>
                    </a:lnTo>
                    <a:lnTo>
                      <a:pt x="70" y="2"/>
                    </a:lnTo>
                    <a:lnTo>
                      <a:pt x="68" y="5"/>
                    </a:lnTo>
                    <a:lnTo>
                      <a:pt x="67" y="7"/>
                    </a:lnTo>
                    <a:lnTo>
                      <a:pt x="2" y="179"/>
                    </a:lnTo>
                    <a:lnTo>
                      <a:pt x="0" y="181"/>
                    </a:lnTo>
                    <a:lnTo>
                      <a:pt x="0" y="183"/>
                    </a:lnTo>
                    <a:lnTo>
                      <a:pt x="1" y="187"/>
                    </a:lnTo>
                    <a:lnTo>
                      <a:pt x="2" y="189"/>
                    </a:lnTo>
                    <a:lnTo>
                      <a:pt x="3" y="192"/>
                    </a:lnTo>
                    <a:lnTo>
                      <a:pt x="5" y="194"/>
                    </a:lnTo>
                    <a:lnTo>
                      <a:pt x="111" y="32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18" name="Freeform 15"/>
              <p:cNvSpPr>
                <a:spLocks noEditPoints="1"/>
              </p:cNvSpPr>
              <p:nvPr/>
            </p:nvSpPr>
            <p:spPr bwMode="auto">
              <a:xfrm>
                <a:off x="6546851" y="3046413"/>
                <a:ext cx="203200" cy="292100"/>
              </a:xfrm>
              <a:custGeom>
                <a:avLst/>
                <a:gdLst>
                  <a:gd name="T0" fmla="*/ 894 w 902"/>
                  <a:gd name="T1" fmla="*/ 788 h 1287"/>
                  <a:gd name="T2" fmla="*/ 902 w 902"/>
                  <a:gd name="T3" fmla="*/ 594 h 1287"/>
                  <a:gd name="T4" fmla="*/ 898 w 902"/>
                  <a:gd name="T5" fmla="*/ 533 h 1287"/>
                  <a:gd name="T6" fmla="*/ 890 w 902"/>
                  <a:gd name="T7" fmla="*/ 473 h 1287"/>
                  <a:gd name="T8" fmla="*/ 876 w 902"/>
                  <a:gd name="T9" fmla="*/ 416 h 1287"/>
                  <a:gd name="T10" fmla="*/ 856 w 902"/>
                  <a:gd name="T11" fmla="*/ 362 h 1287"/>
                  <a:gd name="T12" fmla="*/ 831 w 902"/>
                  <a:gd name="T13" fmla="*/ 310 h 1287"/>
                  <a:gd name="T14" fmla="*/ 801 w 902"/>
                  <a:gd name="T15" fmla="*/ 261 h 1287"/>
                  <a:gd name="T16" fmla="*/ 767 w 902"/>
                  <a:gd name="T17" fmla="*/ 216 h 1287"/>
                  <a:gd name="T18" fmla="*/ 728 w 902"/>
                  <a:gd name="T19" fmla="*/ 173 h 1287"/>
                  <a:gd name="T20" fmla="*/ 687 w 902"/>
                  <a:gd name="T21" fmla="*/ 135 h 1287"/>
                  <a:gd name="T22" fmla="*/ 641 w 902"/>
                  <a:gd name="T23" fmla="*/ 101 h 1287"/>
                  <a:gd name="T24" fmla="*/ 592 w 902"/>
                  <a:gd name="T25" fmla="*/ 72 h 1287"/>
                  <a:gd name="T26" fmla="*/ 540 w 902"/>
                  <a:gd name="T27" fmla="*/ 47 h 1287"/>
                  <a:gd name="T28" fmla="*/ 485 w 902"/>
                  <a:gd name="T29" fmla="*/ 27 h 1287"/>
                  <a:gd name="T30" fmla="*/ 429 w 902"/>
                  <a:gd name="T31" fmla="*/ 12 h 1287"/>
                  <a:gd name="T32" fmla="*/ 370 w 902"/>
                  <a:gd name="T33" fmla="*/ 3 h 1287"/>
                  <a:gd name="T34" fmla="*/ 309 w 902"/>
                  <a:gd name="T35" fmla="*/ 0 h 1287"/>
                  <a:gd name="T36" fmla="*/ 290 w 902"/>
                  <a:gd name="T37" fmla="*/ 0 h 1287"/>
                  <a:gd name="T38" fmla="*/ 0 w 902"/>
                  <a:gd name="T39" fmla="*/ 1287 h 1287"/>
                  <a:gd name="T40" fmla="*/ 95 w 902"/>
                  <a:gd name="T41" fmla="*/ 1265 h 1287"/>
                  <a:gd name="T42" fmla="*/ 186 w 902"/>
                  <a:gd name="T43" fmla="*/ 1238 h 1287"/>
                  <a:gd name="T44" fmla="*/ 276 w 902"/>
                  <a:gd name="T45" fmla="*/ 1206 h 1287"/>
                  <a:gd name="T46" fmla="*/ 364 w 902"/>
                  <a:gd name="T47" fmla="*/ 1169 h 1287"/>
                  <a:gd name="T48" fmla="*/ 448 w 902"/>
                  <a:gd name="T49" fmla="*/ 1127 h 1287"/>
                  <a:gd name="T50" fmla="*/ 531 w 902"/>
                  <a:gd name="T51" fmla="*/ 1080 h 1287"/>
                  <a:gd name="T52" fmla="*/ 611 w 902"/>
                  <a:gd name="T53" fmla="*/ 1030 h 1287"/>
                  <a:gd name="T54" fmla="*/ 686 w 902"/>
                  <a:gd name="T55" fmla="*/ 976 h 1287"/>
                  <a:gd name="T56" fmla="*/ 759 w 902"/>
                  <a:gd name="T57" fmla="*/ 917 h 1287"/>
                  <a:gd name="T58" fmla="*/ 829 w 902"/>
                  <a:gd name="T59" fmla="*/ 854 h 1287"/>
                  <a:gd name="T60" fmla="*/ 894 w 902"/>
                  <a:gd name="T61" fmla="*/ 788 h 1287"/>
                  <a:gd name="T62" fmla="*/ 642 w 902"/>
                  <a:gd name="T63" fmla="*/ 583 h 1287"/>
                  <a:gd name="T64" fmla="*/ 366 w 902"/>
                  <a:gd name="T65" fmla="*/ 583 h 1287"/>
                  <a:gd name="T66" fmla="*/ 366 w 902"/>
                  <a:gd name="T67" fmla="*/ 495 h 1287"/>
                  <a:gd name="T68" fmla="*/ 642 w 902"/>
                  <a:gd name="T69" fmla="*/ 495 h 1287"/>
                  <a:gd name="T70" fmla="*/ 642 w 902"/>
                  <a:gd name="T71" fmla="*/ 583 h 1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02" h="1287">
                    <a:moveTo>
                      <a:pt x="894" y="788"/>
                    </a:moveTo>
                    <a:lnTo>
                      <a:pt x="902" y="594"/>
                    </a:lnTo>
                    <a:lnTo>
                      <a:pt x="898" y="533"/>
                    </a:lnTo>
                    <a:lnTo>
                      <a:pt x="890" y="473"/>
                    </a:lnTo>
                    <a:lnTo>
                      <a:pt x="876" y="416"/>
                    </a:lnTo>
                    <a:lnTo>
                      <a:pt x="856" y="362"/>
                    </a:lnTo>
                    <a:lnTo>
                      <a:pt x="831" y="310"/>
                    </a:lnTo>
                    <a:lnTo>
                      <a:pt x="801" y="261"/>
                    </a:lnTo>
                    <a:lnTo>
                      <a:pt x="767" y="216"/>
                    </a:lnTo>
                    <a:lnTo>
                      <a:pt x="728" y="173"/>
                    </a:lnTo>
                    <a:lnTo>
                      <a:pt x="687" y="135"/>
                    </a:lnTo>
                    <a:lnTo>
                      <a:pt x="641" y="101"/>
                    </a:lnTo>
                    <a:lnTo>
                      <a:pt x="592" y="72"/>
                    </a:lnTo>
                    <a:lnTo>
                      <a:pt x="540" y="47"/>
                    </a:lnTo>
                    <a:lnTo>
                      <a:pt x="485" y="27"/>
                    </a:lnTo>
                    <a:lnTo>
                      <a:pt x="429" y="12"/>
                    </a:lnTo>
                    <a:lnTo>
                      <a:pt x="370" y="3"/>
                    </a:lnTo>
                    <a:lnTo>
                      <a:pt x="309" y="0"/>
                    </a:lnTo>
                    <a:lnTo>
                      <a:pt x="290" y="0"/>
                    </a:lnTo>
                    <a:lnTo>
                      <a:pt x="0" y="1287"/>
                    </a:lnTo>
                    <a:lnTo>
                      <a:pt x="95" y="1265"/>
                    </a:lnTo>
                    <a:lnTo>
                      <a:pt x="186" y="1238"/>
                    </a:lnTo>
                    <a:lnTo>
                      <a:pt x="276" y="1206"/>
                    </a:lnTo>
                    <a:lnTo>
                      <a:pt x="364" y="1169"/>
                    </a:lnTo>
                    <a:lnTo>
                      <a:pt x="448" y="1127"/>
                    </a:lnTo>
                    <a:lnTo>
                      <a:pt x="531" y="1080"/>
                    </a:lnTo>
                    <a:lnTo>
                      <a:pt x="611" y="1030"/>
                    </a:lnTo>
                    <a:lnTo>
                      <a:pt x="686" y="976"/>
                    </a:lnTo>
                    <a:lnTo>
                      <a:pt x="759" y="917"/>
                    </a:lnTo>
                    <a:lnTo>
                      <a:pt x="829" y="854"/>
                    </a:lnTo>
                    <a:lnTo>
                      <a:pt x="894" y="788"/>
                    </a:lnTo>
                    <a:close/>
                    <a:moveTo>
                      <a:pt x="642" y="583"/>
                    </a:moveTo>
                    <a:lnTo>
                      <a:pt x="366" y="583"/>
                    </a:lnTo>
                    <a:lnTo>
                      <a:pt x="366" y="495"/>
                    </a:lnTo>
                    <a:lnTo>
                      <a:pt x="642" y="495"/>
                    </a:lnTo>
                    <a:lnTo>
                      <a:pt x="642" y="583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19" name="Freeform 16"/>
              <p:cNvSpPr>
                <a:spLocks/>
              </p:cNvSpPr>
              <p:nvPr/>
            </p:nvSpPr>
            <p:spPr bwMode="auto">
              <a:xfrm>
                <a:off x="6194426" y="3044825"/>
                <a:ext cx="212725" cy="295275"/>
              </a:xfrm>
              <a:custGeom>
                <a:avLst/>
                <a:gdLst>
                  <a:gd name="T0" fmla="*/ 938 w 938"/>
                  <a:gd name="T1" fmla="*/ 1300 h 1300"/>
                  <a:gd name="T2" fmla="*/ 620 w 938"/>
                  <a:gd name="T3" fmla="*/ 0 h 1300"/>
                  <a:gd name="T4" fmla="*/ 594 w 938"/>
                  <a:gd name="T5" fmla="*/ 0 h 1300"/>
                  <a:gd name="T6" fmla="*/ 533 w 938"/>
                  <a:gd name="T7" fmla="*/ 3 h 1300"/>
                  <a:gd name="T8" fmla="*/ 474 w 938"/>
                  <a:gd name="T9" fmla="*/ 12 h 1300"/>
                  <a:gd name="T10" fmla="*/ 416 w 938"/>
                  <a:gd name="T11" fmla="*/ 26 h 1300"/>
                  <a:gd name="T12" fmla="*/ 361 w 938"/>
                  <a:gd name="T13" fmla="*/ 45 h 1300"/>
                  <a:gd name="T14" fmla="*/ 310 w 938"/>
                  <a:gd name="T15" fmla="*/ 71 h 1300"/>
                  <a:gd name="T16" fmla="*/ 261 w 938"/>
                  <a:gd name="T17" fmla="*/ 100 h 1300"/>
                  <a:gd name="T18" fmla="*/ 215 w 938"/>
                  <a:gd name="T19" fmla="*/ 135 h 1300"/>
                  <a:gd name="T20" fmla="*/ 173 w 938"/>
                  <a:gd name="T21" fmla="*/ 173 h 1300"/>
                  <a:gd name="T22" fmla="*/ 135 w 938"/>
                  <a:gd name="T23" fmla="*/ 214 h 1300"/>
                  <a:gd name="T24" fmla="*/ 101 w 938"/>
                  <a:gd name="T25" fmla="*/ 260 h 1300"/>
                  <a:gd name="T26" fmla="*/ 71 w 938"/>
                  <a:gd name="T27" fmla="*/ 309 h 1300"/>
                  <a:gd name="T28" fmla="*/ 46 w 938"/>
                  <a:gd name="T29" fmla="*/ 362 h 1300"/>
                  <a:gd name="T30" fmla="*/ 27 w 938"/>
                  <a:gd name="T31" fmla="*/ 416 h 1300"/>
                  <a:gd name="T32" fmla="*/ 12 w 938"/>
                  <a:gd name="T33" fmla="*/ 473 h 1300"/>
                  <a:gd name="T34" fmla="*/ 3 w 938"/>
                  <a:gd name="T35" fmla="*/ 532 h 1300"/>
                  <a:gd name="T36" fmla="*/ 0 w 938"/>
                  <a:gd name="T37" fmla="*/ 593 h 1300"/>
                  <a:gd name="T38" fmla="*/ 7 w 938"/>
                  <a:gd name="T39" fmla="*/ 813 h 1300"/>
                  <a:gd name="T40" fmla="*/ 77 w 938"/>
                  <a:gd name="T41" fmla="*/ 881 h 1300"/>
                  <a:gd name="T42" fmla="*/ 149 w 938"/>
                  <a:gd name="T43" fmla="*/ 944 h 1300"/>
                  <a:gd name="T44" fmla="*/ 225 w 938"/>
                  <a:gd name="T45" fmla="*/ 1004 h 1300"/>
                  <a:gd name="T46" fmla="*/ 305 w 938"/>
                  <a:gd name="T47" fmla="*/ 1058 h 1300"/>
                  <a:gd name="T48" fmla="*/ 388 w 938"/>
                  <a:gd name="T49" fmla="*/ 1107 h 1300"/>
                  <a:gd name="T50" fmla="*/ 474 w 938"/>
                  <a:gd name="T51" fmla="*/ 1152 h 1300"/>
                  <a:gd name="T52" fmla="*/ 562 w 938"/>
                  <a:gd name="T53" fmla="*/ 1193 h 1300"/>
                  <a:gd name="T54" fmla="*/ 652 w 938"/>
                  <a:gd name="T55" fmla="*/ 1227 h 1300"/>
                  <a:gd name="T56" fmla="*/ 746 w 938"/>
                  <a:gd name="T57" fmla="*/ 1257 h 1300"/>
                  <a:gd name="T58" fmla="*/ 841 w 938"/>
                  <a:gd name="T59" fmla="*/ 1282 h 1300"/>
                  <a:gd name="T60" fmla="*/ 938 w 938"/>
                  <a:gd name="T61" fmla="*/ 1300 h 1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8" h="1300">
                    <a:moveTo>
                      <a:pt x="938" y="1300"/>
                    </a:moveTo>
                    <a:lnTo>
                      <a:pt x="620" y="0"/>
                    </a:lnTo>
                    <a:lnTo>
                      <a:pt x="594" y="0"/>
                    </a:lnTo>
                    <a:lnTo>
                      <a:pt x="533" y="3"/>
                    </a:lnTo>
                    <a:lnTo>
                      <a:pt x="474" y="12"/>
                    </a:lnTo>
                    <a:lnTo>
                      <a:pt x="416" y="26"/>
                    </a:lnTo>
                    <a:lnTo>
                      <a:pt x="361" y="45"/>
                    </a:lnTo>
                    <a:lnTo>
                      <a:pt x="310" y="71"/>
                    </a:lnTo>
                    <a:lnTo>
                      <a:pt x="261" y="100"/>
                    </a:lnTo>
                    <a:lnTo>
                      <a:pt x="215" y="135"/>
                    </a:lnTo>
                    <a:lnTo>
                      <a:pt x="173" y="173"/>
                    </a:lnTo>
                    <a:lnTo>
                      <a:pt x="135" y="214"/>
                    </a:lnTo>
                    <a:lnTo>
                      <a:pt x="101" y="260"/>
                    </a:lnTo>
                    <a:lnTo>
                      <a:pt x="71" y="309"/>
                    </a:lnTo>
                    <a:lnTo>
                      <a:pt x="46" y="362"/>
                    </a:lnTo>
                    <a:lnTo>
                      <a:pt x="27" y="416"/>
                    </a:lnTo>
                    <a:lnTo>
                      <a:pt x="12" y="473"/>
                    </a:lnTo>
                    <a:lnTo>
                      <a:pt x="3" y="532"/>
                    </a:lnTo>
                    <a:lnTo>
                      <a:pt x="0" y="593"/>
                    </a:lnTo>
                    <a:lnTo>
                      <a:pt x="7" y="813"/>
                    </a:lnTo>
                    <a:lnTo>
                      <a:pt x="77" y="881"/>
                    </a:lnTo>
                    <a:lnTo>
                      <a:pt x="149" y="944"/>
                    </a:lnTo>
                    <a:lnTo>
                      <a:pt x="225" y="1004"/>
                    </a:lnTo>
                    <a:lnTo>
                      <a:pt x="305" y="1058"/>
                    </a:lnTo>
                    <a:lnTo>
                      <a:pt x="388" y="1107"/>
                    </a:lnTo>
                    <a:lnTo>
                      <a:pt x="474" y="1152"/>
                    </a:lnTo>
                    <a:lnTo>
                      <a:pt x="562" y="1193"/>
                    </a:lnTo>
                    <a:lnTo>
                      <a:pt x="652" y="1227"/>
                    </a:lnTo>
                    <a:lnTo>
                      <a:pt x="746" y="1257"/>
                    </a:lnTo>
                    <a:lnTo>
                      <a:pt x="841" y="1282"/>
                    </a:lnTo>
                    <a:lnTo>
                      <a:pt x="938" y="130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20" name="Freeform 17"/>
              <p:cNvSpPr>
                <a:spLocks/>
              </p:cNvSpPr>
              <p:nvPr/>
            </p:nvSpPr>
            <p:spPr bwMode="auto">
              <a:xfrm>
                <a:off x="6850063" y="2809875"/>
                <a:ext cx="20638" cy="36512"/>
              </a:xfrm>
              <a:custGeom>
                <a:avLst/>
                <a:gdLst>
                  <a:gd name="T0" fmla="*/ 0 w 95"/>
                  <a:gd name="T1" fmla="*/ 161 h 161"/>
                  <a:gd name="T2" fmla="*/ 24 w 95"/>
                  <a:gd name="T3" fmla="*/ 155 h 161"/>
                  <a:gd name="T4" fmla="*/ 46 w 95"/>
                  <a:gd name="T5" fmla="*/ 145 h 161"/>
                  <a:gd name="T6" fmla="*/ 62 w 95"/>
                  <a:gd name="T7" fmla="*/ 131 h 161"/>
                  <a:gd name="T8" fmla="*/ 74 w 95"/>
                  <a:gd name="T9" fmla="*/ 119 h 161"/>
                  <a:gd name="T10" fmla="*/ 83 w 95"/>
                  <a:gd name="T11" fmla="*/ 104 h 161"/>
                  <a:gd name="T12" fmla="*/ 90 w 95"/>
                  <a:gd name="T13" fmla="*/ 85 h 161"/>
                  <a:gd name="T14" fmla="*/ 94 w 95"/>
                  <a:gd name="T15" fmla="*/ 66 h 161"/>
                  <a:gd name="T16" fmla="*/ 95 w 95"/>
                  <a:gd name="T17" fmla="*/ 44 h 161"/>
                  <a:gd name="T18" fmla="*/ 91 w 95"/>
                  <a:gd name="T19" fmla="*/ 34 h 161"/>
                  <a:gd name="T20" fmla="*/ 83 w 95"/>
                  <a:gd name="T21" fmla="*/ 26 h 161"/>
                  <a:gd name="T22" fmla="*/ 69 w 95"/>
                  <a:gd name="T23" fmla="*/ 18 h 161"/>
                  <a:gd name="T24" fmla="*/ 49 w 95"/>
                  <a:gd name="T25" fmla="*/ 10 h 161"/>
                  <a:gd name="T26" fmla="*/ 26 w 95"/>
                  <a:gd name="T27" fmla="*/ 5 h 161"/>
                  <a:gd name="T28" fmla="*/ 0 w 95"/>
                  <a:gd name="T29" fmla="*/ 0 h 161"/>
                  <a:gd name="T30" fmla="*/ 0 w 95"/>
                  <a:gd name="T31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5" h="161">
                    <a:moveTo>
                      <a:pt x="0" y="161"/>
                    </a:moveTo>
                    <a:lnTo>
                      <a:pt x="24" y="155"/>
                    </a:lnTo>
                    <a:lnTo>
                      <a:pt x="46" y="145"/>
                    </a:lnTo>
                    <a:lnTo>
                      <a:pt x="62" y="131"/>
                    </a:lnTo>
                    <a:lnTo>
                      <a:pt x="74" y="119"/>
                    </a:lnTo>
                    <a:lnTo>
                      <a:pt x="83" y="104"/>
                    </a:lnTo>
                    <a:lnTo>
                      <a:pt x="90" y="85"/>
                    </a:lnTo>
                    <a:lnTo>
                      <a:pt x="94" y="66"/>
                    </a:lnTo>
                    <a:lnTo>
                      <a:pt x="95" y="44"/>
                    </a:lnTo>
                    <a:lnTo>
                      <a:pt x="91" y="34"/>
                    </a:lnTo>
                    <a:lnTo>
                      <a:pt x="83" y="26"/>
                    </a:lnTo>
                    <a:lnTo>
                      <a:pt x="69" y="18"/>
                    </a:lnTo>
                    <a:lnTo>
                      <a:pt x="49" y="10"/>
                    </a:lnTo>
                    <a:lnTo>
                      <a:pt x="26" y="5"/>
                    </a:lnTo>
                    <a:lnTo>
                      <a:pt x="0" y="0"/>
                    </a:lnTo>
                    <a:lnTo>
                      <a:pt x="0" y="161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21" name="Freeform 18"/>
              <p:cNvSpPr>
                <a:spLocks noEditPoints="1"/>
              </p:cNvSpPr>
              <p:nvPr/>
            </p:nvSpPr>
            <p:spPr bwMode="auto">
              <a:xfrm>
                <a:off x="6669088" y="2630488"/>
                <a:ext cx="338138" cy="381000"/>
              </a:xfrm>
              <a:custGeom>
                <a:avLst/>
                <a:gdLst>
                  <a:gd name="T0" fmla="*/ 1421 w 1491"/>
                  <a:gd name="T1" fmla="*/ 429 h 1676"/>
                  <a:gd name="T2" fmla="*/ 1315 w 1491"/>
                  <a:gd name="T3" fmla="*/ 264 h 1676"/>
                  <a:gd name="T4" fmla="*/ 1174 w 1491"/>
                  <a:gd name="T5" fmla="*/ 135 h 1676"/>
                  <a:gd name="T6" fmla="*/ 1007 w 1491"/>
                  <a:gd name="T7" fmla="*/ 47 h 1676"/>
                  <a:gd name="T8" fmla="*/ 820 w 1491"/>
                  <a:gd name="T9" fmla="*/ 4 h 1676"/>
                  <a:gd name="T10" fmla="*/ 624 w 1491"/>
                  <a:gd name="T11" fmla="*/ 10 h 1676"/>
                  <a:gd name="T12" fmla="*/ 432 w 1491"/>
                  <a:gd name="T13" fmla="*/ 69 h 1676"/>
                  <a:gd name="T14" fmla="*/ 268 w 1491"/>
                  <a:gd name="T15" fmla="*/ 174 h 1676"/>
                  <a:gd name="T16" fmla="*/ 139 w 1491"/>
                  <a:gd name="T17" fmla="*/ 315 h 1676"/>
                  <a:gd name="T18" fmla="*/ 49 w 1491"/>
                  <a:gd name="T19" fmla="*/ 484 h 1676"/>
                  <a:gd name="T20" fmla="*/ 3 w 1491"/>
                  <a:gd name="T21" fmla="*/ 672 h 1676"/>
                  <a:gd name="T22" fmla="*/ 10 w 1491"/>
                  <a:gd name="T23" fmla="*/ 869 h 1676"/>
                  <a:gd name="T24" fmla="*/ 67 w 1491"/>
                  <a:gd name="T25" fmla="*/ 1056 h 1676"/>
                  <a:gd name="T26" fmla="*/ 165 w 1491"/>
                  <a:gd name="T27" fmla="*/ 1213 h 1676"/>
                  <a:gd name="T28" fmla="*/ 293 w 1491"/>
                  <a:gd name="T29" fmla="*/ 1340 h 1676"/>
                  <a:gd name="T30" fmla="*/ 936 w 1491"/>
                  <a:gd name="T31" fmla="*/ 1468 h 1676"/>
                  <a:gd name="T32" fmla="*/ 1120 w 1491"/>
                  <a:gd name="T33" fmla="*/ 1391 h 1676"/>
                  <a:gd name="T34" fmla="*/ 1273 w 1491"/>
                  <a:gd name="T35" fmla="*/ 1273 h 1676"/>
                  <a:gd name="T36" fmla="*/ 1388 w 1491"/>
                  <a:gd name="T37" fmla="*/ 1121 h 1676"/>
                  <a:gd name="T38" fmla="*/ 1462 w 1491"/>
                  <a:gd name="T39" fmla="*/ 946 h 1676"/>
                  <a:gd name="T40" fmla="*/ 1491 w 1491"/>
                  <a:gd name="T41" fmla="*/ 754 h 1676"/>
                  <a:gd name="T42" fmla="*/ 1467 w 1491"/>
                  <a:gd name="T43" fmla="*/ 555 h 1676"/>
                  <a:gd name="T44" fmla="*/ 976 w 1491"/>
                  <a:gd name="T45" fmla="*/ 895 h 1676"/>
                  <a:gd name="T46" fmla="*/ 938 w 1491"/>
                  <a:gd name="T47" fmla="*/ 972 h 1676"/>
                  <a:gd name="T48" fmla="*/ 875 w 1491"/>
                  <a:gd name="T49" fmla="*/ 1020 h 1676"/>
                  <a:gd name="T50" fmla="*/ 810 w 1491"/>
                  <a:gd name="T51" fmla="*/ 1039 h 1676"/>
                  <a:gd name="T52" fmla="*/ 698 w 1491"/>
                  <a:gd name="T53" fmla="*/ 1134 h 1676"/>
                  <a:gd name="T54" fmla="*/ 633 w 1491"/>
                  <a:gd name="T55" fmla="*/ 1009 h 1676"/>
                  <a:gd name="T56" fmla="*/ 566 w 1491"/>
                  <a:gd name="T57" fmla="*/ 960 h 1676"/>
                  <a:gd name="T58" fmla="*/ 530 w 1491"/>
                  <a:gd name="T59" fmla="*/ 904 h 1676"/>
                  <a:gd name="T60" fmla="*/ 514 w 1491"/>
                  <a:gd name="T61" fmla="*/ 854 h 1676"/>
                  <a:gd name="T62" fmla="*/ 510 w 1491"/>
                  <a:gd name="T63" fmla="*/ 826 h 1676"/>
                  <a:gd name="T64" fmla="*/ 606 w 1491"/>
                  <a:gd name="T65" fmla="*/ 804 h 1676"/>
                  <a:gd name="T66" fmla="*/ 606 w 1491"/>
                  <a:gd name="T67" fmla="*/ 832 h 1676"/>
                  <a:gd name="T68" fmla="*/ 617 w 1491"/>
                  <a:gd name="T69" fmla="*/ 866 h 1676"/>
                  <a:gd name="T70" fmla="*/ 653 w 1491"/>
                  <a:gd name="T71" fmla="*/ 909 h 1676"/>
                  <a:gd name="T72" fmla="*/ 698 w 1491"/>
                  <a:gd name="T73" fmla="*/ 771 h 1676"/>
                  <a:gd name="T74" fmla="*/ 639 w 1491"/>
                  <a:gd name="T75" fmla="*/ 756 h 1676"/>
                  <a:gd name="T76" fmla="*/ 576 w 1491"/>
                  <a:gd name="T77" fmla="*/ 723 h 1676"/>
                  <a:gd name="T78" fmla="*/ 527 w 1491"/>
                  <a:gd name="T79" fmla="*/ 669 h 1676"/>
                  <a:gd name="T80" fmla="*/ 509 w 1491"/>
                  <a:gd name="T81" fmla="*/ 588 h 1676"/>
                  <a:gd name="T82" fmla="*/ 526 w 1491"/>
                  <a:gd name="T83" fmla="*/ 508 h 1676"/>
                  <a:gd name="T84" fmla="*/ 577 w 1491"/>
                  <a:gd name="T85" fmla="*/ 443 h 1676"/>
                  <a:gd name="T86" fmla="*/ 663 w 1491"/>
                  <a:gd name="T87" fmla="*/ 395 h 1676"/>
                  <a:gd name="T88" fmla="*/ 793 w 1491"/>
                  <a:gd name="T89" fmla="*/ 302 h 1676"/>
                  <a:gd name="T90" fmla="*/ 854 w 1491"/>
                  <a:gd name="T91" fmla="*/ 406 h 1676"/>
                  <a:gd name="T92" fmla="*/ 920 w 1491"/>
                  <a:gd name="T93" fmla="*/ 459 h 1676"/>
                  <a:gd name="T94" fmla="*/ 961 w 1491"/>
                  <a:gd name="T95" fmla="*/ 526 h 1676"/>
                  <a:gd name="T96" fmla="*/ 980 w 1491"/>
                  <a:gd name="T97" fmla="*/ 591 h 1676"/>
                  <a:gd name="T98" fmla="*/ 892 w 1491"/>
                  <a:gd name="T99" fmla="*/ 636 h 1676"/>
                  <a:gd name="T100" fmla="*/ 887 w 1491"/>
                  <a:gd name="T101" fmla="*/ 607 h 1676"/>
                  <a:gd name="T102" fmla="*/ 876 w 1491"/>
                  <a:gd name="T103" fmla="*/ 566 h 1676"/>
                  <a:gd name="T104" fmla="*/ 846 w 1491"/>
                  <a:gd name="T105" fmla="*/ 517 h 1676"/>
                  <a:gd name="T106" fmla="*/ 793 w 1491"/>
                  <a:gd name="T107" fmla="*/ 482 h 1676"/>
                  <a:gd name="T108" fmla="*/ 830 w 1491"/>
                  <a:gd name="T109" fmla="*/ 695 h 1676"/>
                  <a:gd name="T110" fmla="*/ 892 w 1491"/>
                  <a:gd name="T111" fmla="*/ 716 h 1676"/>
                  <a:gd name="T112" fmla="*/ 949 w 1491"/>
                  <a:gd name="T113" fmla="*/ 753 h 1676"/>
                  <a:gd name="T114" fmla="*/ 980 w 1491"/>
                  <a:gd name="T115" fmla="*/ 809 h 1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491" h="1676">
                    <a:moveTo>
                      <a:pt x="1467" y="555"/>
                    </a:moveTo>
                    <a:lnTo>
                      <a:pt x="1447" y="490"/>
                    </a:lnTo>
                    <a:lnTo>
                      <a:pt x="1421" y="429"/>
                    </a:lnTo>
                    <a:lnTo>
                      <a:pt x="1390" y="370"/>
                    </a:lnTo>
                    <a:lnTo>
                      <a:pt x="1355" y="315"/>
                    </a:lnTo>
                    <a:lnTo>
                      <a:pt x="1315" y="264"/>
                    </a:lnTo>
                    <a:lnTo>
                      <a:pt x="1273" y="217"/>
                    </a:lnTo>
                    <a:lnTo>
                      <a:pt x="1225" y="174"/>
                    </a:lnTo>
                    <a:lnTo>
                      <a:pt x="1174" y="135"/>
                    </a:lnTo>
                    <a:lnTo>
                      <a:pt x="1121" y="102"/>
                    </a:lnTo>
                    <a:lnTo>
                      <a:pt x="1065" y="71"/>
                    </a:lnTo>
                    <a:lnTo>
                      <a:pt x="1007" y="47"/>
                    </a:lnTo>
                    <a:lnTo>
                      <a:pt x="947" y="28"/>
                    </a:lnTo>
                    <a:lnTo>
                      <a:pt x="884" y="12"/>
                    </a:lnTo>
                    <a:lnTo>
                      <a:pt x="820" y="4"/>
                    </a:lnTo>
                    <a:lnTo>
                      <a:pt x="756" y="0"/>
                    </a:lnTo>
                    <a:lnTo>
                      <a:pt x="690" y="1"/>
                    </a:lnTo>
                    <a:lnTo>
                      <a:pt x="624" y="10"/>
                    </a:lnTo>
                    <a:lnTo>
                      <a:pt x="558" y="24"/>
                    </a:lnTo>
                    <a:lnTo>
                      <a:pt x="494" y="44"/>
                    </a:lnTo>
                    <a:lnTo>
                      <a:pt x="432" y="69"/>
                    </a:lnTo>
                    <a:lnTo>
                      <a:pt x="374" y="99"/>
                    </a:lnTo>
                    <a:lnTo>
                      <a:pt x="320" y="134"/>
                    </a:lnTo>
                    <a:lnTo>
                      <a:pt x="268" y="174"/>
                    </a:lnTo>
                    <a:lnTo>
                      <a:pt x="222" y="217"/>
                    </a:lnTo>
                    <a:lnTo>
                      <a:pt x="178" y="264"/>
                    </a:lnTo>
                    <a:lnTo>
                      <a:pt x="139" y="315"/>
                    </a:lnTo>
                    <a:lnTo>
                      <a:pt x="104" y="369"/>
                    </a:lnTo>
                    <a:lnTo>
                      <a:pt x="74" y="426"/>
                    </a:lnTo>
                    <a:lnTo>
                      <a:pt x="49" y="484"/>
                    </a:lnTo>
                    <a:lnTo>
                      <a:pt x="29" y="544"/>
                    </a:lnTo>
                    <a:lnTo>
                      <a:pt x="13" y="608"/>
                    </a:lnTo>
                    <a:lnTo>
                      <a:pt x="3" y="672"/>
                    </a:lnTo>
                    <a:lnTo>
                      <a:pt x="0" y="737"/>
                    </a:lnTo>
                    <a:lnTo>
                      <a:pt x="1" y="803"/>
                    </a:lnTo>
                    <a:lnTo>
                      <a:pt x="10" y="869"/>
                    </a:lnTo>
                    <a:lnTo>
                      <a:pt x="23" y="936"/>
                    </a:lnTo>
                    <a:lnTo>
                      <a:pt x="43" y="997"/>
                    </a:lnTo>
                    <a:lnTo>
                      <a:pt x="67" y="1056"/>
                    </a:lnTo>
                    <a:lnTo>
                      <a:pt x="95" y="1111"/>
                    </a:lnTo>
                    <a:lnTo>
                      <a:pt x="128" y="1164"/>
                    </a:lnTo>
                    <a:lnTo>
                      <a:pt x="165" y="1213"/>
                    </a:lnTo>
                    <a:lnTo>
                      <a:pt x="204" y="1260"/>
                    </a:lnTo>
                    <a:lnTo>
                      <a:pt x="248" y="1302"/>
                    </a:lnTo>
                    <a:lnTo>
                      <a:pt x="293" y="1340"/>
                    </a:lnTo>
                    <a:lnTo>
                      <a:pt x="343" y="1376"/>
                    </a:lnTo>
                    <a:lnTo>
                      <a:pt x="148" y="1676"/>
                    </a:lnTo>
                    <a:lnTo>
                      <a:pt x="936" y="1468"/>
                    </a:lnTo>
                    <a:lnTo>
                      <a:pt x="1000" y="1447"/>
                    </a:lnTo>
                    <a:lnTo>
                      <a:pt x="1061" y="1421"/>
                    </a:lnTo>
                    <a:lnTo>
                      <a:pt x="1120" y="1391"/>
                    </a:lnTo>
                    <a:lnTo>
                      <a:pt x="1174" y="1356"/>
                    </a:lnTo>
                    <a:lnTo>
                      <a:pt x="1225" y="1316"/>
                    </a:lnTo>
                    <a:lnTo>
                      <a:pt x="1273" y="1273"/>
                    </a:lnTo>
                    <a:lnTo>
                      <a:pt x="1315" y="1225"/>
                    </a:lnTo>
                    <a:lnTo>
                      <a:pt x="1354" y="1175"/>
                    </a:lnTo>
                    <a:lnTo>
                      <a:pt x="1388" y="1121"/>
                    </a:lnTo>
                    <a:lnTo>
                      <a:pt x="1418" y="1064"/>
                    </a:lnTo>
                    <a:lnTo>
                      <a:pt x="1443" y="1007"/>
                    </a:lnTo>
                    <a:lnTo>
                      <a:pt x="1462" y="946"/>
                    </a:lnTo>
                    <a:lnTo>
                      <a:pt x="1478" y="883"/>
                    </a:lnTo>
                    <a:lnTo>
                      <a:pt x="1487" y="819"/>
                    </a:lnTo>
                    <a:lnTo>
                      <a:pt x="1491" y="754"/>
                    </a:lnTo>
                    <a:lnTo>
                      <a:pt x="1488" y="688"/>
                    </a:lnTo>
                    <a:lnTo>
                      <a:pt x="1481" y="622"/>
                    </a:lnTo>
                    <a:lnTo>
                      <a:pt x="1467" y="555"/>
                    </a:lnTo>
                    <a:close/>
                    <a:moveTo>
                      <a:pt x="984" y="833"/>
                    </a:moveTo>
                    <a:lnTo>
                      <a:pt x="981" y="866"/>
                    </a:lnTo>
                    <a:lnTo>
                      <a:pt x="976" y="895"/>
                    </a:lnTo>
                    <a:lnTo>
                      <a:pt x="967" y="924"/>
                    </a:lnTo>
                    <a:lnTo>
                      <a:pt x="954" y="949"/>
                    </a:lnTo>
                    <a:lnTo>
                      <a:pt x="938" y="972"/>
                    </a:lnTo>
                    <a:lnTo>
                      <a:pt x="917" y="991"/>
                    </a:lnTo>
                    <a:lnTo>
                      <a:pt x="896" y="1008"/>
                    </a:lnTo>
                    <a:lnTo>
                      <a:pt x="875" y="1020"/>
                    </a:lnTo>
                    <a:lnTo>
                      <a:pt x="853" y="1030"/>
                    </a:lnTo>
                    <a:lnTo>
                      <a:pt x="831" y="1036"/>
                    </a:lnTo>
                    <a:lnTo>
                      <a:pt x="810" y="1039"/>
                    </a:lnTo>
                    <a:lnTo>
                      <a:pt x="793" y="1043"/>
                    </a:lnTo>
                    <a:lnTo>
                      <a:pt x="793" y="1134"/>
                    </a:lnTo>
                    <a:lnTo>
                      <a:pt x="698" y="1134"/>
                    </a:lnTo>
                    <a:lnTo>
                      <a:pt x="698" y="1032"/>
                    </a:lnTo>
                    <a:lnTo>
                      <a:pt x="663" y="1022"/>
                    </a:lnTo>
                    <a:lnTo>
                      <a:pt x="633" y="1009"/>
                    </a:lnTo>
                    <a:lnTo>
                      <a:pt x="606" y="995"/>
                    </a:lnTo>
                    <a:lnTo>
                      <a:pt x="585" y="978"/>
                    </a:lnTo>
                    <a:lnTo>
                      <a:pt x="566" y="960"/>
                    </a:lnTo>
                    <a:lnTo>
                      <a:pt x="551" y="941"/>
                    </a:lnTo>
                    <a:lnTo>
                      <a:pt x="539" y="923"/>
                    </a:lnTo>
                    <a:lnTo>
                      <a:pt x="530" y="904"/>
                    </a:lnTo>
                    <a:lnTo>
                      <a:pt x="522" y="886"/>
                    </a:lnTo>
                    <a:lnTo>
                      <a:pt x="518" y="869"/>
                    </a:lnTo>
                    <a:lnTo>
                      <a:pt x="514" y="854"/>
                    </a:lnTo>
                    <a:lnTo>
                      <a:pt x="513" y="842"/>
                    </a:lnTo>
                    <a:lnTo>
                      <a:pt x="512" y="832"/>
                    </a:lnTo>
                    <a:lnTo>
                      <a:pt x="510" y="826"/>
                    </a:lnTo>
                    <a:lnTo>
                      <a:pt x="510" y="822"/>
                    </a:lnTo>
                    <a:lnTo>
                      <a:pt x="510" y="804"/>
                    </a:lnTo>
                    <a:lnTo>
                      <a:pt x="606" y="804"/>
                    </a:lnTo>
                    <a:lnTo>
                      <a:pt x="606" y="822"/>
                    </a:lnTo>
                    <a:lnTo>
                      <a:pt x="606" y="826"/>
                    </a:lnTo>
                    <a:lnTo>
                      <a:pt x="606" y="832"/>
                    </a:lnTo>
                    <a:lnTo>
                      <a:pt x="609" y="842"/>
                    </a:lnTo>
                    <a:lnTo>
                      <a:pt x="612" y="853"/>
                    </a:lnTo>
                    <a:lnTo>
                      <a:pt x="617" y="866"/>
                    </a:lnTo>
                    <a:lnTo>
                      <a:pt x="626" y="880"/>
                    </a:lnTo>
                    <a:lnTo>
                      <a:pt x="637" y="894"/>
                    </a:lnTo>
                    <a:lnTo>
                      <a:pt x="653" y="909"/>
                    </a:lnTo>
                    <a:lnTo>
                      <a:pt x="673" y="922"/>
                    </a:lnTo>
                    <a:lnTo>
                      <a:pt x="698" y="933"/>
                    </a:lnTo>
                    <a:lnTo>
                      <a:pt x="698" y="771"/>
                    </a:lnTo>
                    <a:lnTo>
                      <a:pt x="679" y="768"/>
                    </a:lnTo>
                    <a:lnTo>
                      <a:pt x="660" y="762"/>
                    </a:lnTo>
                    <a:lnTo>
                      <a:pt x="639" y="756"/>
                    </a:lnTo>
                    <a:lnTo>
                      <a:pt x="617" y="747"/>
                    </a:lnTo>
                    <a:lnTo>
                      <a:pt x="597" y="736"/>
                    </a:lnTo>
                    <a:lnTo>
                      <a:pt x="576" y="723"/>
                    </a:lnTo>
                    <a:lnTo>
                      <a:pt x="557" y="708"/>
                    </a:lnTo>
                    <a:lnTo>
                      <a:pt x="541" y="689"/>
                    </a:lnTo>
                    <a:lnTo>
                      <a:pt x="527" y="669"/>
                    </a:lnTo>
                    <a:lnTo>
                      <a:pt x="517" y="645"/>
                    </a:lnTo>
                    <a:lnTo>
                      <a:pt x="510" y="617"/>
                    </a:lnTo>
                    <a:lnTo>
                      <a:pt x="509" y="588"/>
                    </a:lnTo>
                    <a:lnTo>
                      <a:pt x="510" y="561"/>
                    </a:lnTo>
                    <a:lnTo>
                      <a:pt x="516" y="533"/>
                    </a:lnTo>
                    <a:lnTo>
                      <a:pt x="526" y="508"/>
                    </a:lnTo>
                    <a:lnTo>
                      <a:pt x="538" y="484"/>
                    </a:lnTo>
                    <a:lnTo>
                      <a:pt x="555" y="464"/>
                    </a:lnTo>
                    <a:lnTo>
                      <a:pt x="577" y="443"/>
                    </a:lnTo>
                    <a:lnTo>
                      <a:pt x="602" y="423"/>
                    </a:lnTo>
                    <a:lnTo>
                      <a:pt x="631" y="408"/>
                    </a:lnTo>
                    <a:lnTo>
                      <a:pt x="663" y="395"/>
                    </a:lnTo>
                    <a:lnTo>
                      <a:pt x="698" y="386"/>
                    </a:lnTo>
                    <a:lnTo>
                      <a:pt x="698" y="302"/>
                    </a:lnTo>
                    <a:lnTo>
                      <a:pt x="793" y="302"/>
                    </a:lnTo>
                    <a:lnTo>
                      <a:pt x="793" y="386"/>
                    </a:lnTo>
                    <a:lnTo>
                      <a:pt x="824" y="394"/>
                    </a:lnTo>
                    <a:lnTo>
                      <a:pt x="854" y="406"/>
                    </a:lnTo>
                    <a:lnTo>
                      <a:pt x="879" y="421"/>
                    </a:lnTo>
                    <a:lnTo>
                      <a:pt x="901" y="439"/>
                    </a:lnTo>
                    <a:lnTo>
                      <a:pt x="920" y="459"/>
                    </a:lnTo>
                    <a:lnTo>
                      <a:pt x="936" y="480"/>
                    </a:lnTo>
                    <a:lnTo>
                      <a:pt x="950" y="503"/>
                    </a:lnTo>
                    <a:lnTo>
                      <a:pt x="961" y="526"/>
                    </a:lnTo>
                    <a:lnTo>
                      <a:pt x="969" y="549"/>
                    </a:lnTo>
                    <a:lnTo>
                      <a:pt x="976" y="571"/>
                    </a:lnTo>
                    <a:lnTo>
                      <a:pt x="980" y="591"/>
                    </a:lnTo>
                    <a:lnTo>
                      <a:pt x="984" y="610"/>
                    </a:lnTo>
                    <a:lnTo>
                      <a:pt x="987" y="628"/>
                    </a:lnTo>
                    <a:lnTo>
                      <a:pt x="892" y="636"/>
                    </a:lnTo>
                    <a:lnTo>
                      <a:pt x="888" y="617"/>
                    </a:lnTo>
                    <a:lnTo>
                      <a:pt x="888" y="614"/>
                    </a:lnTo>
                    <a:lnTo>
                      <a:pt x="887" y="607"/>
                    </a:lnTo>
                    <a:lnTo>
                      <a:pt x="884" y="596"/>
                    </a:lnTo>
                    <a:lnTo>
                      <a:pt x="881" y="581"/>
                    </a:lnTo>
                    <a:lnTo>
                      <a:pt x="876" y="566"/>
                    </a:lnTo>
                    <a:lnTo>
                      <a:pt x="868" y="550"/>
                    </a:lnTo>
                    <a:lnTo>
                      <a:pt x="858" y="532"/>
                    </a:lnTo>
                    <a:lnTo>
                      <a:pt x="846" y="517"/>
                    </a:lnTo>
                    <a:lnTo>
                      <a:pt x="832" y="503"/>
                    </a:lnTo>
                    <a:lnTo>
                      <a:pt x="814" y="491"/>
                    </a:lnTo>
                    <a:lnTo>
                      <a:pt x="793" y="482"/>
                    </a:lnTo>
                    <a:lnTo>
                      <a:pt x="793" y="687"/>
                    </a:lnTo>
                    <a:lnTo>
                      <a:pt x="810" y="690"/>
                    </a:lnTo>
                    <a:lnTo>
                      <a:pt x="830" y="695"/>
                    </a:lnTo>
                    <a:lnTo>
                      <a:pt x="851" y="700"/>
                    </a:lnTo>
                    <a:lnTo>
                      <a:pt x="871" y="707"/>
                    </a:lnTo>
                    <a:lnTo>
                      <a:pt x="892" y="716"/>
                    </a:lnTo>
                    <a:lnTo>
                      <a:pt x="913" y="725"/>
                    </a:lnTo>
                    <a:lnTo>
                      <a:pt x="931" y="738"/>
                    </a:lnTo>
                    <a:lnTo>
                      <a:pt x="949" y="753"/>
                    </a:lnTo>
                    <a:lnTo>
                      <a:pt x="963" y="769"/>
                    </a:lnTo>
                    <a:lnTo>
                      <a:pt x="974" y="788"/>
                    </a:lnTo>
                    <a:lnTo>
                      <a:pt x="980" y="809"/>
                    </a:lnTo>
                    <a:lnTo>
                      <a:pt x="984" y="833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22" name="Freeform 19"/>
              <p:cNvSpPr>
                <a:spLocks/>
              </p:cNvSpPr>
              <p:nvPr/>
            </p:nvSpPr>
            <p:spPr bwMode="auto">
              <a:xfrm>
                <a:off x="6805613" y="2741613"/>
                <a:ext cx="22225" cy="44450"/>
              </a:xfrm>
              <a:custGeom>
                <a:avLst/>
                <a:gdLst>
                  <a:gd name="T0" fmla="*/ 0 w 96"/>
                  <a:gd name="T1" fmla="*/ 121 h 191"/>
                  <a:gd name="T2" fmla="*/ 4 w 96"/>
                  <a:gd name="T3" fmla="*/ 137 h 191"/>
                  <a:gd name="T4" fmla="*/ 14 w 96"/>
                  <a:gd name="T5" fmla="*/ 150 h 191"/>
                  <a:gd name="T6" fmla="*/ 26 w 96"/>
                  <a:gd name="T7" fmla="*/ 162 h 191"/>
                  <a:gd name="T8" fmla="*/ 43 w 96"/>
                  <a:gd name="T9" fmla="*/ 171 h 191"/>
                  <a:gd name="T10" fmla="*/ 60 w 96"/>
                  <a:gd name="T11" fmla="*/ 179 h 191"/>
                  <a:gd name="T12" fmla="*/ 77 w 96"/>
                  <a:gd name="T13" fmla="*/ 185 h 191"/>
                  <a:gd name="T14" fmla="*/ 96 w 96"/>
                  <a:gd name="T15" fmla="*/ 191 h 191"/>
                  <a:gd name="T16" fmla="*/ 96 w 96"/>
                  <a:gd name="T17" fmla="*/ 0 h 191"/>
                  <a:gd name="T18" fmla="*/ 77 w 96"/>
                  <a:gd name="T19" fmla="*/ 6 h 191"/>
                  <a:gd name="T20" fmla="*/ 59 w 96"/>
                  <a:gd name="T21" fmla="*/ 15 h 191"/>
                  <a:gd name="T22" fmla="*/ 40 w 96"/>
                  <a:gd name="T23" fmla="*/ 27 h 191"/>
                  <a:gd name="T24" fmla="*/ 22 w 96"/>
                  <a:gd name="T25" fmla="*/ 44 h 191"/>
                  <a:gd name="T26" fmla="*/ 11 w 96"/>
                  <a:gd name="T27" fmla="*/ 59 h 191"/>
                  <a:gd name="T28" fmla="*/ 3 w 96"/>
                  <a:gd name="T29" fmla="*/ 77 h 191"/>
                  <a:gd name="T30" fmla="*/ 0 w 96"/>
                  <a:gd name="T31" fmla="*/ 98 h 191"/>
                  <a:gd name="T32" fmla="*/ 0 w 96"/>
                  <a:gd name="T33" fmla="*/ 121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6" h="191">
                    <a:moveTo>
                      <a:pt x="0" y="121"/>
                    </a:moveTo>
                    <a:lnTo>
                      <a:pt x="4" y="137"/>
                    </a:lnTo>
                    <a:lnTo>
                      <a:pt x="14" y="150"/>
                    </a:lnTo>
                    <a:lnTo>
                      <a:pt x="26" y="162"/>
                    </a:lnTo>
                    <a:lnTo>
                      <a:pt x="43" y="171"/>
                    </a:lnTo>
                    <a:lnTo>
                      <a:pt x="60" y="179"/>
                    </a:lnTo>
                    <a:lnTo>
                      <a:pt x="77" y="185"/>
                    </a:lnTo>
                    <a:lnTo>
                      <a:pt x="96" y="191"/>
                    </a:lnTo>
                    <a:lnTo>
                      <a:pt x="96" y="0"/>
                    </a:lnTo>
                    <a:lnTo>
                      <a:pt x="77" y="6"/>
                    </a:lnTo>
                    <a:lnTo>
                      <a:pt x="59" y="15"/>
                    </a:lnTo>
                    <a:lnTo>
                      <a:pt x="40" y="27"/>
                    </a:lnTo>
                    <a:lnTo>
                      <a:pt x="22" y="44"/>
                    </a:lnTo>
                    <a:lnTo>
                      <a:pt x="11" y="59"/>
                    </a:lnTo>
                    <a:lnTo>
                      <a:pt x="3" y="77"/>
                    </a:lnTo>
                    <a:lnTo>
                      <a:pt x="0" y="98"/>
                    </a:lnTo>
                    <a:lnTo>
                      <a:pt x="0" y="121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23" name="Freeform 5"/>
              <p:cNvSpPr>
                <a:spLocks/>
              </p:cNvSpPr>
              <p:nvPr/>
            </p:nvSpPr>
            <p:spPr bwMode="auto">
              <a:xfrm>
                <a:off x="6323035" y="2639407"/>
                <a:ext cx="307933" cy="356812"/>
              </a:xfrm>
              <a:custGeom>
                <a:avLst/>
                <a:gdLst>
                  <a:gd name="T0" fmla="*/ 2821 w 3072"/>
                  <a:gd name="T1" fmla="*/ 1648 h 3560"/>
                  <a:gd name="T2" fmla="*/ 2839 w 3072"/>
                  <a:gd name="T3" fmla="*/ 1126 h 3560"/>
                  <a:gd name="T4" fmla="*/ 2690 w 3072"/>
                  <a:gd name="T5" fmla="*/ 554 h 3560"/>
                  <a:gd name="T6" fmla="*/ 2197 w 3072"/>
                  <a:gd name="T7" fmla="*/ 145 h 3560"/>
                  <a:gd name="T8" fmla="*/ 1939 w 3072"/>
                  <a:gd name="T9" fmla="*/ 133 h 3560"/>
                  <a:gd name="T10" fmla="*/ 1536 w 3072"/>
                  <a:gd name="T11" fmla="*/ 14 h 3560"/>
                  <a:gd name="T12" fmla="*/ 1075 w 3072"/>
                  <a:gd name="T13" fmla="*/ 84 h 3560"/>
                  <a:gd name="T14" fmla="*/ 754 w 3072"/>
                  <a:gd name="T15" fmla="*/ 252 h 3560"/>
                  <a:gd name="T16" fmla="*/ 447 w 3072"/>
                  <a:gd name="T17" fmla="*/ 670 h 3560"/>
                  <a:gd name="T18" fmla="*/ 252 w 3072"/>
                  <a:gd name="T19" fmla="*/ 991 h 3560"/>
                  <a:gd name="T20" fmla="*/ 252 w 3072"/>
                  <a:gd name="T21" fmla="*/ 1648 h 3560"/>
                  <a:gd name="T22" fmla="*/ 447 w 3072"/>
                  <a:gd name="T23" fmla="*/ 2541 h 3560"/>
                  <a:gd name="T24" fmla="*/ 1536 w 3072"/>
                  <a:gd name="T25" fmla="*/ 3560 h 3560"/>
                  <a:gd name="T26" fmla="*/ 2625 w 3072"/>
                  <a:gd name="T27" fmla="*/ 2541 h 3560"/>
                  <a:gd name="T28" fmla="*/ 2821 w 3072"/>
                  <a:gd name="T29" fmla="*/ 1648 h 35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72" h="3560">
                    <a:moveTo>
                      <a:pt x="2821" y="1648"/>
                    </a:moveTo>
                    <a:cubicBezTo>
                      <a:pt x="2904" y="1462"/>
                      <a:pt x="2867" y="1252"/>
                      <a:pt x="2839" y="1126"/>
                    </a:cubicBezTo>
                    <a:cubicBezTo>
                      <a:pt x="2811" y="1001"/>
                      <a:pt x="2788" y="763"/>
                      <a:pt x="2690" y="554"/>
                    </a:cubicBezTo>
                    <a:cubicBezTo>
                      <a:pt x="2651" y="469"/>
                      <a:pt x="2336" y="200"/>
                      <a:pt x="2197" y="145"/>
                    </a:cubicBezTo>
                    <a:cubicBezTo>
                      <a:pt x="2057" y="89"/>
                      <a:pt x="2018" y="129"/>
                      <a:pt x="1939" y="133"/>
                    </a:cubicBezTo>
                    <a:cubicBezTo>
                      <a:pt x="1846" y="138"/>
                      <a:pt x="1802" y="0"/>
                      <a:pt x="1536" y="14"/>
                    </a:cubicBezTo>
                    <a:cubicBezTo>
                      <a:pt x="1271" y="0"/>
                      <a:pt x="1159" y="42"/>
                      <a:pt x="1075" y="84"/>
                    </a:cubicBezTo>
                    <a:cubicBezTo>
                      <a:pt x="992" y="126"/>
                      <a:pt x="894" y="196"/>
                      <a:pt x="754" y="252"/>
                    </a:cubicBezTo>
                    <a:cubicBezTo>
                      <a:pt x="614" y="307"/>
                      <a:pt x="489" y="587"/>
                      <a:pt x="447" y="670"/>
                    </a:cubicBezTo>
                    <a:cubicBezTo>
                      <a:pt x="405" y="754"/>
                      <a:pt x="279" y="866"/>
                      <a:pt x="252" y="991"/>
                    </a:cubicBezTo>
                    <a:cubicBezTo>
                      <a:pt x="223" y="1117"/>
                      <a:pt x="223" y="1536"/>
                      <a:pt x="252" y="1648"/>
                    </a:cubicBezTo>
                    <a:cubicBezTo>
                      <a:pt x="112" y="1717"/>
                      <a:pt x="0" y="2317"/>
                      <a:pt x="447" y="2541"/>
                    </a:cubicBezTo>
                    <a:cubicBezTo>
                      <a:pt x="545" y="2862"/>
                      <a:pt x="922" y="3560"/>
                      <a:pt x="1536" y="3560"/>
                    </a:cubicBezTo>
                    <a:cubicBezTo>
                      <a:pt x="2150" y="3560"/>
                      <a:pt x="2527" y="2862"/>
                      <a:pt x="2625" y="2541"/>
                    </a:cubicBezTo>
                    <a:cubicBezTo>
                      <a:pt x="3072" y="2318"/>
                      <a:pt x="2960" y="1718"/>
                      <a:pt x="2821" y="164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</p:grpSp>
        <p:sp>
          <p:nvSpPr>
            <p:cNvPr id="41" name="Rectangle 40"/>
            <p:cNvSpPr/>
            <p:nvPr/>
          </p:nvSpPr>
          <p:spPr>
            <a:xfrm>
              <a:off x="2611160" y="3725096"/>
              <a:ext cx="1634696" cy="4616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en-US" sz="12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+mj-lt"/>
                  <a:cs typeface="Arial" panose="020B0604020202020204" pitchFamily="34" charset="0"/>
                </a:rPr>
                <a:t>Divorce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en-US" sz="12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+mj-lt"/>
                  <a:cs typeface="Arial" panose="020B0604020202020204" pitchFamily="34" charset="0"/>
                </a:rPr>
                <a:t>Planner</a:t>
              </a:r>
            </a:p>
          </p:txBody>
        </p:sp>
        <p:sp>
          <p:nvSpPr>
            <p:cNvPr id="42" name="Freeform 38"/>
            <p:cNvSpPr>
              <a:spLocks noEditPoints="1"/>
            </p:cNvSpPr>
            <p:nvPr/>
          </p:nvSpPr>
          <p:spPr bwMode="auto">
            <a:xfrm>
              <a:off x="3133212" y="3192800"/>
              <a:ext cx="590593" cy="398844"/>
            </a:xfrm>
            <a:custGeom>
              <a:avLst/>
              <a:gdLst>
                <a:gd name="T0" fmla="*/ 3195 w 3456"/>
                <a:gd name="T1" fmla="*/ 203 h 2334"/>
                <a:gd name="T2" fmla="*/ 3310 w 3456"/>
                <a:gd name="T3" fmla="*/ 519 h 2334"/>
                <a:gd name="T4" fmla="*/ 3199 w 3456"/>
                <a:gd name="T5" fmla="*/ 1927 h 2334"/>
                <a:gd name="T6" fmla="*/ 3081 w 3456"/>
                <a:gd name="T7" fmla="*/ 2244 h 2334"/>
                <a:gd name="T8" fmla="*/ 3411 w 3456"/>
                <a:gd name="T9" fmla="*/ 1914 h 2334"/>
                <a:gd name="T10" fmla="*/ 3035 w 3456"/>
                <a:gd name="T11" fmla="*/ 1277 h 2334"/>
                <a:gd name="T12" fmla="*/ 3132 w 3456"/>
                <a:gd name="T13" fmla="*/ 1180 h 2334"/>
                <a:gd name="T14" fmla="*/ 2511 w 3456"/>
                <a:gd name="T15" fmla="*/ 1232 h 2334"/>
                <a:gd name="T16" fmla="*/ 2543 w 3456"/>
                <a:gd name="T17" fmla="*/ 2086 h 2334"/>
                <a:gd name="T18" fmla="*/ 2642 w 3456"/>
                <a:gd name="T19" fmla="*/ 1962 h 2334"/>
                <a:gd name="T20" fmla="*/ 2642 w 3456"/>
                <a:gd name="T21" fmla="*/ 370 h 2334"/>
                <a:gd name="T22" fmla="*/ 2542 w 3456"/>
                <a:gd name="T23" fmla="*/ 246 h 2334"/>
                <a:gd name="T24" fmla="*/ 2128 w 3456"/>
                <a:gd name="T25" fmla="*/ 1848 h 2334"/>
                <a:gd name="T26" fmla="*/ 1880 w 3456"/>
                <a:gd name="T27" fmla="*/ 1664 h 2334"/>
                <a:gd name="T28" fmla="*/ 1661 w 3456"/>
                <a:gd name="T29" fmla="*/ 1528 h 2334"/>
                <a:gd name="T30" fmla="*/ 1512 w 3456"/>
                <a:gd name="T31" fmla="*/ 1446 h 2334"/>
                <a:gd name="T32" fmla="*/ 1471 w 3456"/>
                <a:gd name="T33" fmla="*/ 1413 h 2334"/>
                <a:gd name="T34" fmla="*/ 1471 w 3456"/>
                <a:gd name="T35" fmla="*/ 1259 h 2334"/>
                <a:gd name="T36" fmla="*/ 1533 w 3456"/>
                <a:gd name="T37" fmla="*/ 1052 h 2334"/>
                <a:gd name="T38" fmla="*/ 1581 w 3456"/>
                <a:gd name="T39" fmla="*/ 1032 h 2334"/>
                <a:gd name="T40" fmla="*/ 1641 w 3456"/>
                <a:gd name="T41" fmla="*/ 895 h 2334"/>
                <a:gd name="T42" fmla="*/ 1660 w 3456"/>
                <a:gd name="T43" fmla="*/ 764 h 2334"/>
                <a:gd name="T44" fmla="*/ 1632 w 3456"/>
                <a:gd name="T45" fmla="*/ 711 h 2334"/>
                <a:gd name="T46" fmla="*/ 1619 w 3456"/>
                <a:gd name="T47" fmla="*/ 678 h 2334"/>
                <a:gd name="T48" fmla="*/ 1650 w 3456"/>
                <a:gd name="T49" fmla="*/ 475 h 2334"/>
                <a:gd name="T50" fmla="*/ 1629 w 3456"/>
                <a:gd name="T51" fmla="*/ 312 h 2334"/>
                <a:gd name="T52" fmla="*/ 1571 w 3456"/>
                <a:gd name="T53" fmla="*/ 225 h 2334"/>
                <a:gd name="T54" fmla="*/ 1506 w 3456"/>
                <a:gd name="T55" fmla="*/ 191 h 2334"/>
                <a:gd name="T56" fmla="*/ 1462 w 3456"/>
                <a:gd name="T57" fmla="*/ 185 h 2334"/>
                <a:gd name="T58" fmla="*/ 1414 w 3456"/>
                <a:gd name="T59" fmla="*/ 104 h 2334"/>
                <a:gd name="T60" fmla="*/ 1264 w 3456"/>
                <a:gd name="T61" fmla="*/ 10 h 2334"/>
                <a:gd name="T62" fmla="*/ 1093 w 3456"/>
                <a:gd name="T63" fmla="*/ 13 h 2334"/>
                <a:gd name="T64" fmla="*/ 915 w 3456"/>
                <a:gd name="T65" fmla="*/ 14 h 2334"/>
                <a:gd name="T66" fmla="*/ 771 w 3456"/>
                <a:gd name="T67" fmla="*/ 4 h 2334"/>
                <a:gd name="T68" fmla="*/ 745 w 3456"/>
                <a:gd name="T69" fmla="*/ 38 h 2334"/>
                <a:gd name="T70" fmla="*/ 780 w 3456"/>
                <a:gd name="T71" fmla="*/ 96 h 2334"/>
                <a:gd name="T72" fmla="*/ 688 w 3456"/>
                <a:gd name="T73" fmla="*/ 184 h 2334"/>
                <a:gd name="T74" fmla="*/ 605 w 3456"/>
                <a:gd name="T75" fmla="*/ 352 h 2334"/>
                <a:gd name="T76" fmla="*/ 589 w 3456"/>
                <a:gd name="T77" fmla="*/ 520 h 2334"/>
                <a:gd name="T78" fmla="*/ 604 w 3456"/>
                <a:gd name="T79" fmla="*/ 643 h 2334"/>
                <a:gd name="T80" fmla="*/ 603 w 3456"/>
                <a:gd name="T81" fmla="*/ 679 h 2334"/>
                <a:gd name="T82" fmla="*/ 562 w 3456"/>
                <a:gd name="T83" fmla="*/ 700 h 2334"/>
                <a:gd name="T84" fmla="*/ 548 w 3456"/>
                <a:gd name="T85" fmla="*/ 780 h 2334"/>
                <a:gd name="T86" fmla="*/ 589 w 3456"/>
                <a:gd name="T87" fmla="*/ 941 h 2334"/>
                <a:gd name="T88" fmla="*/ 642 w 3456"/>
                <a:gd name="T89" fmla="*/ 1024 h 2334"/>
                <a:gd name="T90" fmla="*/ 695 w 3456"/>
                <a:gd name="T91" fmla="*/ 1163 h 2334"/>
                <a:gd name="T92" fmla="*/ 733 w 3456"/>
                <a:gd name="T93" fmla="*/ 1430 h 2334"/>
                <a:gd name="T94" fmla="*/ 646 w 3456"/>
                <a:gd name="T95" fmla="*/ 1476 h 2334"/>
                <a:gd name="T96" fmla="*/ 464 w 3456"/>
                <a:gd name="T97" fmla="*/ 1580 h 2334"/>
                <a:gd name="T98" fmla="*/ 230 w 3456"/>
                <a:gd name="T99" fmla="*/ 1735 h 2334"/>
                <a:gd name="T100" fmla="*/ 36 w 3456"/>
                <a:gd name="T101" fmla="*/ 1899 h 2334"/>
                <a:gd name="T102" fmla="*/ 0 w 3456"/>
                <a:gd name="T103" fmla="*/ 2334 h 2334"/>
                <a:gd name="T104" fmla="*/ 993 w 3456"/>
                <a:gd name="T105" fmla="*/ 1800 h 2334"/>
                <a:gd name="T106" fmla="*/ 972 w 3456"/>
                <a:gd name="T107" fmla="*/ 1693 h 2334"/>
                <a:gd name="T108" fmla="*/ 1009 w 3456"/>
                <a:gd name="T109" fmla="*/ 1638 h 2334"/>
                <a:gd name="T110" fmla="*/ 1066 w 3456"/>
                <a:gd name="T111" fmla="*/ 1618 h 2334"/>
                <a:gd name="T112" fmla="*/ 1105 w 3456"/>
                <a:gd name="T113" fmla="*/ 1614 h 2334"/>
                <a:gd name="T114" fmla="*/ 1154 w 3456"/>
                <a:gd name="T115" fmla="*/ 1623 h 2334"/>
                <a:gd name="T116" fmla="*/ 1209 w 3456"/>
                <a:gd name="T117" fmla="*/ 1655 h 2334"/>
                <a:gd name="T118" fmla="*/ 1229 w 3456"/>
                <a:gd name="T119" fmla="*/ 1729 h 2334"/>
                <a:gd name="T120" fmla="*/ 1172 w 3456"/>
                <a:gd name="T121" fmla="*/ 1861 h 2334"/>
                <a:gd name="T122" fmla="*/ 2201 w 3456"/>
                <a:gd name="T123" fmla="*/ 1985 h 2334"/>
                <a:gd name="T124" fmla="*/ 2128 w 3456"/>
                <a:gd name="T125" fmla="*/ 1848 h 2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456" h="2334">
                  <a:moveTo>
                    <a:pt x="2983" y="418"/>
                  </a:moveTo>
                  <a:lnTo>
                    <a:pt x="3098" y="304"/>
                  </a:lnTo>
                  <a:lnTo>
                    <a:pt x="2983" y="189"/>
                  </a:lnTo>
                  <a:lnTo>
                    <a:pt x="3081" y="88"/>
                  </a:lnTo>
                  <a:lnTo>
                    <a:pt x="3195" y="203"/>
                  </a:lnTo>
                  <a:lnTo>
                    <a:pt x="3310" y="88"/>
                  </a:lnTo>
                  <a:lnTo>
                    <a:pt x="3411" y="189"/>
                  </a:lnTo>
                  <a:lnTo>
                    <a:pt x="3296" y="304"/>
                  </a:lnTo>
                  <a:lnTo>
                    <a:pt x="3411" y="418"/>
                  </a:lnTo>
                  <a:lnTo>
                    <a:pt x="3310" y="519"/>
                  </a:lnTo>
                  <a:lnTo>
                    <a:pt x="3195" y="405"/>
                  </a:lnTo>
                  <a:lnTo>
                    <a:pt x="3081" y="519"/>
                  </a:lnTo>
                  <a:lnTo>
                    <a:pt x="2983" y="418"/>
                  </a:lnTo>
                  <a:close/>
                  <a:moveTo>
                    <a:pt x="3313" y="1813"/>
                  </a:moveTo>
                  <a:lnTo>
                    <a:pt x="3199" y="1927"/>
                  </a:lnTo>
                  <a:lnTo>
                    <a:pt x="3081" y="1813"/>
                  </a:lnTo>
                  <a:lnTo>
                    <a:pt x="2979" y="1914"/>
                  </a:lnTo>
                  <a:lnTo>
                    <a:pt x="3095" y="2028"/>
                  </a:lnTo>
                  <a:lnTo>
                    <a:pt x="2979" y="2143"/>
                  </a:lnTo>
                  <a:lnTo>
                    <a:pt x="3081" y="2244"/>
                  </a:lnTo>
                  <a:lnTo>
                    <a:pt x="3195" y="2129"/>
                  </a:lnTo>
                  <a:lnTo>
                    <a:pt x="3310" y="2244"/>
                  </a:lnTo>
                  <a:lnTo>
                    <a:pt x="3411" y="2143"/>
                  </a:lnTo>
                  <a:lnTo>
                    <a:pt x="3296" y="2028"/>
                  </a:lnTo>
                  <a:lnTo>
                    <a:pt x="3411" y="1914"/>
                  </a:lnTo>
                  <a:lnTo>
                    <a:pt x="3313" y="1813"/>
                  </a:lnTo>
                  <a:close/>
                  <a:moveTo>
                    <a:pt x="3132" y="1180"/>
                  </a:moveTo>
                  <a:lnTo>
                    <a:pt x="3039" y="1086"/>
                  </a:lnTo>
                  <a:lnTo>
                    <a:pt x="2941" y="1184"/>
                  </a:lnTo>
                  <a:lnTo>
                    <a:pt x="3035" y="1277"/>
                  </a:lnTo>
                  <a:lnTo>
                    <a:pt x="3132" y="1375"/>
                  </a:lnTo>
                  <a:lnTo>
                    <a:pt x="3230" y="1277"/>
                  </a:lnTo>
                  <a:lnTo>
                    <a:pt x="3456" y="1055"/>
                  </a:lnTo>
                  <a:lnTo>
                    <a:pt x="3358" y="957"/>
                  </a:lnTo>
                  <a:lnTo>
                    <a:pt x="3132" y="1180"/>
                  </a:lnTo>
                  <a:close/>
                  <a:moveTo>
                    <a:pt x="2511" y="304"/>
                  </a:moveTo>
                  <a:lnTo>
                    <a:pt x="2511" y="1100"/>
                  </a:lnTo>
                  <a:lnTo>
                    <a:pt x="1968" y="1100"/>
                  </a:lnTo>
                  <a:lnTo>
                    <a:pt x="1968" y="1232"/>
                  </a:lnTo>
                  <a:lnTo>
                    <a:pt x="2511" y="1232"/>
                  </a:lnTo>
                  <a:lnTo>
                    <a:pt x="2511" y="2028"/>
                  </a:lnTo>
                  <a:lnTo>
                    <a:pt x="2513" y="2046"/>
                  </a:lnTo>
                  <a:lnTo>
                    <a:pt x="2519" y="2063"/>
                  </a:lnTo>
                  <a:lnTo>
                    <a:pt x="2531" y="2076"/>
                  </a:lnTo>
                  <a:lnTo>
                    <a:pt x="2543" y="2086"/>
                  </a:lnTo>
                  <a:lnTo>
                    <a:pt x="2559" y="2092"/>
                  </a:lnTo>
                  <a:lnTo>
                    <a:pt x="2576" y="2094"/>
                  </a:lnTo>
                  <a:lnTo>
                    <a:pt x="2792" y="2094"/>
                  </a:lnTo>
                  <a:lnTo>
                    <a:pt x="2792" y="1962"/>
                  </a:lnTo>
                  <a:lnTo>
                    <a:pt x="2642" y="1962"/>
                  </a:lnTo>
                  <a:lnTo>
                    <a:pt x="2642" y="1232"/>
                  </a:lnTo>
                  <a:lnTo>
                    <a:pt x="2792" y="1232"/>
                  </a:lnTo>
                  <a:lnTo>
                    <a:pt x="2792" y="1100"/>
                  </a:lnTo>
                  <a:lnTo>
                    <a:pt x="2642" y="1100"/>
                  </a:lnTo>
                  <a:lnTo>
                    <a:pt x="2642" y="370"/>
                  </a:lnTo>
                  <a:lnTo>
                    <a:pt x="2792" y="370"/>
                  </a:lnTo>
                  <a:lnTo>
                    <a:pt x="2792" y="238"/>
                  </a:lnTo>
                  <a:lnTo>
                    <a:pt x="2576" y="238"/>
                  </a:lnTo>
                  <a:lnTo>
                    <a:pt x="2558" y="240"/>
                  </a:lnTo>
                  <a:lnTo>
                    <a:pt x="2542" y="246"/>
                  </a:lnTo>
                  <a:lnTo>
                    <a:pt x="2529" y="256"/>
                  </a:lnTo>
                  <a:lnTo>
                    <a:pt x="2519" y="269"/>
                  </a:lnTo>
                  <a:lnTo>
                    <a:pt x="2513" y="286"/>
                  </a:lnTo>
                  <a:lnTo>
                    <a:pt x="2511" y="304"/>
                  </a:lnTo>
                  <a:close/>
                  <a:moveTo>
                    <a:pt x="2128" y="1848"/>
                  </a:moveTo>
                  <a:lnTo>
                    <a:pt x="2078" y="1808"/>
                  </a:lnTo>
                  <a:lnTo>
                    <a:pt x="2028" y="1769"/>
                  </a:lnTo>
                  <a:lnTo>
                    <a:pt x="1978" y="1732"/>
                  </a:lnTo>
                  <a:lnTo>
                    <a:pt x="1929" y="1697"/>
                  </a:lnTo>
                  <a:lnTo>
                    <a:pt x="1880" y="1664"/>
                  </a:lnTo>
                  <a:lnTo>
                    <a:pt x="1833" y="1632"/>
                  </a:lnTo>
                  <a:lnTo>
                    <a:pt x="1786" y="1603"/>
                  </a:lnTo>
                  <a:lnTo>
                    <a:pt x="1742" y="1576"/>
                  </a:lnTo>
                  <a:lnTo>
                    <a:pt x="1700" y="1551"/>
                  </a:lnTo>
                  <a:lnTo>
                    <a:pt x="1661" y="1528"/>
                  </a:lnTo>
                  <a:lnTo>
                    <a:pt x="1625" y="1507"/>
                  </a:lnTo>
                  <a:lnTo>
                    <a:pt x="1591" y="1488"/>
                  </a:lnTo>
                  <a:lnTo>
                    <a:pt x="1561" y="1472"/>
                  </a:lnTo>
                  <a:lnTo>
                    <a:pt x="1534" y="1458"/>
                  </a:lnTo>
                  <a:lnTo>
                    <a:pt x="1512" y="1446"/>
                  </a:lnTo>
                  <a:lnTo>
                    <a:pt x="1494" y="1437"/>
                  </a:lnTo>
                  <a:lnTo>
                    <a:pt x="1482" y="1431"/>
                  </a:lnTo>
                  <a:lnTo>
                    <a:pt x="1476" y="1425"/>
                  </a:lnTo>
                  <a:lnTo>
                    <a:pt x="1472" y="1420"/>
                  </a:lnTo>
                  <a:lnTo>
                    <a:pt x="1471" y="1413"/>
                  </a:lnTo>
                  <a:lnTo>
                    <a:pt x="1471" y="1398"/>
                  </a:lnTo>
                  <a:lnTo>
                    <a:pt x="1471" y="1377"/>
                  </a:lnTo>
                  <a:lnTo>
                    <a:pt x="1471" y="1324"/>
                  </a:lnTo>
                  <a:lnTo>
                    <a:pt x="1471" y="1292"/>
                  </a:lnTo>
                  <a:lnTo>
                    <a:pt x="1471" y="1259"/>
                  </a:lnTo>
                  <a:lnTo>
                    <a:pt x="1471" y="1225"/>
                  </a:lnTo>
                  <a:lnTo>
                    <a:pt x="1495" y="1165"/>
                  </a:lnTo>
                  <a:lnTo>
                    <a:pt x="1513" y="1107"/>
                  </a:lnTo>
                  <a:lnTo>
                    <a:pt x="1527" y="1047"/>
                  </a:lnTo>
                  <a:lnTo>
                    <a:pt x="1533" y="1052"/>
                  </a:lnTo>
                  <a:lnTo>
                    <a:pt x="1542" y="1054"/>
                  </a:lnTo>
                  <a:lnTo>
                    <a:pt x="1550" y="1054"/>
                  </a:lnTo>
                  <a:lnTo>
                    <a:pt x="1560" y="1049"/>
                  </a:lnTo>
                  <a:lnTo>
                    <a:pt x="1570" y="1043"/>
                  </a:lnTo>
                  <a:lnTo>
                    <a:pt x="1581" y="1032"/>
                  </a:lnTo>
                  <a:lnTo>
                    <a:pt x="1591" y="1016"/>
                  </a:lnTo>
                  <a:lnTo>
                    <a:pt x="1604" y="995"/>
                  </a:lnTo>
                  <a:lnTo>
                    <a:pt x="1615" y="967"/>
                  </a:lnTo>
                  <a:lnTo>
                    <a:pt x="1628" y="935"/>
                  </a:lnTo>
                  <a:lnTo>
                    <a:pt x="1641" y="895"/>
                  </a:lnTo>
                  <a:lnTo>
                    <a:pt x="1650" y="860"/>
                  </a:lnTo>
                  <a:lnTo>
                    <a:pt x="1656" y="831"/>
                  </a:lnTo>
                  <a:lnTo>
                    <a:pt x="1659" y="805"/>
                  </a:lnTo>
                  <a:lnTo>
                    <a:pt x="1660" y="783"/>
                  </a:lnTo>
                  <a:lnTo>
                    <a:pt x="1660" y="764"/>
                  </a:lnTo>
                  <a:lnTo>
                    <a:pt x="1657" y="748"/>
                  </a:lnTo>
                  <a:lnTo>
                    <a:pt x="1653" y="734"/>
                  </a:lnTo>
                  <a:lnTo>
                    <a:pt x="1647" y="724"/>
                  </a:lnTo>
                  <a:lnTo>
                    <a:pt x="1640" y="716"/>
                  </a:lnTo>
                  <a:lnTo>
                    <a:pt x="1632" y="711"/>
                  </a:lnTo>
                  <a:lnTo>
                    <a:pt x="1624" y="707"/>
                  </a:lnTo>
                  <a:lnTo>
                    <a:pt x="1613" y="707"/>
                  </a:lnTo>
                  <a:lnTo>
                    <a:pt x="1616" y="693"/>
                  </a:lnTo>
                  <a:lnTo>
                    <a:pt x="1618" y="684"/>
                  </a:lnTo>
                  <a:lnTo>
                    <a:pt x="1619" y="678"/>
                  </a:lnTo>
                  <a:lnTo>
                    <a:pt x="1620" y="676"/>
                  </a:lnTo>
                  <a:lnTo>
                    <a:pt x="1633" y="619"/>
                  </a:lnTo>
                  <a:lnTo>
                    <a:pt x="1641" y="566"/>
                  </a:lnTo>
                  <a:lnTo>
                    <a:pt x="1648" y="518"/>
                  </a:lnTo>
                  <a:lnTo>
                    <a:pt x="1650" y="475"/>
                  </a:lnTo>
                  <a:lnTo>
                    <a:pt x="1651" y="435"/>
                  </a:lnTo>
                  <a:lnTo>
                    <a:pt x="1648" y="398"/>
                  </a:lnTo>
                  <a:lnTo>
                    <a:pt x="1644" y="367"/>
                  </a:lnTo>
                  <a:lnTo>
                    <a:pt x="1637" y="337"/>
                  </a:lnTo>
                  <a:lnTo>
                    <a:pt x="1629" y="312"/>
                  </a:lnTo>
                  <a:lnTo>
                    <a:pt x="1619" y="289"/>
                  </a:lnTo>
                  <a:lnTo>
                    <a:pt x="1609" y="269"/>
                  </a:lnTo>
                  <a:lnTo>
                    <a:pt x="1597" y="252"/>
                  </a:lnTo>
                  <a:lnTo>
                    <a:pt x="1585" y="238"/>
                  </a:lnTo>
                  <a:lnTo>
                    <a:pt x="1571" y="225"/>
                  </a:lnTo>
                  <a:lnTo>
                    <a:pt x="1557" y="216"/>
                  </a:lnTo>
                  <a:lnTo>
                    <a:pt x="1544" y="207"/>
                  </a:lnTo>
                  <a:lnTo>
                    <a:pt x="1531" y="200"/>
                  </a:lnTo>
                  <a:lnTo>
                    <a:pt x="1518" y="195"/>
                  </a:lnTo>
                  <a:lnTo>
                    <a:pt x="1506" y="191"/>
                  </a:lnTo>
                  <a:lnTo>
                    <a:pt x="1494" y="188"/>
                  </a:lnTo>
                  <a:lnTo>
                    <a:pt x="1484" y="187"/>
                  </a:lnTo>
                  <a:lnTo>
                    <a:pt x="1474" y="186"/>
                  </a:lnTo>
                  <a:lnTo>
                    <a:pt x="1467" y="185"/>
                  </a:lnTo>
                  <a:lnTo>
                    <a:pt x="1462" y="185"/>
                  </a:lnTo>
                  <a:lnTo>
                    <a:pt x="1459" y="185"/>
                  </a:lnTo>
                  <a:lnTo>
                    <a:pt x="1457" y="185"/>
                  </a:lnTo>
                  <a:lnTo>
                    <a:pt x="1447" y="158"/>
                  </a:lnTo>
                  <a:lnTo>
                    <a:pt x="1432" y="130"/>
                  </a:lnTo>
                  <a:lnTo>
                    <a:pt x="1414" y="104"/>
                  </a:lnTo>
                  <a:lnTo>
                    <a:pt x="1389" y="80"/>
                  </a:lnTo>
                  <a:lnTo>
                    <a:pt x="1362" y="57"/>
                  </a:lnTo>
                  <a:lnTo>
                    <a:pt x="1332" y="37"/>
                  </a:lnTo>
                  <a:lnTo>
                    <a:pt x="1299" y="21"/>
                  </a:lnTo>
                  <a:lnTo>
                    <a:pt x="1264" y="10"/>
                  </a:lnTo>
                  <a:lnTo>
                    <a:pt x="1229" y="2"/>
                  </a:lnTo>
                  <a:lnTo>
                    <a:pt x="1192" y="0"/>
                  </a:lnTo>
                  <a:lnTo>
                    <a:pt x="1154" y="4"/>
                  </a:lnTo>
                  <a:lnTo>
                    <a:pt x="1126" y="10"/>
                  </a:lnTo>
                  <a:lnTo>
                    <a:pt x="1093" y="13"/>
                  </a:lnTo>
                  <a:lnTo>
                    <a:pt x="1060" y="15"/>
                  </a:lnTo>
                  <a:lnTo>
                    <a:pt x="1024" y="16"/>
                  </a:lnTo>
                  <a:lnTo>
                    <a:pt x="987" y="16"/>
                  </a:lnTo>
                  <a:lnTo>
                    <a:pt x="951" y="15"/>
                  </a:lnTo>
                  <a:lnTo>
                    <a:pt x="915" y="14"/>
                  </a:lnTo>
                  <a:lnTo>
                    <a:pt x="880" y="13"/>
                  </a:lnTo>
                  <a:lnTo>
                    <a:pt x="848" y="11"/>
                  </a:lnTo>
                  <a:lnTo>
                    <a:pt x="818" y="9"/>
                  </a:lnTo>
                  <a:lnTo>
                    <a:pt x="792" y="7"/>
                  </a:lnTo>
                  <a:lnTo>
                    <a:pt x="771" y="4"/>
                  </a:lnTo>
                  <a:lnTo>
                    <a:pt x="755" y="2"/>
                  </a:lnTo>
                  <a:lnTo>
                    <a:pt x="745" y="1"/>
                  </a:lnTo>
                  <a:lnTo>
                    <a:pt x="741" y="1"/>
                  </a:lnTo>
                  <a:lnTo>
                    <a:pt x="742" y="20"/>
                  </a:lnTo>
                  <a:lnTo>
                    <a:pt x="745" y="38"/>
                  </a:lnTo>
                  <a:lnTo>
                    <a:pt x="751" y="54"/>
                  </a:lnTo>
                  <a:lnTo>
                    <a:pt x="758" y="67"/>
                  </a:lnTo>
                  <a:lnTo>
                    <a:pt x="766" y="79"/>
                  </a:lnTo>
                  <a:lnTo>
                    <a:pt x="773" y="89"/>
                  </a:lnTo>
                  <a:lnTo>
                    <a:pt x="780" y="96"/>
                  </a:lnTo>
                  <a:lnTo>
                    <a:pt x="785" y="100"/>
                  </a:lnTo>
                  <a:lnTo>
                    <a:pt x="786" y="102"/>
                  </a:lnTo>
                  <a:lnTo>
                    <a:pt x="749" y="127"/>
                  </a:lnTo>
                  <a:lnTo>
                    <a:pt x="716" y="155"/>
                  </a:lnTo>
                  <a:lnTo>
                    <a:pt x="688" y="184"/>
                  </a:lnTo>
                  <a:lnTo>
                    <a:pt x="664" y="216"/>
                  </a:lnTo>
                  <a:lnTo>
                    <a:pt x="644" y="249"/>
                  </a:lnTo>
                  <a:lnTo>
                    <a:pt x="628" y="283"/>
                  </a:lnTo>
                  <a:lnTo>
                    <a:pt x="615" y="317"/>
                  </a:lnTo>
                  <a:lnTo>
                    <a:pt x="605" y="352"/>
                  </a:lnTo>
                  <a:lnTo>
                    <a:pt x="598" y="388"/>
                  </a:lnTo>
                  <a:lnTo>
                    <a:pt x="592" y="421"/>
                  </a:lnTo>
                  <a:lnTo>
                    <a:pt x="589" y="456"/>
                  </a:lnTo>
                  <a:lnTo>
                    <a:pt x="588" y="489"/>
                  </a:lnTo>
                  <a:lnTo>
                    <a:pt x="589" y="520"/>
                  </a:lnTo>
                  <a:lnTo>
                    <a:pt x="590" y="549"/>
                  </a:lnTo>
                  <a:lnTo>
                    <a:pt x="594" y="577"/>
                  </a:lnTo>
                  <a:lnTo>
                    <a:pt x="597" y="602"/>
                  </a:lnTo>
                  <a:lnTo>
                    <a:pt x="600" y="624"/>
                  </a:lnTo>
                  <a:lnTo>
                    <a:pt x="604" y="643"/>
                  </a:lnTo>
                  <a:lnTo>
                    <a:pt x="607" y="659"/>
                  </a:lnTo>
                  <a:lnTo>
                    <a:pt x="609" y="669"/>
                  </a:lnTo>
                  <a:lnTo>
                    <a:pt x="611" y="677"/>
                  </a:lnTo>
                  <a:lnTo>
                    <a:pt x="612" y="679"/>
                  </a:lnTo>
                  <a:lnTo>
                    <a:pt x="603" y="679"/>
                  </a:lnTo>
                  <a:lnTo>
                    <a:pt x="595" y="680"/>
                  </a:lnTo>
                  <a:lnTo>
                    <a:pt x="585" y="682"/>
                  </a:lnTo>
                  <a:lnTo>
                    <a:pt x="577" y="686"/>
                  </a:lnTo>
                  <a:lnTo>
                    <a:pt x="568" y="691"/>
                  </a:lnTo>
                  <a:lnTo>
                    <a:pt x="562" y="700"/>
                  </a:lnTo>
                  <a:lnTo>
                    <a:pt x="556" y="709"/>
                  </a:lnTo>
                  <a:lnTo>
                    <a:pt x="552" y="723"/>
                  </a:lnTo>
                  <a:lnTo>
                    <a:pt x="548" y="739"/>
                  </a:lnTo>
                  <a:lnTo>
                    <a:pt x="547" y="757"/>
                  </a:lnTo>
                  <a:lnTo>
                    <a:pt x="548" y="780"/>
                  </a:lnTo>
                  <a:lnTo>
                    <a:pt x="552" y="806"/>
                  </a:lnTo>
                  <a:lnTo>
                    <a:pt x="558" y="836"/>
                  </a:lnTo>
                  <a:lnTo>
                    <a:pt x="567" y="871"/>
                  </a:lnTo>
                  <a:lnTo>
                    <a:pt x="579" y="909"/>
                  </a:lnTo>
                  <a:lnTo>
                    <a:pt x="589" y="941"/>
                  </a:lnTo>
                  <a:lnTo>
                    <a:pt x="601" y="967"/>
                  </a:lnTo>
                  <a:lnTo>
                    <a:pt x="611" y="989"/>
                  </a:lnTo>
                  <a:lnTo>
                    <a:pt x="622" y="1005"/>
                  </a:lnTo>
                  <a:lnTo>
                    <a:pt x="632" y="1017"/>
                  </a:lnTo>
                  <a:lnTo>
                    <a:pt x="642" y="1024"/>
                  </a:lnTo>
                  <a:lnTo>
                    <a:pt x="651" y="1029"/>
                  </a:lnTo>
                  <a:lnTo>
                    <a:pt x="661" y="1031"/>
                  </a:lnTo>
                  <a:lnTo>
                    <a:pt x="669" y="1074"/>
                  </a:lnTo>
                  <a:lnTo>
                    <a:pt x="681" y="1118"/>
                  </a:lnTo>
                  <a:lnTo>
                    <a:pt x="695" y="1163"/>
                  </a:lnTo>
                  <a:lnTo>
                    <a:pt x="714" y="1208"/>
                  </a:lnTo>
                  <a:lnTo>
                    <a:pt x="737" y="1253"/>
                  </a:lnTo>
                  <a:lnTo>
                    <a:pt x="737" y="1416"/>
                  </a:lnTo>
                  <a:lnTo>
                    <a:pt x="736" y="1423"/>
                  </a:lnTo>
                  <a:lnTo>
                    <a:pt x="733" y="1430"/>
                  </a:lnTo>
                  <a:lnTo>
                    <a:pt x="727" y="1434"/>
                  </a:lnTo>
                  <a:lnTo>
                    <a:pt x="713" y="1440"/>
                  </a:lnTo>
                  <a:lnTo>
                    <a:pt x="695" y="1450"/>
                  </a:lnTo>
                  <a:lnTo>
                    <a:pt x="673" y="1461"/>
                  </a:lnTo>
                  <a:lnTo>
                    <a:pt x="646" y="1476"/>
                  </a:lnTo>
                  <a:lnTo>
                    <a:pt x="617" y="1492"/>
                  </a:lnTo>
                  <a:lnTo>
                    <a:pt x="583" y="1510"/>
                  </a:lnTo>
                  <a:lnTo>
                    <a:pt x="546" y="1531"/>
                  </a:lnTo>
                  <a:lnTo>
                    <a:pt x="506" y="1555"/>
                  </a:lnTo>
                  <a:lnTo>
                    <a:pt x="464" y="1580"/>
                  </a:lnTo>
                  <a:lnTo>
                    <a:pt x="420" y="1607"/>
                  </a:lnTo>
                  <a:lnTo>
                    <a:pt x="375" y="1637"/>
                  </a:lnTo>
                  <a:lnTo>
                    <a:pt x="328" y="1667"/>
                  </a:lnTo>
                  <a:lnTo>
                    <a:pt x="280" y="1701"/>
                  </a:lnTo>
                  <a:lnTo>
                    <a:pt x="230" y="1735"/>
                  </a:lnTo>
                  <a:lnTo>
                    <a:pt x="180" y="1772"/>
                  </a:lnTo>
                  <a:lnTo>
                    <a:pt x="130" y="1811"/>
                  </a:lnTo>
                  <a:lnTo>
                    <a:pt x="80" y="1851"/>
                  </a:lnTo>
                  <a:lnTo>
                    <a:pt x="56" y="1874"/>
                  </a:lnTo>
                  <a:lnTo>
                    <a:pt x="36" y="1899"/>
                  </a:lnTo>
                  <a:lnTo>
                    <a:pt x="21" y="1927"/>
                  </a:lnTo>
                  <a:lnTo>
                    <a:pt x="10" y="1957"/>
                  </a:lnTo>
                  <a:lnTo>
                    <a:pt x="2" y="1988"/>
                  </a:lnTo>
                  <a:lnTo>
                    <a:pt x="0" y="2021"/>
                  </a:lnTo>
                  <a:lnTo>
                    <a:pt x="0" y="2334"/>
                  </a:lnTo>
                  <a:lnTo>
                    <a:pt x="960" y="2334"/>
                  </a:lnTo>
                  <a:lnTo>
                    <a:pt x="1050" y="1896"/>
                  </a:lnTo>
                  <a:lnTo>
                    <a:pt x="1026" y="1861"/>
                  </a:lnTo>
                  <a:lnTo>
                    <a:pt x="1007" y="1830"/>
                  </a:lnTo>
                  <a:lnTo>
                    <a:pt x="993" y="1800"/>
                  </a:lnTo>
                  <a:lnTo>
                    <a:pt x="982" y="1774"/>
                  </a:lnTo>
                  <a:lnTo>
                    <a:pt x="975" y="1750"/>
                  </a:lnTo>
                  <a:lnTo>
                    <a:pt x="970" y="1729"/>
                  </a:lnTo>
                  <a:lnTo>
                    <a:pt x="969" y="1710"/>
                  </a:lnTo>
                  <a:lnTo>
                    <a:pt x="972" y="1693"/>
                  </a:lnTo>
                  <a:lnTo>
                    <a:pt x="976" y="1679"/>
                  </a:lnTo>
                  <a:lnTo>
                    <a:pt x="982" y="1666"/>
                  </a:lnTo>
                  <a:lnTo>
                    <a:pt x="989" y="1655"/>
                  </a:lnTo>
                  <a:lnTo>
                    <a:pt x="999" y="1646"/>
                  </a:lnTo>
                  <a:lnTo>
                    <a:pt x="1009" y="1638"/>
                  </a:lnTo>
                  <a:lnTo>
                    <a:pt x="1021" y="1631"/>
                  </a:lnTo>
                  <a:lnTo>
                    <a:pt x="1032" y="1626"/>
                  </a:lnTo>
                  <a:lnTo>
                    <a:pt x="1044" y="1623"/>
                  </a:lnTo>
                  <a:lnTo>
                    <a:pt x="1056" y="1620"/>
                  </a:lnTo>
                  <a:lnTo>
                    <a:pt x="1066" y="1618"/>
                  </a:lnTo>
                  <a:lnTo>
                    <a:pt x="1077" y="1616"/>
                  </a:lnTo>
                  <a:lnTo>
                    <a:pt x="1086" y="1616"/>
                  </a:lnTo>
                  <a:lnTo>
                    <a:pt x="1093" y="1614"/>
                  </a:lnTo>
                  <a:lnTo>
                    <a:pt x="1099" y="1614"/>
                  </a:lnTo>
                  <a:lnTo>
                    <a:pt x="1105" y="1614"/>
                  </a:lnTo>
                  <a:lnTo>
                    <a:pt x="1112" y="1616"/>
                  </a:lnTo>
                  <a:lnTo>
                    <a:pt x="1122" y="1616"/>
                  </a:lnTo>
                  <a:lnTo>
                    <a:pt x="1132" y="1618"/>
                  </a:lnTo>
                  <a:lnTo>
                    <a:pt x="1143" y="1620"/>
                  </a:lnTo>
                  <a:lnTo>
                    <a:pt x="1154" y="1623"/>
                  </a:lnTo>
                  <a:lnTo>
                    <a:pt x="1167" y="1626"/>
                  </a:lnTo>
                  <a:lnTo>
                    <a:pt x="1178" y="1631"/>
                  </a:lnTo>
                  <a:lnTo>
                    <a:pt x="1189" y="1638"/>
                  </a:lnTo>
                  <a:lnTo>
                    <a:pt x="1199" y="1646"/>
                  </a:lnTo>
                  <a:lnTo>
                    <a:pt x="1209" y="1655"/>
                  </a:lnTo>
                  <a:lnTo>
                    <a:pt x="1217" y="1666"/>
                  </a:lnTo>
                  <a:lnTo>
                    <a:pt x="1224" y="1679"/>
                  </a:lnTo>
                  <a:lnTo>
                    <a:pt x="1228" y="1693"/>
                  </a:lnTo>
                  <a:lnTo>
                    <a:pt x="1230" y="1710"/>
                  </a:lnTo>
                  <a:lnTo>
                    <a:pt x="1229" y="1729"/>
                  </a:lnTo>
                  <a:lnTo>
                    <a:pt x="1225" y="1750"/>
                  </a:lnTo>
                  <a:lnTo>
                    <a:pt x="1217" y="1774"/>
                  </a:lnTo>
                  <a:lnTo>
                    <a:pt x="1207" y="1800"/>
                  </a:lnTo>
                  <a:lnTo>
                    <a:pt x="1191" y="1830"/>
                  </a:lnTo>
                  <a:lnTo>
                    <a:pt x="1172" y="1861"/>
                  </a:lnTo>
                  <a:lnTo>
                    <a:pt x="1148" y="1896"/>
                  </a:lnTo>
                  <a:lnTo>
                    <a:pt x="1241" y="2331"/>
                  </a:lnTo>
                  <a:lnTo>
                    <a:pt x="2201" y="2331"/>
                  </a:lnTo>
                  <a:lnTo>
                    <a:pt x="2201" y="2018"/>
                  </a:lnTo>
                  <a:lnTo>
                    <a:pt x="2201" y="1985"/>
                  </a:lnTo>
                  <a:lnTo>
                    <a:pt x="2196" y="1954"/>
                  </a:lnTo>
                  <a:lnTo>
                    <a:pt x="2185" y="1923"/>
                  </a:lnTo>
                  <a:lnTo>
                    <a:pt x="2170" y="1896"/>
                  </a:lnTo>
                  <a:lnTo>
                    <a:pt x="2151" y="1870"/>
                  </a:lnTo>
                  <a:lnTo>
                    <a:pt x="2128" y="1848"/>
                  </a:lnTo>
                  <a:close/>
                </a:path>
              </a:pathLst>
            </a:custGeom>
            <a:solidFill>
              <a:srgbClr val="26867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 Light" panose="020F0302020204030204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2759837" y="4976849"/>
              <a:ext cx="1493169" cy="4616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en-US" sz="12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+mj-lt"/>
                  <a:cs typeface="Arial" panose="020B0604020202020204" pitchFamily="34" charset="0"/>
                </a:rPr>
                <a:t>Psychologist Social Worker</a:t>
              </a:r>
            </a:p>
          </p:txBody>
        </p:sp>
        <p:grpSp>
          <p:nvGrpSpPr>
            <p:cNvPr id="68" name="Group 90"/>
            <p:cNvGrpSpPr>
              <a:grpSpLocks noChangeAspect="1"/>
            </p:cNvGrpSpPr>
            <p:nvPr/>
          </p:nvGrpSpPr>
          <p:grpSpPr bwMode="auto">
            <a:xfrm>
              <a:off x="3231168" y="4399211"/>
              <a:ext cx="394681" cy="519611"/>
              <a:chOff x="-645" y="2662"/>
              <a:chExt cx="496" cy="653"/>
            </a:xfrm>
            <a:solidFill>
              <a:srgbClr val="33B3A6"/>
            </a:solidFill>
          </p:grpSpPr>
          <p:sp>
            <p:nvSpPr>
              <p:cNvPr id="69" name="Freeform 92"/>
              <p:cNvSpPr>
                <a:spLocks noEditPoints="1"/>
              </p:cNvSpPr>
              <p:nvPr/>
            </p:nvSpPr>
            <p:spPr bwMode="auto">
              <a:xfrm>
                <a:off x="-501" y="2662"/>
                <a:ext cx="206" cy="278"/>
              </a:xfrm>
              <a:custGeom>
                <a:avLst/>
                <a:gdLst>
                  <a:gd name="T0" fmla="*/ 217 w 556"/>
                  <a:gd name="T1" fmla="*/ 28 h 749"/>
                  <a:gd name="T2" fmla="*/ 506 w 556"/>
                  <a:gd name="T3" fmla="*/ 155 h 749"/>
                  <a:gd name="T4" fmla="*/ 477 w 556"/>
                  <a:gd name="T5" fmla="*/ 489 h 749"/>
                  <a:gd name="T6" fmla="*/ 150 w 556"/>
                  <a:gd name="T7" fmla="*/ 623 h 749"/>
                  <a:gd name="T8" fmla="*/ 68 w 556"/>
                  <a:gd name="T9" fmla="*/ 489 h 749"/>
                  <a:gd name="T10" fmla="*/ 31 w 556"/>
                  <a:gd name="T11" fmla="*/ 244 h 749"/>
                  <a:gd name="T12" fmla="*/ 217 w 556"/>
                  <a:gd name="T13" fmla="*/ 28 h 749"/>
                  <a:gd name="T14" fmla="*/ 358 w 556"/>
                  <a:gd name="T15" fmla="*/ 229 h 749"/>
                  <a:gd name="T16" fmla="*/ 53 w 556"/>
                  <a:gd name="T17" fmla="*/ 400 h 749"/>
                  <a:gd name="T18" fmla="*/ 90 w 556"/>
                  <a:gd name="T19" fmla="*/ 430 h 749"/>
                  <a:gd name="T20" fmla="*/ 454 w 556"/>
                  <a:gd name="T21" fmla="*/ 422 h 749"/>
                  <a:gd name="T22" fmla="*/ 417 w 556"/>
                  <a:gd name="T23" fmla="*/ 237 h 749"/>
                  <a:gd name="T24" fmla="*/ 417 w 556"/>
                  <a:gd name="T25" fmla="*/ 251 h 749"/>
                  <a:gd name="T26" fmla="*/ 358 w 556"/>
                  <a:gd name="T27" fmla="*/ 229 h 7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56" h="749">
                    <a:moveTo>
                      <a:pt x="217" y="28"/>
                    </a:moveTo>
                    <a:cubicBezTo>
                      <a:pt x="371" y="0"/>
                      <a:pt x="474" y="68"/>
                      <a:pt x="506" y="155"/>
                    </a:cubicBezTo>
                    <a:cubicBezTo>
                      <a:pt x="556" y="286"/>
                      <a:pt x="532" y="383"/>
                      <a:pt x="477" y="489"/>
                    </a:cubicBezTo>
                    <a:cubicBezTo>
                      <a:pt x="419" y="600"/>
                      <a:pt x="297" y="749"/>
                      <a:pt x="150" y="623"/>
                    </a:cubicBezTo>
                    <a:cubicBezTo>
                      <a:pt x="121" y="599"/>
                      <a:pt x="95" y="542"/>
                      <a:pt x="68" y="489"/>
                    </a:cubicBezTo>
                    <a:cubicBezTo>
                      <a:pt x="13" y="385"/>
                      <a:pt x="0" y="368"/>
                      <a:pt x="31" y="244"/>
                    </a:cubicBezTo>
                    <a:cubicBezTo>
                      <a:pt x="62" y="117"/>
                      <a:pt x="86" y="52"/>
                      <a:pt x="217" y="28"/>
                    </a:cubicBezTo>
                    <a:close/>
                    <a:moveTo>
                      <a:pt x="358" y="229"/>
                    </a:moveTo>
                    <a:cubicBezTo>
                      <a:pt x="174" y="212"/>
                      <a:pt x="41" y="220"/>
                      <a:pt x="53" y="400"/>
                    </a:cubicBezTo>
                    <a:cubicBezTo>
                      <a:pt x="60" y="415"/>
                      <a:pt x="77" y="421"/>
                      <a:pt x="90" y="430"/>
                    </a:cubicBezTo>
                    <a:cubicBezTo>
                      <a:pt x="119" y="675"/>
                      <a:pt x="425" y="675"/>
                      <a:pt x="454" y="422"/>
                    </a:cubicBezTo>
                    <a:cubicBezTo>
                      <a:pt x="545" y="384"/>
                      <a:pt x="453" y="252"/>
                      <a:pt x="417" y="237"/>
                    </a:cubicBezTo>
                    <a:cubicBezTo>
                      <a:pt x="425" y="237"/>
                      <a:pt x="427" y="250"/>
                      <a:pt x="417" y="251"/>
                    </a:cubicBezTo>
                    <a:cubicBezTo>
                      <a:pt x="402" y="236"/>
                      <a:pt x="382" y="231"/>
                      <a:pt x="358" y="22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70" name="Freeform 94"/>
              <p:cNvSpPr>
                <a:spLocks/>
              </p:cNvSpPr>
              <p:nvPr/>
            </p:nvSpPr>
            <p:spPr bwMode="auto">
              <a:xfrm>
                <a:off x="-589" y="2916"/>
                <a:ext cx="381" cy="88"/>
              </a:xfrm>
              <a:custGeom>
                <a:avLst/>
                <a:gdLst>
                  <a:gd name="T0" fmla="*/ 1026 w 1026"/>
                  <a:gd name="T1" fmla="*/ 238 h 238"/>
                  <a:gd name="T2" fmla="*/ 0 w 1026"/>
                  <a:gd name="T3" fmla="*/ 238 h 238"/>
                  <a:gd name="T4" fmla="*/ 312 w 1026"/>
                  <a:gd name="T5" fmla="*/ 0 h 238"/>
                  <a:gd name="T6" fmla="*/ 721 w 1026"/>
                  <a:gd name="T7" fmla="*/ 0 h 238"/>
                  <a:gd name="T8" fmla="*/ 1026 w 1026"/>
                  <a:gd name="T9" fmla="*/ 23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6" h="238">
                    <a:moveTo>
                      <a:pt x="1026" y="238"/>
                    </a:moveTo>
                    <a:cubicBezTo>
                      <a:pt x="684" y="238"/>
                      <a:pt x="342" y="238"/>
                      <a:pt x="0" y="238"/>
                    </a:cubicBezTo>
                    <a:cubicBezTo>
                      <a:pt x="26" y="80"/>
                      <a:pt x="129" y="0"/>
                      <a:pt x="312" y="0"/>
                    </a:cubicBezTo>
                    <a:cubicBezTo>
                      <a:pt x="383" y="110"/>
                      <a:pt x="649" y="100"/>
                      <a:pt x="721" y="0"/>
                    </a:cubicBezTo>
                    <a:cubicBezTo>
                      <a:pt x="900" y="1"/>
                      <a:pt x="999" y="83"/>
                      <a:pt x="1026" y="23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71" name="Freeform 95"/>
              <p:cNvSpPr>
                <a:spLocks noEditPoints="1"/>
              </p:cNvSpPr>
              <p:nvPr/>
            </p:nvSpPr>
            <p:spPr bwMode="auto">
              <a:xfrm>
                <a:off x="-645" y="3004"/>
                <a:ext cx="496" cy="283"/>
              </a:xfrm>
              <a:custGeom>
                <a:avLst/>
                <a:gdLst>
                  <a:gd name="T0" fmla="*/ 1175 w 1336"/>
                  <a:gd name="T1" fmla="*/ 736 h 761"/>
                  <a:gd name="T2" fmla="*/ 149 w 1336"/>
                  <a:gd name="T3" fmla="*/ 736 h 761"/>
                  <a:gd name="T4" fmla="*/ 0 w 1336"/>
                  <a:gd name="T5" fmla="*/ 60 h 761"/>
                  <a:gd name="T6" fmla="*/ 379 w 1336"/>
                  <a:gd name="T7" fmla="*/ 22 h 761"/>
                  <a:gd name="T8" fmla="*/ 1026 w 1336"/>
                  <a:gd name="T9" fmla="*/ 22 h 761"/>
                  <a:gd name="T10" fmla="*/ 1316 w 1336"/>
                  <a:gd name="T11" fmla="*/ 52 h 761"/>
                  <a:gd name="T12" fmla="*/ 1294 w 1336"/>
                  <a:gd name="T13" fmla="*/ 231 h 761"/>
                  <a:gd name="T14" fmla="*/ 1175 w 1336"/>
                  <a:gd name="T15" fmla="*/ 736 h 761"/>
                  <a:gd name="T16" fmla="*/ 632 w 1336"/>
                  <a:gd name="T17" fmla="*/ 417 h 761"/>
                  <a:gd name="T18" fmla="*/ 692 w 1336"/>
                  <a:gd name="T19" fmla="*/ 417 h 761"/>
                  <a:gd name="T20" fmla="*/ 632 w 1336"/>
                  <a:gd name="T21" fmla="*/ 417 h 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36" h="761">
                    <a:moveTo>
                      <a:pt x="1175" y="736"/>
                    </a:moveTo>
                    <a:cubicBezTo>
                      <a:pt x="867" y="761"/>
                      <a:pt x="457" y="761"/>
                      <a:pt x="149" y="736"/>
                    </a:cubicBezTo>
                    <a:cubicBezTo>
                      <a:pt x="82" y="528"/>
                      <a:pt x="42" y="293"/>
                      <a:pt x="0" y="60"/>
                    </a:cubicBezTo>
                    <a:cubicBezTo>
                      <a:pt x="52" y="0"/>
                      <a:pt x="243" y="22"/>
                      <a:pt x="379" y="22"/>
                    </a:cubicBezTo>
                    <a:cubicBezTo>
                      <a:pt x="605" y="22"/>
                      <a:pt x="780" y="22"/>
                      <a:pt x="1026" y="22"/>
                    </a:cubicBezTo>
                    <a:cubicBezTo>
                      <a:pt x="1121" y="22"/>
                      <a:pt x="1289" y="7"/>
                      <a:pt x="1316" y="52"/>
                    </a:cubicBezTo>
                    <a:cubicBezTo>
                      <a:pt x="1336" y="85"/>
                      <a:pt x="1302" y="192"/>
                      <a:pt x="1294" y="231"/>
                    </a:cubicBezTo>
                    <a:cubicBezTo>
                      <a:pt x="1257" y="405"/>
                      <a:pt x="1229" y="583"/>
                      <a:pt x="1175" y="736"/>
                    </a:cubicBezTo>
                    <a:close/>
                    <a:moveTo>
                      <a:pt x="632" y="417"/>
                    </a:moveTo>
                    <a:cubicBezTo>
                      <a:pt x="653" y="425"/>
                      <a:pt x="671" y="425"/>
                      <a:pt x="692" y="417"/>
                    </a:cubicBezTo>
                    <a:cubicBezTo>
                      <a:pt x="725" y="343"/>
                      <a:pt x="599" y="343"/>
                      <a:pt x="632" y="41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72" name="Freeform 97"/>
              <p:cNvSpPr>
                <a:spLocks/>
              </p:cNvSpPr>
              <p:nvPr/>
            </p:nvSpPr>
            <p:spPr bwMode="auto">
              <a:xfrm>
                <a:off x="-607" y="3282"/>
                <a:ext cx="415" cy="33"/>
              </a:xfrm>
              <a:custGeom>
                <a:avLst/>
                <a:gdLst>
                  <a:gd name="T0" fmla="*/ 1117 w 1117"/>
                  <a:gd name="T1" fmla="*/ 40 h 90"/>
                  <a:gd name="T2" fmla="*/ 998 w 1117"/>
                  <a:gd name="T3" fmla="*/ 70 h 90"/>
                  <a:gd name="T4" fmla="*/ 269 w 1117"/>
                  <a:gd name="T5" fmla="*/ 70 h 90"/>
                  <a:gd name="T6" fmla="*/ 1 w 1117"/>
                  <a:gd name="T7" fmla="*/ 48 h 90"/>
                  <a:gd name="T8" fmla="*/ 24 w 1117"/>
                  <a:gd name="T9" fmla="*/ 18 h 90"/>
                  <a:gd name="T10" fmla="*/ 864 w 1117"/>
                  <a:gd name="T11" fmla="*/ 18 h 90"/>
                  <a:gd name="T12" fmla="*/ 1117 w 1117"/>
                  <a:gd name="T13" fmla="*/ 4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17" h="90">
                    <a:moveTo>
                      <a:pt x="1117" y="40"/>
                    </a:moveTo>
                    <a:cubicBezTo>
                      <a:pt x="1101" y="90"/>
                      <a:pt x="1034" y="70"/>
                      <a:pt x="998" y="70"/>
                    </a:cubicBezTo>
                    <a:cubicBezTo>
                      <a:pt x="768" y="72"/>
                      <a:pt x="511" y="70"/>
                      <a:pt x="269" y="70"/>
                    </a:cubicBezTo>
                    <a:cubicBezTo>
                      <a:pt x="173" y="70"/>
                      <a:pt x="74" y="88"/>
                      <a:pt x="1" y="48"/>
                    </a:cubicBezTo>
                    <a:cubicBezTo>
                      <a:pt x="0" y="29"/>
                      <a:pt x="13" y="24"/>
                      <a:pt x="24" y="18"/>
                    </a:cubicBezTo>
                    <a:cubicBezTo>
                      <a:pt x="293" y="18"/>
                      <a:pt x="584" y="18"/>
                      <a:pt x="864" y="18"/>
                    </a:cubicBezTo>
                    <a:cubicBezTo>
                      <a:pt x="949" y="18"/>
                      <a:pt x="1046" y="0"/>
                      <a:pt x="1117" y="4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</p:grpSp>
        <p:sp>
          <p:nvSpPr>
            <p:cNvPr id="84" name="Rectangle 83"/>
            <p:cNvSpPr/>
            <p:nvPr/>
          </p:nvSpPr>
          <p:spPr>
            <a:xfrm>
              <a:off x="2888690" y="6122207"/>
              <a:ext cx="1079636" cy="4616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en-US" sz="12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+mj-lt"/>
                  <a:cs typeface="Arial" panose="020B0604020202020204" pitchFamily="34" charset="0"/>
                </a:rPr>
                <a:t>ESOP Plan Specialist</a:t>
              </a:r>
            </a:p>
          </p:txBody>
        </p:sp>
        <p:sp>
          <p:nvSpPr>
            <p:cNvPr id="86" name="Freeform 38"/>
            <p:cNvSpPr>
              <a:spLocks noEditPoints="1"/>
            </p:cNvSpPr>
            <p:nvPr/>
          </p:nvSpPr>
          <p:spPr bwMode="auto">
            <a:xfrm>
              <a:off x="3160057" y="5687421"/>
              <a:ext cx="536903" cy="362585"/>
            </a:xfrm>
            <a:custGeom>
              <a:avLst/>
              <a:gdLst>
                <a:gd name="T0" fmla="*/ 3195 w 3456"/>
                <a:gd name="T1" fmla="*/ 203 h 2334"/>
                <a:gd name="T2" fmla="*/ 3310 w 3456"/>
                <a:gd name="T3" fmla="*/ 519 h 2334"/>
                <a:gd name="T4" fmla="*/ 3199 w 3456"/>
                <a:gd name="T5" fmla="*/ 1927 h 2334"/>
                <a:gd name="T6" fmla="*/ 3081 w 3456"/>
                <a:gd name="T7" fmla="*/ 2244 h 2334"/>
                <a:gd name="T8" fmla="*/ 3411 w 3456"/>
                <a:gd name="T9" fmla="*/ 1914 h 2334"/>
                <a:gd name="T10" fmla="*/ 3035 w 3456"/>
                <a:gd name="T11" fmla="*/ 1277 h 2334"/>
                <a:gd name="T12" fmla="*/ 3132 w 3456"/>
                <a:gd name="T13" fmla="*/ 1180 h 2334"/>
                <a:gd name="T14" fmla="*/ 2511 w 3456"/>
                <a:gd name="T15" fmla="*/ 1232 h 2334"/>
                <a:gd name="T16" fmla="*/ 2543 w 3456"/>
                <a:gd name="T17" fmla="*/ 2086 h 2334"/>
                <a:gd name="T18" fmla="*/ 2642 w 3456"/>
                <a:gd name="T19" fmla="*/ 1962 h 2334"/>
                <a:gd name="T20" fmla="*/ 2642 w 3456"/>
                <a:gd name="T21" fmla="*/ 370 h 2334"/>
                <a:gd name="T22" fmla="*/ 2542 w 3456"/>
                <a:gd name="T23" fmla="*/ 246 h 2334"/>
                <a:gd name="T24" fmla="*/ 2128 w 3456"/>
                <a:gd name="T25" fmla="*/ 1848 h 2334"/>
                <a:gd name="T26" fmla="*/ 1880 w 3456"/>
                <a:gd name="T27" fmla="*/ 1664 h 2334"/>
                <a:gd name="T28" fmla="*/ 1661 w 3456"/>
                <a:gd name="T29" fmla="*/ 1528 h 2334"/>
                <a:gd name="T30" fmla="*/ 1512 w 3456"/>
                <a:gd name="T31" fmla="*/ 1446 h 2334"/>
                <a:gd name="T32" fmla="*/ 1471 w 3456"/>
                <a:gd name="T33" fmla="*/ 1413 h 2334"/>
                <a:gd name="T34" fmla="*/ 1471 w 3456"/>
                <a:gd name="T35" fmla="*/ 1259 h 2334"/>
                <a:gd name="T36" fmla="*/ 1533 w 3456"/>
                <a:gd name="T37" fmla="*/ 1052 h 2334"/>
                <a:gd name="T38" fmla="*/ 1581 w 3456"/>
                <a:gd name="T39" fmla="*/ 1032 h 2334"/>
                <a:gd name="T40" fmla="*/ 1641 w 3456"/>
                <a:gd name="T41" fmla="*/ 895 h 2334"/>
                <a:gd name="T42" fmla="*/ 1660 w 3456"/>
                <a:gd name="T43" fmla="*/ 764 h 2334"/>
                <a:gd name="T44" fmla="*/ 1632 w 3456"/>
                <a:gd name="T45" fmla="*/ 711 h 2334"/>
                <a:gd name="T46" fmla="*/ 1619 w 3456"/>
                <a:gd name="T47" fmla="*/ 678 h 2334"/>
                <a:gd name="T48" fmla="*/ 1650 w 3456"/>
                <a:gd name="T49" fmla="*/ 475 h 2334"/>
                <a:gd name="T50" fmla="*/ 1629 w 3456"/>
                <a:gd name="T51" fmla="*/ 312 h 2334"/>
                <a:gd name="T52" fmla="*/ 1571 w 3456"/>
                <a:gd name="T53" fmla="*/ 225 h 2334"/>
                <a:gd name="T54" fmla="*/ 1506 w 3456"/>
                <a:gd name="T55" fmla="*/ 191 h 2334"/>
                <a:gd name="T56" fmla="*/ 1462 w 3456"/>
                <a:gd name="T57" fmla="*/ 185 h 2334"/>
                <a:gd name="T58" fmla="*/ 1414 w 3456"/>
                <a:gd name="T59" fmla="*/ 104 h 2334"/>
                <a:gd name="T60" fmla="*/ 1264 w 3456"/>
                <a:gd name="T61" fmla="*/ 10 h 2334"/>
                <a:gd name="T62" fmla="*/ 1093 w 3456"/>
                <a:gd name="T63" fmla="*/ 13 h 2334"/>
                <a:gd name="T64" fmla="*/ 915 w 3456"/>
                <a:gd name="T65" fmla="*/ 14 h 2334"/>
                <a:gd name="T66" fmla="*/ 771 w 3456"/>
                <a:gd name="T67" fmla="*/ 4 h 2334"/>
                <a:gd name="T68" fmla="*/ 745 w 3456"/>
                <a:gd name="T69" fmla="*/ 38 h 2334"/>
                <a:gd name="T70" fmla="*/ 780 w 3456"/>
                <a:gd name="T71" fmla="*/ 96 h 2334"/>
                <a:gd name="T72" fmla="*/ 688 w 3456"/>
                <a:gd name="T73" fmla="*/ 184 h 2334"/>
                <a:gd name="T74" fmla="*/ 605 w 3456"/>
                <a:gd name="T75" fmla="*/ 352 h 2334"/>
                <a:gd name="T76" fmla="*/ 589 w 3456"/>
                <a:gd name="T77" fmla="*/ 520 h 2334"/>
                <a:gd name="T78" fmla="*/ 604 w 3456"/>
                <a:gd name="T79" fmla="*/ 643 h 2334"/>
                <a:gd name="T80" fmla="*/ 603 w 3456"/>
                <a:gd name="T81" fmla="*/ 679 h 2334"/>
                <a:gd name="T82" fmla="*/ 562 w 3456"/>
                <a:gd name="T83" fmla="*/ 700 h 2334"/>
                <a:gd name="T84" fmla="*/ 548 w 3456"/>
                <a:gd name="T85" fmla="*/ 780 h 2334"/>
                <a:gd name="T86" fmla="*/ 589 w 3456"/>
                <a:gd name="T87" fmla="*/ 941 h 2334"/>
                <a:gd name="T88" fmla="*/ 642 w 3456"/>
                <a:gd name="T89" fmla="*/ 1024 h 2334"/>
                <a:gd name="T90" fmla="*/ 695 w 3456"/>
                <a:gd name="T91" fmla="*/ 1163 h 2334"/>
                <a:gd name="T92" fmla="*/ 733 w 3456"/>
                <a:gd name="T93" fmla="*/ 1430 h 2334"/>
                <a:gd name="T94" fmla="*/ 646 w 3456"/>
                <a:gd name="T95" fmla="*/ 1476 h 2334"/>
                <a:gd name="T96" fmla="*/ 464 w 3456"/>
                <a:gd name="T97" fmla="*/ 1580 h 2334"/>
                <a:gd name="T98" fmla="*/ 230 w 3456"/>
                <a:gd name="T99" fmla="*/ 1735 h 2334"/>
                <a:gd name="T100" fmla="*/ 36 w 3456"/>
                <a:gd name="T101" fmla="*/ 1899 h 2334"/>
                <a:gd name="T102" fmla="*/ 0 w 3456"/>
                <a:gd name="T103" fmla="*/ 2334 h 2334"/>
                <a:gd name="T104" fmla="*/ 993 w 3456"/>
                <a:gd name="T105" fmla="*/ 1800 h 2334"/>
                <a:gd name="T106" fmla="*/ 972 w 3456"/>
                <a:gd name="T107" fmla="*/ 1693 h 2334"/>
                <a:gd name="T108" fmla="*/ 1009 w 3456"/>
                <a:gd name="T109" fmla="*/ 1638 h 2334"/>
                <a:gd name="T110" fmla="*/ 1066 w 3456"/>
                <a:gd name="T111" fmla="*/ 1618 h 2334"/>
                <a:gd name="T112" fmla="*/ 1105 w 3456"/>
                <a:gd name="T113" fmla="*/ 1614 h 2334"/>
                <a:gd name="T114" fmla="*/ 1154 w 3456"/>
                <a:gd name="T115" fmla="*/ 1623 h 2334"/>
                <a:gd name="T116" fmla="*/ 1209 w 3456"/>
                <a:gd name="T117" fmla="*/ 1655 h 2334"/>
                <a:gd name="T118" fmla="*/ 1229 w 3456"/>
                <a:gd name="T119" fmla="*/ 1729 h 2334"/>
                <a:gd name="T120" fmla="*/ 1172 w 3456"/>
                <a:gd name="T121" fmla="*/ 1861 h 2334"/>
                <a:gd name="T122" fmla="*/ 2201 w 3456"/>
                <a:gd name="T123" fmla="*/ 1985 h 2334"/>
                <a:gd name="T124" fmla="*/ 2128 w 3456"/>
                <a:gd name="T125" fmla="*/ 1848 h 2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456" h="2334">
                  <a:moveTo>
                    <a:pt x="2983" y="418"/>
                  </a:moveTo>
                  <a:lnTo>
                    <a:pt x="3098" y="304"/>
                  </a:lnTo>
                  <a:lnTo>
                    <a:pt x="2983" y="189"/>
                  </a:lnTo>
                  <a:lnTo>
                    <a:pt x="3081" y="88"/>
                  </a:lnTo>
                  <a:lnTo>
                    <a:pt x="3195" y="203"/>
                  </a:lnTo>
                  <a:lnTo>
                    <a:pt x="3310" y="88"/>
                  </a:lnTo>
                  <a:lnTo>
                    <a:pt x="3411" y="189"/>
                  </a:lnTo>
                  <a:lnTo>
                    <a:pt x="3296" y="304"/>
                  </a:lnTo>
                  <a:lnTo>
                    <a:pt x="3411" y="418"/>
                  </a:lnTo>
                  <a:lnTo>
                    <a:pt x="3310" y="519"/>
                  </a:lnTo>
                  <a:lnTo>
                    <a:pt x="3195" y="405"/>
                  </a:lnTo>
                  <a:lnTo>
                    <a:pt x="3081" y="519"/>
                  </a:lnTo>
                  <a:lnTo>
                    <a:pt x="2983" y="418"/>
                  </a:lnTo>
                  <a:close/>
                  <a:moveTo>
                    <a:pt x="3313" y="1813"/>
                  </a:moveTo>
                  <a:lnTo>
                    <a:pt x="3199" y="1927"/>
                  </a:lnTo>
                  <a:lnTo>
                    <a:pt x="3081" y="1813"/>
                  </a:lnTo>
                  <a:lnTo>
                    <a:pt x="2979" y="1914"/>
                  </a:lnTo>
                  <a:lnTo>
                    <a:pt x="3095" y="2028"/>
                  </a:lnTo>
                  <a:lnTo>
                    <a:pt x="2979" y="2143"/>
                  </a:lnTo>
                  <a:lnTo>
                    <a:pt x="3081" y="2244"/>
                  </a:lnTo>
                  <a:lnTo>
                    <a:pt x="3195" y="2129"/>
                  </a:lnTo>
                  <a:lnTo>
                    <a:pt x="3310" y="2244"/>
                  </a:lnTo>
                  <a:lnTo>
                    <a:pt x="3411" y="2143"/>
                  </a:lnTo>
                  <a:lnTo>
                    <a:pt x="3296" y="2028"/>
                  </a:lnTo>
                  <a:lnTo>
                    <a:pt x="3411" y="1914"/>
                  </a:lnTo>
                  <a:lnTo>
                    <a:pt x="3313" y="1813"/>
                  </a:lnTo>
                  <a:close/>
                  <a:moveTo>
                    <a:pt x="3132" y="1180"/>
                  </a:moveTo>
                  <a:lnTo>
                    <a:pt x="3039" y="1086"/>
                  </a:lnTo>
                  <a:lnTo>
                    <a:pt x="2941" y="1184"/>
                  </a:lnTo>
                  <a:lnTo>
                    <a:pt x="3035" y="1277"/>
                  </a:lnTo>
                  <a:lnTo>
                    <a:pt x="3132" y="1375"/>
                  </a:lnTo>
                  <a:lnTo>
                    <a:pt x="3230" y="1277"/>
                  </a:lnTo>
                  <a:lnTo>
                    <a:pt x="3456" y="1055"/>
                  </a:lnTo>
                  <a:lnTo>
                    <a:pt x="3358" y="957"/>
                  </a:lnTo>
                  <a:lnTo>
                    <a:pt x="3132" y="1180"/>
                  </a:lnTo>
                  <a:close/>
                  <a:moveTo>
                    <a:pt x="2511" y="304"/>
                  </a:moveTo>
                  <a:lnTo>
                    <a:pt x="2511" y="1100"/>
                  </a:lnTo>
                  <a:lnTo>
                    <a:pt x="1968" y="1100"/>
                  </a:lnTo>
                  <a:lnTo>
                    <a:pt x="1968" y="1232"/>
                  </a:lnTo>
                  <a:lnTo>
                    <a:pt x="2511" y="1232"/>
                  </a:lnTo>
                  <a:lnTo>
                    <a:pt x="2511" y="2028"/>
                  </a:lnTo>
                  <a:lnTo>
                    <a:pt x="2513" y="2046"/>
                  </a:lnTo>
                  <a:lnTo>
                    <a:pt x="2519" y="2063"/>
                  </a:lnTo>
                  <a:lnTo>
                    <a:pt x="2531" y="2076"/>
                  </a:lnTo>
                  <a:lnTo>
                    <a:pt x="2543" y="2086"/>
                  </a:lnTo>
                  <a:lnTo>
                    <a:pt x="2559" y="2092"/>
                  </a:lnTo>
                  <a:lnTo>
                    <a:pt x="2576" y="2094"/>
                  </a:lnTo>
                  <a:lnTo>
                    <a:pt x="2792" y="2094"/>
                  </a:lnTo>
                  <a:lnTo>
                    <a:pt x="2792" y="1962"/>
                  </a:lnTo>
                  <a:lnTo>
                    <a:pt x="2642" y="1962"/>
                  </a:lnTo>
                  <a:lnTo>
                    <a:pt x="2642" y="1232"/>
                  </a:lnTo>
                  <a:lnTo>
                    <a:pt x="2792" y="1232"/>
                  </a:lnTo>
                  <a:lnTo>
                    <a:pt x="2792" y="1100"/>
                  </a:lnTo>
                  <a:lnTo>
                    <a:pt x="2642" y="1100"/>
                  </a:lnTo>
                  <a:lnTo>
                    <a:pt x="2642" y="370"/>
                  </a:lnTo>
                  <a:lnTo>
                    <a:pt x="2792" y="370"/>
                  </a:lnTo>
                  <a:lnTo>
                    <a:pt x="2792" y="238"/>
                  </a:lnTo>
                  <a:lnTo>
                    <a:pt x="2576" y="238"/>
                  </a:lnTo>
                  <a:lnTo>
                    <a:pt x="2558" y="240"/>
                  </a:lnTo>
                  <a:lnTo>
                    <a:pt x="2542" y="246"/>
                  </a:lnTo>
                  <a:lnTo>
                    <a:pt x="2529" y="256"/>
                  </a:lnTo>
                  <a:lnTo>
                    <a:pt x="2519" y="269"/>
                  </a:lnTo>
                  <a:lnTo>
                    <a:pt x="2513" y="286"/>
                  </a:lnTo>
                  <a:lnTo>
                    <a:pt x="2511" y="304"/>
                  </a:lnTo>
                  <a:close/>
                  <a:moveTo>
                    <a:pt x="2128" y="1848"/>
                  </a:moveTo>
                  <a:lnTo>
                    <a:pt x="2078" y="1808"/>
                  </a:lnTo>
                  <a:lnTo>
                    <a:pt x="2028" y="1769"/>
                  </a:lnTo>
                  <a:lnTo>
                    <a:pt x="1978" y="1732"/>
                  </a:lnTo>
                  <a:lnTo>
                    <a:pt x="1929" y="1697"/>
                  </a:lnTo>
                  <a:lnTo>
                    <a:pt x="1880" y="1664"/>
                  </a:lnTo>
                  <a:lnTo>
                    <a:pt x="1833" y="1632"/>
                  </a:lnTo>
                  <a:lnTo>
                    <a:pt x="1786" y="1603"/>
                  </a:lnTo>
                  <a:lnTo>
                    <a:pt x="1742" y="1576"/>
                  </a:lnTo>
                  <a:lnTo>
                    <a:pt x="1700" y="1551"/>
                  </a:lnTo>
                  <a:lnTo>
                    <a:pt x="1661" y="1528"/>
                  </a:lnTo>
                  <a:lnTo>
                    <a:pt x="1625" y="1507"/>
                  </a:lnTo>
                  <a:lnTo>
                    <a:pt x="1591" y="1488"/>
                  </a:lnTo>
                  <a:lnTo>
                    <a:pt x="1561" y="1472"/>
                  </a:lnTo>
                  <a:lnTo>
                    <a:pt x="1534" y="1458"/>
                  </a:lnTo>
                  <a:lnTo>
                    <a:pt x="1512" y="1446"/>
                  </a:lnTo>
                  <a:lnTo>
                    <a:pt x="1494" y="1437"/>
                  </a:lnTo>
                  <a:lnTo>
                    <a:pt x="1482" y="1431"/>
                  </a:lnTo>
                  <a:lnTo>
                    <a:pt x="1476" y="1425"/>
                  </a:lnTo>
                  <a:lnTo>
                    <a:pt x="1472" y="1420"/>
                  </a:lnTo>
                  <a:lnTo>
                    <a:pt x="1471" y="1413"/>
                  </a:lnTo>
                  <a:lnTo>
                    <a:pt x="1471" y="1398"/>
                  </a:lnTo>
                  <a:lnTo>
                    <a:pt x="1471" y="1377"/>
                  </a:lnTo>
                  <a:lnTo>
                    <a:pt x="1471" y="1324"/>
                  </a:lnTo>
                  <a:lnTo>
                    <a:pt x="1471" y="1292"/>
                  </a:lnTo>
                  <a:lnTo>
                    <a:pt x="1471" y="1259"/>
                  </a:lnTo>
                  <a:lnTo>
                    <a:pt x="1471" y="1225"/>
                  </a:lnTo>
                  <a:lnTo>
                    <a:pt x="1495" y="1165"/>
                  </a:lnTo>
                  <a:lnTo>
                    <a:pt x="1513" y="1107"/>
                  </a:lnTo>
                  <a:lnTo>
                    <a:pt x="1527" y="1047"/>
                  </a:lnTo>
                  <a:lnTo>
                    <a:pt x="1533" y="1052"/>
                  </a:lnTo>
                  <a:lnTo>
                    <a:pt x="1542" y="1054"/>
                  </a:lnTo>
                  <a:lnTo>
                    <a:pt x="1550" y="1054"/>
                  </a:lnTo>
                  <a:lnTo>
                    <a:pt x="1560" y="1049"/>
                  </a:lnTo>
                  <a:lnTo>
                    <a:pt x="1570" y="1043"/>
                  </a:lnTo>
                  <a:lnTo>
                    <a:pt x="1581" y="1032"/>
                  </a:lnTo>
                  <a:lnTo>
                    <a:pt x="1591" y="1016"/>
                  </a:lnTo>
                  <a:lnTo>
                    <a:pt x="1604" y="995"/>
                  </a:lnTo>
                  <a:lnTo>
                    <a:pt x="1615" y="967"/>
                  </a:lnTo>
                  <a:lnTo>
                    <a:pt x="1628" y="935"/>
                  </a:lnTo>
                  <a:lnTo>
                    <a:pt x="1641" y="895"/>
                  </a:lnTo>
                  <a:lnTo>
                    <a:pt x="1650" y="860"/>
                  </a:lnTo>
                  <a:lnTo>
                    <a:pt x="1656" y="831"/>
                  </a:lnTo>
                  <a:lnTo>
                    <a:pt x="1659" y="805"/>
                  </a:lnTo>
                  <a:lnTo>
                    <a:pt x="1660" y="783"/>
                  </a:lnTo>
                  <a:lnTo>
                    <a:pt x="1660" y="764"/>
                  </a:lnTo>
                  <a:lnTo>
                    <a:pt x="1657" y="748"/>
                  </a:lnTo>
                  <a:lnTo>
                    <a:pt x="1653" y="734"/>
                  </a:lnTo>
                  <a:lnTo>
                    <a:pt x="1647" y="724"/>
                  </a:lnTo>
                  <a:lnTo>
                    <a:pt x="1640" y="716"/>
                  </a:lnTo>
                  <a:lnTo>
                    <a:pt x="1632" y="711"/>
                  </a:lnTo>
                  <a:lnTo>
                    <a:pt x="1624" y="707"/>
                  </a:lnTo>
                  <a:lnTo>
                    <a:pt x="1613" y="707"/>
                  </a:lnTo>
                  <a:lnTo>
                    <a:pt x="1616" y="693"/>
                  </a:lnTo>
                  <a:lnTo>
                    <a:pt x="1618" y="684"/>
                  </a:lnTo>
                  <a:lnTo>
                    <a:pt x="1619" y="678"/>
                  </a:lnTo>
                  <a:lnTo>
                    <a:pt x="1620" y="676"/>
                  </a:lnTo>
                  <a:lnTo>
                    <a:pt x="1633" y="619"/>
                  </a:lnTo>
                  <a:lnTo>
                    <a:pt x="1641" y="566"/>
                  </a:lnTo>
                  <a:lnTo>
                    <a:pt x="1648" y="518"/>
                  </a:lnTo>
                  <a:lnTo>
                    <a:pt x="1650" y="475"/>
                  </a:lnTo>
                  <a:lnTo>
                    <a:pt x="1651" y="435"/>
                  </a:lnTo>
                  <a:lnTo>
                    <a:pt x="1648" y="398"/>
                  </a:lnTo>
                  <a:lnTo>
                    <a:pt x="1644" y="367"/>
                  </a:lnTo>
                  <a:lnTo>
                    <a:pt x="1637" y="337"/>
                  </a:lnTo>
                  <a:lnTo>
                    <a:pt x="1629" y="312"/>
                  </a:lnTo>
                  <a:lnTo>
                    <a:pt x="1619" y="289"/>
                  </a:lnTo>
                  <a:lnTo>
                    <a:pt x="1609" y="269"/>
                  </a:lnTo>
                  <a:lnTo>
                    <a:pt x="1597" y="252"/>
                  </a:lnTo>
                  <a:lnTo>
                    <a:pt x="1585" y="238"/>
                  </a:lnTo>
                  <a:lnTo>
                    <a:pt x="1571" y="225"/>
                  </a:lnTo>
                  <a:lnTo>
                    <a:pt x="1557" y="216"/>
                  </a:lnTo>
                  <a:lnTo>
                    <a:pt x="1544" y="207"/>
                  </a:lnTo>
                  <a:lnTo>
                    <a:pt x="1531" y="200"/>
                  </a:lnTo>
                  <a:lnTo>
                    <a:pt x="1518" y="195"/>
                  </a:lnTo>
                  <a:lnTo>
                    <a:pt x="1506" y="191"/>
                  </a:lnTo>
                  <a:lnTo>
                    <a:pt x="1494" y="188"/>
                  </a:lnTo>
                  <a:lnTo>
                    <a:pt x="1484" y="187"/>
                  </a:lnTo>
                  <a:lnTo>
                    <a:pt x="1474" y="186"/>
                  </a:lnTo>
                  <a:lnTo>
                    <a:pt x="1467" y="185"/>
                  </a:lnTo>
                  <a:lnTo>
                    <a:pt x="1462" y="185"/>
                  </a:lnTo>
                  <a:lnTo>
                    <a:pt x="1459" y="185"/>
                  </a:lnTo>
                  <a:lnTo>
                    <a:pt x="1457" y="185"/>
                  </a:lnTo>
                  <a:lnTo>
                    <a:pt x="1447" y="158"/>
                  </a:lnTo>
                  <a:lnTo>
                    <a:pt x="1432" y="130"/>
                  </a:lnTo>
                  <a:lnTo>
                    <a:pt x="1414" y="104"/>
                  </a:lnTo>
                  <a:lnTo>
                    <a:pt x="1389" y="80"/>
                  </a:lnTo>
                  <a:lnTo>
                    <a:pt x="1362" y="57"/>
                  </a:lnTo>
                  <a:lnTo>
                    <a:pt x="1332" y="37"/>
                  </a:lnTo>
                  <a:lnTo>
                    <a:pt x="1299" y="21"/>
                  </a:lnTo>
                  <a:lnTo>
                    <a:pt x="1264" y="10"/>
                  </a:lnTo>
                  <a:lnTo>
                    <a:pt x="1229" y="2"/>
                  </a:lnTo>
                  <a:lnTo>
                    <a:pt x="1192" y="0"/>
                  </a:lnTo>
                  <a:lnTo>
                    <a:pt x="1154" y="4"/>
                  </a:lnTo>
                  <a:lnTo>
                    <a:pt x="1126" y="10"/>
                  </a:lnTo>
                  <a:lnTo>
                    <a:pt x="1093" y="13"/>
                  </a:lnTo>
                  <a:lnTo>
                    <a:pt x="1060" y="15"/>
                  </a:lnTo>
                  <a:lnTo>
                    <a:pt x="1024" y="16"/>
                  </a:lnTo>
                  <a:lnTo>
                    <a:pt x="987" y="16"/>
                  </a:lnTo>
                  <a:lnTo>
                    <a:pt x="951" y="15"/>
                  </a:lnTo>
                  <a:lnTo>
                    <a:pt x="915" y="14"/>
                  </a:lnTo>
                  <a:lnTo>
                    <a:pt x="880" y="13"/>
                  </a:lnTo>
                  <a:lnTo>
                    <a:pt x="848" y="11"/>
                  </a:lnTo>
                  <a:lnTo>
                    <a:pt x="818" y="9"/>
                  </a:lnTo>
                  <a:lnTo>
                    <a:pt x="792" y="7"/>
                  </a:lnTo>
                  <a:lnTo>
                    <a:pt x="771" y="4"/>
                  </a:lnTo>
                  <a:lnTo>
                    <a:pt x="755" y="2"/>
                  </a:lnTo>
                  <a:lnTo>
                    <a:pt x="745" y="1"/>
                  </a:lnTo>
                  <a:lnTo>
                    <a:pt x="741" y="1"/>
                  </a:lnTo>
                  <a:lnTo>
                    <a:pt x="742" y="20"/>
                  </a:lnTo>
                  <a:lnTo>
                    <a:pt x="745" y="38"/>
                  </a:lnTo>
                  <a:lnTo>
                    <a:pt x="751" y="54"/>
                  </a:lnTo>
                  <a:lnTo>
                    <a:pt x="758" y="67"/>
                  </a:lnTo>
                  <a:lnTo>
                    <a:pt x="766" y="79"/>
                  </a:lnTo>
                  <a:lnTo>
                    <a:pt x="773" y="89"/>
                  </a:lnTo>
                  <a:lnTo>
                    <a:pt x="780" y="96"/>
                  </a:lnTo>
                  <a:lnTo>
                    <a:pt x="785" y="100"/>
                  </a:lnTo>
                  <a:lnTo>
                    <a:pt x="786" y="102"/>
                  </a:lnTo>
                  <a:lnTo>
                    <a:pt x="749" y="127"/>
                  </a:lnTo>
                  <a:lnTo>
                    <a:pt x="716" y="155"/>
                  </a:lnTo>
                  <a:lnTo>
                    <a:pt x="688" y="184"/>
                  </a:lnTo>
                  <a:lnTo>
                    <a:pt x="664" y="216"/>
                  </a:lnTo>
                  <a:lnTo>
                    <a:pt x="644" y="249"/>
                  </a:lnTo>
                  <a:lnTo>
                    <a:pt x="628" y="283"/>
                  </a:lnTo>
                  <a:lnTo>
                    <a:pt x="615" y="317"/>
                  </a:lnTo>
                  <a:lnTo>
                    <a:pt x="605" y="352"/>
                  </a:lnTo>
                  <a:lnTo>
                    <a:pt x="598" y="388"/>
                  </a:lnTo>
                  <a:lnTo>
                    <a:pt x="592" y="421"/>
                  </a:lnTo>
                  <a:lnTo>
                    <a:pt x="589" y="456"/>
                  </a:lnTo>
                  <a:lnTo>
                    <a:pt x="588" y="489"/>
                  </a:lnTo>
                  <a:lnTo>
                    <a:pt x="589" y="520"/>
                  </a:lnTo>
                  <a:lnTo>
                    <a:pt x="590" y="549"/>
                  </a:lnTo>
                  <a:lnTo>
                    <a:pt x="594" y="577"/>
                  </a:lnTo>
                  <a:lnTo>
                    <a:pt x="597" y="602"/>
                  </a:lnTo>
                  <a:lnTo>
                    <a:pt x="600" y="624"/>
                  </a:lnTo>
                  <a:lnTo>
                    <a:pt x="604" y="643"/>
                  </a:lnTo>
                  <a:lnTo>
                    <a:pt x="607" y="659"/>
                  </a:lnTo>
                  <a:lnTo>
                    <a:pt x="609" y="669"/>
                  </a:lnTo>
                  <a:lnTo>
                    <a:pt x="611" y="677"/>
                  </a:lnTo>
                  <a:lnTo>
                    <a:pt x="612" y="679"/>
                  </a:lnTo>
                  <a:lnTo>
                    <a:pt x="603" y="679"/>
                  </a:lnTo>
                  <a:lnTo>
                    <a:pt x="595" y="680"/>
                  </a:lnTo>
                  <a:lnTo>
                    <a:pt x="585" y="682"/>
                  </a:lnTo>
                  <a:lnTo>
                    <a:pt x="577" y="686"/>
                  </a:lnTo>
                  <a:lnTo>
                    <a:pt x="568" y="691"/>
                  </a:lnTo>
                  <a:lnTo>
                    <a:pt x="562" y="700"/>
                  </a:lnTo>
                  <a:lnTo>
                    <a:pt x="556" y="709"/>
                  </a:lnTo>
                  <a:lnTo>
                    <a:pt x="552" y="723"/>
                  </a:lnTo>
                  <a:lnTo>
                    <a:pt x="548" y="739"/>
                  </a:lnTo>
                  <a:lnTo>
                    <a:pt x="547" y="757"/>
                  </a:lnTo>
                  <a:lnTo>
                    <a:pt x="548" y="780"/>
                  </a:lnTo>
                  <a:lnTo>
                    <a:pt x="552" y="806"/>
                  </a:lnTo>
                  <a:lnTo>
                    <a:pt x="558" y="836"/>
                  </a:lnTo>
                  <a:lnTo>
                    <a:pt x="567" y="871"/>
                  </a:lnTo>
                  <a:lnTo>
                    <a:pt x="579" y="909"/>
                  </a:lnTo>
                  <a:lnTo>
                    <a:pt x="589" y="941"/>
                  </a:lnTo>
                  <a:lnTo>
                    <a:pt x="601" y="967"/>
                  </a:lnTo>
                  <a:lnTo>
                    <a:pt x="611" y="989"/>
                  </a:lnTo>
                  <a:lnTo>
                    <a:pt x="622" y="1005"/>
                  </a:lnTo>
                  <a:lnTo>
                    <a:pt x="632" y="1017"/>
                  </a:lnTo>
                  <a:lnTo>
                    <a:pt x="642" y="1024"/>
                  </a:lnTo>
                  <a:lnTo>
                    <a:pt x="651" y="1029"/>
                  </a:lnTo>
                  <a:lnTo>
                    <a:pt x="661" y="1031"/>
                  </a:lnTo>
                  <a:lnTo>
                    <a:pt x="669" y="1074"/>
                  </a:lnTo>
                  <a:lnTo>
                    <a:pt x="681" y="1118"/>
                  </a:lnTo>
                  <a:lnTo>
                    <a:pt x="695" y="1163"/>
                  </a:lnTo>
                  <a:lnTo>
                    <a:pt x="714" y="1208"/>
                  </a:lnTo>
                  <a:lnTo>
                    <a:pt x="737" y="1253"/>
                  </a:lnTo>
                  <a:lnTo>
                    <a:pt x="737" y="1416"/>
                  </a:lnTo>
                  <a:lnTo>
                    <a:pt x="736" y="1423"/>
                  </a:lnTo>
                  <a:lnTo>
                    <a:pt x="733" y="1430"/>
                  </a:lnTo>
                  <a:lnTo>
                    <a:pt x="727" y="1434"/>
                  </a:lnTo>
                  <a:lnTo>
                    <a:pt x="713" y="1440"/>
                  </a:lnTo>
                  <a:lnTo>
                    <a:pt x="695" y="1450"/>
                  </a:lnTo>
                  <a:lnTo>
                    <a:pt x="673" y="1461"/>
                  </a:lnTo>
                  <a:lnTo>
                    <a:pt x="646" y="1476"/>
                  </a:lnTo>
                  <a:lnTo>
                    <a:pt x="617" y="1492"/>
                  </a:lnTo>
                  <a:lnTo>
                    <a:pt x="583" y="1510"/>
                  </a:lnTo>
                  <a:lnTo>
                    <a:pt x="546" y="1531"/>
                  </a:lnTo>
                  <a:lnTo>
                    <a:pt x="506" y="1555"/>
                  </a:lnTo>
                  <a:lnTo>
                    <a:pt x="464" y="1580"/>
                  </a:lnTo>
                  <a:lnTo>
                    <a:pt x="420" y="1607"/>
                  </a:lnTo>
                  <a:lnTo>
                    <a:pt x="375" y="1637"/>
                  </a:lnTo>
                  <a:lnTo>
                    <a:pt x="328" y="1667"/>
                  </a:lnTo>
                  <a:lnTo>
                    <a:pt x="280" y="1701"/>
                  </a:lnTo>
                  <a:lnTo>
                    <a:pt x="230" y="1735"/>
                  </a:lnTo>
                  <a:lnTo>
                    <a:pt x="180" y="1772"/>
                  </a:lnTo>
                  <a:lnTo>
                    <a:pt x="130" y="1811"/>
                  </a:lnTo>
                  <a:lnTo>
                    <a:pt x="80" y="1851"/>
                  </a:lnTo>
                  <a:lnTo>
                    <a:pt x="56" y="1874"/>
                  </a:lnTo>
                  <a:lnTo>
                    <a:pt x="36" y="1899"/>
                  </a:lnTo>
                  <a:lnTo>
                    <a:pt x="21" y="1927"/>
                  </a:lnTo>
                  <a:lnTo>
                    <a:pt x="10" y="1957"/>
                  </a:lnTo>
                  <a:lnTo>
                    <a:pt x="2" y="1988"/>
                  </a:lnTo>
                  <a:lnTo>
                    <a:pt x="0" y="2021"/>
                  </a:lnTo>
                  <a:lnTo>
                    <a:pt x="0" y="2334"/>
                  </a:lnTo>
                  <a:lnTo>
                    <a:pt x="960" y="2334"/>
                  </a:lnTo>
                  <a:lnTo>
                    <a:pt x="1050" y="1896"/>
                  </a:lnTo>
                  <a:lnTo>
                    <a:pt x="1026" y="1861"/>
                  </a:lnTo>
                  <a:lnTo>
                    <a:pt x="1007" y="1830"/>
                  </a:lnTo>
                  <a:lnTo>
                    <a:pt x="993" y="1800"/>
                  </a:lnTo>
                  <a:lnTo>
                    <a:pt x="982" y="1774"/>
                  </a:lnTo>
                  <a:lnTo>
                    <a:pt x="975" y="1750"/>
                  </a:lnTo>
                  <a:lnTo>
                    <a:pt x="970" y="1729"/>
                  </a:lnTo>
                  <a:lnTo>
                    <a:pt x="969" y="1710"/>
                  </a:lnTo>
                  <a:lnTo>
                    <a:pt x="972" y="1693"/>
                  </a:lnTo>
                  <a:lnTo>
                    <a:pt x="976" y="1679"/>
                  </a:lnTo>
                  <a:lnTo>
                    <a:pt x="982" y="1666"/>
                  </a:lnTo>
                  <a:lnTo>
                    <a:pt x="989" y="1655"/>
                  </a:lnTo>
                  <a:lnTo>
                    <a:pt x="999" y="1646"/>
                  </a:lnTo>
                  <a:lnTo>
                    <a:pt x="1009" y="1638"/>
                  </a:lnTo>
                  <a:lnTo>
                    <a:pt x="1021" y="1631"/>
                  </a:lnTo>
                  <a:lnTo>
                    <a:pt x="1032" y="1626"/>
                  </a:lnTo>
                  <a:lnTo>
                    <a:pt x="1044" y="1623"/>
                  </a:lnTo>
                  <a:lnTo>
                    <a:pt x="1056" y="1620"/>
                  </a:lnTo>
                  <a:lnTo>
                    <a:pt x="1066" y="1618"/>
                  </a:lnTo>
                  <a:lnTo>
                    <a:pt x="1077" y="1616"/>
                  </a:lnTo>
                  <a:lnTo>
                    <a:pt x="1086" y="1616"/>
                  </a:lnTo>
                  <a:lnTo>
                    <a:pt x="1093" y="1614"/>
                  </a:lnTo>
                  <a:lnTo>
                    <a:pt x="1099" y="1614"/>
                  </a:lnTo>
                  <a:lnTo>
                    <a:pt x="1105" y="1614"/>
                  </a:lnTo>
                  <a:lnTo>
                    <a:pt x="1112" y="1616"/>
                  </a:lnTo>
                  <a:lnTo>
                    <a:pt x="1122" y="1616"/>
                  </a:lnTo>
                  <a:lnTo>
                    <a:pt x="1132" y="1618"/>
                  </a:lnTo>
                  <a:lnTo>
                    <a:pt x="1143" y="1620"/>
                  </a:lnTo>
                  <a:lnTo>
                    <a:pt x="1154" y="1623"/>
                  </a:lnTo>
                  <a:lnTo>
                    <a:pt x="1167" y="1626"/>
                  </a:lnTo>
                  <a:lnTo>
                    <a:pt x="1178" y="1631"/>
                  </a:lnTo>
                  <a:lnTo>
                    <a:pt x="1189" y="1638"/>
                  </a:lnTo>
                  <a:lnTo>
                    <a:pt x="1199" y="1646"/>
                  </a:lnTo>
                  <a:lnTo>
                    <a:pt x="1209" y="1655"/>
                  </a:lnTo>
                  <a:lnTo>
                    <a:pt x="1217" y="1666"/>
                  </a:lnTo>
                  <a:lnTo>
                    <a:pt x="1224" y="1679"/>
                  </a:lnTo>
                  <a:lnTo>
                    <a:pt x="1228" y="1693"/>
                  </a:lnTo>
                  <a:lnTo>
                    <a:pt x="1230" y="1710"/>
                  </a:lnTo>
                  <a:lnTo>
                    <a:pt x="1229" y="1729"/>
                  </a:lnTo>
                  <a:lnTo>
                    <a:pt x="1225" y="1750"/>
                  </a:lnTo>
                  <a:lnTo>
                    <a:pt x="1217" y="1774"/>
                  </a:lnTo>
                  <a:lnTo>
                    <a:pt x="1207" y="1800"/>
                  </a:lnTo>
                  <a:lnTo>
                    <a:pt x="1191" y="1830"/>
                  </a:lnTo>
                  <a:lnTo>
                    <a:pt x="1172" y="1861"/>
                  </a:lnTo>
                  <a:lnTo>
                    <a:pt x="1148" y="1896"/>
                  </a:lnTo>
                  <a:lnTo>
                    <a:pt x="1241" y="2331"/>
                  </a:lnTo>
                  <a:lnTo>
                    <a:pt x="2201" y="2331"/>
                  </a:lnTo>
                  <a:lnTo>
                    <a:pt x="2201" y="2018"/>
                  </a:lnTo>
                  <a:lnTo>
                    <a:pt x="2201" y="1985"/>
                  </a:lnTo>
                  <a:lnTo>
                    <a:pt x="2196" y="1954"/>
                  </a:lnTo>
                  <a:lnTo>
                    <a:pt x="2185" y="1923"/>
                  </a:lnTo>
                  <a:lnTo>
                    <a:pt x="2170" y="1896"/>
                  </a:lnTo>
                  <a:lnTo>
                    <a:pt x="2151" y="1870"/>
                  </a:lnTo>
                  <a:lnTo>
                    <a:pt x="2128" y="1848"/>
                  </a:lnTo>
                  <a:close/>
                </a:path>
              </a:pathLst>
            </a:custGeom>
            <a:solidFill>
              <a:srgbClr val="26867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 Light" panose="020F0302020204030204"/>
              </a:endParaRPr>
            </a:p>
          </p:txBody>
        </p:sp>
      </p:grpSp>
      <p:grpSp>
        <p:nvGrpSpPr>
          <p:cNvPr id="113" name="Group 112"/>
          <p:cNvGrpSpPr/>
          <p:nvPr/>
        </p:nvGrpSpPr>
        <p:grpSpPr>
          <a:xfrm>
            <a:off x="620801" y="1964686"/>
            <a:ext cx="1806399" cy="4752536"/>
            <a:chOff x="335410" y="1831336"/>
            <a:chExt cx="1806399" cy="4752536"/>
          </a:xfrm>
        </p:grpSpPr>
        <p:sp>
          <p:nvSpPr>
            <p:cNvPr id="11" name="Rectangle 10"/>
            <p:cNvSpPr/>
            <p:nvPr/>
          </p:nvSpPr>
          <p:spPr>
            <a:xfrm>
              <a:off x="335410" y="2427212"/>
              <a:ext cx="1806399" cy="4616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en-US" sz="12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+mj-lt"/>
                  <a:cs typeface="Arial" panose="020B0604020202020204" pitchFamily="34" charset="0"/>
                </a:rPr>
                <a:t>Domestic Certified Public Accountant</a:t>
              </a: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942077" y="1831336"/>
              <a:ext cx="549371" cy="560896"/>
            </a:xfrm>
            <a:custGeom>
              <a:avLst/>
              <a:gdLst>
                <a:gd name="T0" fmla="*/ 53 w 3429"/>
                <a:gd name="T1" fmla="*/ 2451 h 3499"/>
                <a:gd name="T2" fmla="*/ 496 w 3429"/>
                <a:gd name="T3" fmla="*/ 2111 h 3499"/>
                <a:gd name="T4" fmla="*/ 860 w 3429"/>
                <a:gd name="T5" fmla="*/ 1909 h 3499"/>
                <a:gd name="T6" fmla="*/ 956 w 3429"/>
                <a:gd name="T7" fmla="*/ 2124 h 3499"/>
                <a:gd name="T8" fmla="*/ 1105 w 3429"/>
                <a:gd name="T9" fmla="*/ 2420 h 3499"/>
                <a:gd name="T10" fmla="*/ 1176 w 3429"/>
                <a:gd name="T11" fmla="*/ 2446 h 3499"/>
                <a:gd name="T12" fmla="*/ 1281 w 3429"/>
                <a:gd name="T13" fmla="*/ 2260 h 3499"/>
                <a:gd name="T14" fmla="*/ 1436 w 3429"/>
                <a:gd name="T15" fmla="*/ 2226 h 3499"/>
                <a:gd name="T16" fmla="*/ 1301 w 3429"/>
                <a:gd name="T17" fmla="*/ 2118 h 3499"/>
                <a:gd name="T18" fmla="*/ 1077 w 3429"/>
                <a:gd name="T19" fmla="*/ 1924 h 3499"/>
                <a:gd name="T20" fmla="*/ 915 w 3429"/>
                <a:gd name="T21" fmla="*/ 1430 h 3499"/>
                <a:gd name="T22" fmla="*/ 819 w 3429"/>
                <a:gd name="T23" fmla="*/ 1251 h 3499"/>
                <a:gd name="T24" fmla="*/ 745 w 3429"/>
                <a:gd name="T25" fmla="*/ 975 h 3499"/>
                <a:gd name="T26" fmla="*/ 794 w 3429"/>
                <a:gd name="T27" fmla="*/ 870 h 3499"/>
                <a:gd name="T28" fmla="*/ 794 w 3429"/>
                <a:gd name="T29" fmla="*/ 583 h 3499"/>
                <a:gd name="T30" fmla="*/ 969 w 3429"/>
                <a:gd name="T31" fmla="*/ 234 h 3499"/>
                <a:gd name="T32" fmla="*/ 1318 w 3429"/>
                <a:gd name="T33" fmla="*/ 16 h 3499"/>
                <a:gd name="T34" fmla="*/ 1658 w 3429"/>
                <a:gd name="T35" fmla="*/ 33 h 3499"/>
                <a:gd name="T36" fmla="*/ 1876 w 3429"/>
                <a:gd name="T37" fmla="*/ 178 h 3499"/>
                <a:gd name="T38" fmla="*/ 1924 w 3429"/>
                <a:gd name="T39" fmla="*/ 232 h 3499"/>
                <a:gd name="T40" fmla="*/ 2013 w 3429"/>
                <a:gd name="T41" fmla="*/ 281 h 3499"/>
                <a:gd name="T42" fmla="*/ 2104 w 3429"/>
                <a:gd name="T43" fmla="*/ 466 h 3499"/>
                <a:gd name="T44" fmla="*/ 2091 w 3429"/>
                <a:gd name="T45" fmla="*/ 840 h 3499"/>
                <a:gd name="T46" fmla="*/ 2148 w 3429"/>
                <a:gd name="T47" fmla="*/ 905 h 3499"/>
                <a:gd name="T48" fmla="*/ 2133 w 3429"/>
                <a:gd name="T49" fmla="*/ 1112 h 3499"/>
                <a:gd name="T50" fmla="*/ 2027 w 3429"/>
                <a:gd name="T51" fmla="*/ 1315 h 3499"/>
                <a:gd name="T52" fmla="*/ 1894 w 3429"/>
                <a:gd name="T53" fmla="*/ 1853 h 3499"/>
                <a:gd name="T54" fmla="*/ 1683 w 3429"/>
                <a:gd name="T55" fmla="*/ 2045 h 3499"/>
                <a:gd name="T56" fmla="*/ 1495 w 3429"/>
                <a:gd name="T57" fmla="*/ 2199 h 3499"/>
                <a:gd name="T58" fmla="*/ 1560 w 3429"/>
                <a:gd name="T59" fmla="*/ 2215 h 3499"/>
                <a:gd name="T60" fmla="*/ 1696 w 3429"/>
                <a:gd name="T61" fmla="*/ 2375 h 3499"/>
                <a:gd name="T62" fmla="*/ 1745 w 3429"/>
                <a:gd name="T63" fmla="*/ 2500 h 3499"/>
                <a:gd name="T64" fmla="*/ 1891 w 3429"/>
                <a:gd name="T65" fmla="*/ 2234 h 3499"/>
                <a:gd name="T66" fmla="*/ 2017 w 3429"/>
                <a:gd name="T67" fmla="*/ 1961 h 3499"/>
                <a:gd name="T68" fmla="*/ 2201 w 3429"/>
                <a:gd name="T69" fmla="*/ 1984 h 3499"/>
                <a:gd name="T70" fmla="*/ 2184 w 3429"/>
                <a:gd name="T71" fmla="*/ 2270 h 3499"/>
                <a:gd name="T72" fmla="*/ 1957 w 3429"/>
                <a:gd name="T73" fmla="*/ 2768 h 3499"/>
                <a:gd name="T74" fmla="*/ 2901 w 3429"/>
                <a:gd name="T75" fmla="*/ 2203 h 3499"/>
                <a:gd name="T76" fmla="*/ 3295 w 3429"/>
                <a:gd name="T77" fmla="*/ 2449 h 3499"/>
                <a:gd name="T78" fmla="*/ 3426 w 3429"/>
                <a:gd name="T79" fmla="*/ 2908 h 3499"/>
                <a:gd name="T80" fmla="*/ 3218 w 3429"/>
                <a:gd name="T81" fmla="*/ 3327 h 3499"/>
                <a:gd name="T82" fmla="*/ 2778 w 3429"/>
                <a:gd name="T83" fmla="*/ 3499 h 3499"/>
                <a:gd name="T84" fmla="*/ 2339 w 3429"/>
                <a:gd name="T85" fmla="*/ 3328 h 3499"/>
                <a:gd name="T86" fmla="*/ 2129 w 3429"/>
                <a:gd name="T87" fmla="*/ 2909 h 3499"/>
                <a:gd name="T88" fmla="*/ 2259 w 3429"/>
                <a:gd name="T89" fmla="*/ 2449 h 3499"/>
                <a:gd name="T90" fmla="*/ 2654 w 3429"/>
                <a:gd name="T91" fmla="*/ 2203 h 3499"/>
                <a:gd name="T92" fmla="*/ 2598 w 3429"/>
                <a:gd name="T93" fmla="*/ 3132 h 3499"/>
                <a:gd name="T94" fmla="*/ 2749 w 3429"/>
                <a:gd name="T95" fmla="*/ 3287 h 3499"/>
                <a:gd name="T96" fmla="*/ 2910 w 3429"/>
                <a:gd name="T97" fmla="*/ 3171 h 3499"/>
                <a:gd name="T98" fmla="*/ 3010 w 3429"/>
                <a:gd name="T99" fmla="*/ 2969 h 3499"/>
                <a:gd name="T100" fmla="*/ 2841 w 3429"/>
                <a:gd name="T101" fmla="*/ 2797 h 3499"/>
                <a:gd name="T102" fmla="*/ 2720 w 3429"/>
                <a:gd name="T103" fmla="*/ 2703 h 3499"/>
                <a:gd name="T104" fmla="*/ 2766 w 3429"/>
                <a:gd name="T105" fmla="*/ 2615 h 3499"/>
                <a:gd name="T106" fmla="*/ 2851 w 3429"/>
                <a:gd name="T107" fmla="*/ 2694 h 3499"/>
                <a:gd name="T108" fmla="*/ 3008 w 3429"/>
                <a:gd name="T109" fmla="*/ 2691 h 3499"/>
                <a:gd name="T110" fmla="*/ 2877 w 3429"/>
                <a:gd name="T111" fmla="*/ 2510 h 3499"/>
                <a:gd name="T112" fmla="*/ 2740 w 3429"/>
                <a:gd name="T113" fmla="*/ 2405 h 3499"/>
                <a:gd name="T114" fmla="*/ 2590 w 3429"/>
                <a:gd name="T115" fmla="*/ 2576 h 3499"/>
                <a:gd name="T116" fmla="*/ 2587 w 3429"/>
                <a:gd name="T117" fmla="*/ 2800 h 3499"/>
                <a:gd name="T118" fmla="*/ 2818 w 3429"/>
                <a:gd name="T119" fmla="*/ 2937 h 3499"/>
                <a:gd name="T120" fmla="*/ 2836 w 3429"/>
                <a:gd name="T121" fmla="*/ 3047 h 3499"/>
                <a:gd name="T122" fmla="*/ 2726 w 3429"/>
                <a:gd name="T123" fmla="*/ 3063 h 3499"/>
                <a:gd name="T124" fmla="*/ 2672 w 3429"/>
                <a:gd name="T125" fmla="*/ 2971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429" h="3499">
                  <a:moveTo>
                    <a:pt x="1258" y="3029"/>
                  </a:moveTo>
                  <a:lnTo>
                    <a:pt x="0" y="3029"/>
                  </a:lnTo>
                  <a:lnTo>
                    <a:pt x="0" y="2621"/>
                  </a:lnTo>
                  <a:lnTo>
                    <a:pt x="2" y="2585"/>
                  </a:lnTo>
                  <a:lnTo>
                    <a:pt x="8" y="2550"/>
                  </a:lnTo>
                  <a:lnTo>
                    <a:pt x="19" y="2515"/>
                  </a:lnTo>
                  <a:lnTo>
                    <a:pt x="34" y="2482"/>
                  </a:lnTo>
                  <a:lnTo>
                    <a:pt x="53" y="2451"/>
                  </a:lnTo>
                  <a:lnTo>
                    <a:pt x="76" y="2422"/>
                  </a:lnTo>
                  <a:lnTo>
                    <a:pt x="103" y="2397"/>
                  </a:lnTo>
                  <a:lnTo>
                    <a:pt x="169" y="2343"/>
                  </a:lnTo>
                  <a:lnTo>
                    <a:pt x="236" y="2292"/>
                  </a:lnTo>
                  <a:lnTo>
                    <a:pt x="303" y="2243"/>
                  </a:lnTo>
                  <a:lnTo>
                    <a:pt x="368" y="2196"/>
                  </a:lnTo>
                  <a:lnTo>
                    <a:pt x="433" y="2153"/>
                  </a:lnTo>
                  <a:lnTo>
                    <a:pt x="496" y="2111"/>
                  </a:lnTo>
                  <a:lnTo>
                    <a:pt x="558" y="2072"/>
                  </a:lnTo>
                  <a:lnTo>
                    <a:pt x="616" y="2037"/>
                  </a:lnTo>
                  <a:lnTo>
                    <a:pt x="672" y="2004"/>
                  </a:lnTo>
                  <a:lnTo>
                    <a:pt x="724" y="1973"/>
                  </a:lnTo>
                  <a:lnTo>
                    <a:pt x="773" y="1947"/>
                  </a:lnTo>
                  <a:lnTo>
                    <a:pt x="817" y="1922"/>
                  </a:lnTo>
                  <a:lnTo>
                    <a:pt x="856" y="1901"/>
                  </a:lnTo>
                  <a:lnTo>
                    <a:pt x="860" y="1909"/>
                  </a:lnTo>
                  <a:lnTo>
                    <a:pt x="866" y="1924"/>
                  </a:lnTo>
                  <a:lnTo>
                    <a:pt x="874" y="1942"/>
                  </a:lnTo>
                  <a:lnTo>
                    <a:pt x="884" y="1965"/>
                  </a:lnTo>
                  <a:lnTo>
                    <a:pt x="895" y="1991"/>
                  </a:lnTo>
                  <a:lnTo>
                    <a:pt x="909" y="2021"/>
                  </a:lnTo>
                  <a:lnTo>
                    <a:pt x="924" y="2053"/>
                  </a:lnTo>
                  <a:lnTo>
                    <a:pt x="939" y="2087"/>
                  </a:lnTo>
                  <a:lnTo>
                    <a:pt x="956" y="2124"/>
                  </a:lnTo>
                  <a:lnTo>
                    <a:pt x="974" y="2161"/>
                  </a:lnTo>
                  <a:lnTo>
                    <a:pt x="992" y="2199"/>
                  </a:lnTo>
                  <a:lnTo>
                    <a:pt x="1010" y="2238"/>
                  </a:lnTo>
                  <a:lnTo>
                    <a:pt x="1029" y="2277"/>
                  </a:lnTo>
                  <a:lnTo>
                    <a:pt x="1048" y="2315"/>
                  </a:lnTo>
                  <a:lnTo>
                    <a:pt x="1067" y="2351"/>
                  </a:lnTo>
                  <a:lnTo>
                    <a:pt x="1086" y="2387"/>
                  </a:lnTo>
                  <a:lnTo>
                    <a:pt x="1105" y="2420"/>
                  </a:lnTo>
                  <a:lnTo>
                    <a:pt x="1123" y="2451"/>
                  </a:lnTo>
                  <a:lnTo>
                    <a:pt x="1140" y="2479"/>
                  </a:lnTo>
                  <a:lnTo>
                    <a:pt x="1157" y="2503"/>
                  </a:lnTo>
                  <a:lnTo>
                    <a:pt x="1157" y="2501"/>
                  </a:lnTo>
                  <a:lnTo>
                    <a:pt x="1159" y="2493"/>
                  </a:lnTo>
                  <a:lnTo>
                    <a:pt x="1163" y="2481"/>
                  </a:lnTo>
                  <a:lnTo>
                    <a:pt x="1168" y="2465"/>
                  </a:lnTo>
                  <a:lnTo>
                    <a:pt x="1176" y="2446"/>
                  </a:lnTo>
                  <a:lnTo>
                    <a:pt x="1184" y="2424"/>
                  </a:lnTo>
                  <a:lnTo>
                    <a:pt x="1194" y="2401"/>
                  </a:lnTo>
                  <a:lnTo>
                    <a:pt x="1204" y="2377"/>
                  </a:lnTo>
                  <a:lnTo>
                    <a:pt x="1217" y="2352"/>
                  </a:lnTo>
                  <a:lnTo>
                    <a:pt x="1231" y="2327"/>
                  </a:lnTo>
                  <a:lnTo>
                    <a:pt x="1247" y="2303"/>
                  </a:lnTo>
                  <a:lnTo>
                    <a:pt x="1263" y="2280"/>
                  </a:lnTo>
                  <a:lnTo>
                    <a:pt x="1281" y="2260"/>
                  </a:lnTo>
                  <a:lnTo>
                    <a:pt x="1300" y="2242"/>
                  </a:lnTo>
                  <a:lnTo>
                    <a:pt x="1320" y="2228"/>
                  </a:lnTo>
                  <a:lnTo>
                    <a:pt x="1341" y="2217"/>
                  </a:lnTo>
                  <a:lnTo>
                    <a:pt x="1364" y="2211"/>
                  </a:lnTo>
                  <a:lnTo>
                    <a:pt x="1387" y="2211"/>
                  </a:lnTo>
                  <a:lnTo>
                    <a:pt x="1412" y="2216"/>
                  </a:lnTo>
                  <a:lnTo>
                    <a:pt x="1438" y="2228"/>
                  </a:lnTo>
                  <a:lnTo>
                    <a:pt x="1436" y="2226"/>
                  </a:lnTo>
                  <a:lnTo>
                    <a:pt x="1430" y="2222"/>
                  </a:lnTo>
                  <a:lnTo>
                    <a:pt x="1420" y="2214"/>
                  </a:lnTo>
                  <a:lnTo>
                    <a:pt x="1406" y="2204"/>
                  </a:lnTo>
                  <a:lnTo>
                    <a:pt x="1390" y="2190"/>
                  </a:lnTo>
                  <a:lnTo>
                    <a:pt x="1370" y="2175"/>
                  </a:lnTo>
                  <a:lnTo>
                    <a:pt x="1349" y="2158"/>
                  </a:lnTo>
                  <a:lnTo>
                    <a:pt x="1326" y="2139"/>
                  </a:lnTo>
                  <a:lnTo>
                    <a:pt x="1301" y="2118"/>
                  </a:lnTo>
                  <a:lnTo>
                    <a:pt x="1274" y="2096"/>
                  </a:lnTo>
                  <a:lnTo>
                    <a:pt x="1247" y="2073"/>
                  </a:lnTo>
                  <a:lnTo>
                    <a:pt x="1218" y="2049"/>
                  </a:lnTo>
                  <a:lnTo>
                    <a:pt x="1190" y="2024"/>
                  </a:lnTo>
                  <a:lnTo>
                    <a:pt x="1161" y="2000"/>
                  </a:lnTo>
                  <a:lnTo>
                    <a:pt x="1132" y="1974"/>
                  </a:lnTo>
                  <a:lnTo>
                    <a:pt x="1104" y="1949"/>
                  </a:lnTo>
                  <a:lnTo>
                    <a:pt x="1077" y="1924"/>
                  </a:lnTo>
                  <a:lnTo>
                    <a:pt x="1052" y="1900"/>
                  </a:lnTo>
                  <a:lnTo>
                    <a:pt x="1028" y="1877"/>
                  </a:lnTo>
                  <a:lnTo>
                    <a:pt x="1006" y="1854"/>
                  </a:lnTo>
                  <a:lnTo>
                    <a:pt x="986" y="1833"/>
                  </a:lnTo>
                  <a:lnTo>
                    <a:pt x="969" y="1813"/>
                  </a:lnTo>
                  <a:lnTo>
                    <a:pt x="969" y="1545"/>
                  </a:lnTo>
                  <a:lnTo>
                    <a:pt x="940" y="1487"/>
                  </a:lnTo>
                  <a:lnTo>
                    <a:pt x="915" y="1430"/>
                  </a:lnTo>
                  <a:lnTo>
                    <a:pt x="897" y="1373"/>
                  </a:lnTo>
                  <a:lnTo>
                    <a:pt x="886" y="1317"/>
                  </a:lnTo>
                  <a:lnTo>
                    <a:pt x="875" y="1315"/>
                  </a:lnTo>
                  <a:lnTo>
                    <a:pt x="865" y="1310"/>
                  </a:lnTo>
                  <a:lnTo>
                    <a:pt x="854" y="1301"/>
                  </a:lnTo>
                  <a:lnTo>
                    <a:pt x="842" y="1289"/>
                  </a:lnTo>
                  <a:lnTo>
                    <a:pt x="831" y="1272"/>
                  </a:lnTo>
                  <a:lnTo>
                    <a:pt x="819" y="1251"/>
                  </a:lnTo>
                  <a:lnTo>
                    <a:pt x="806" y="1225"/>
                  </a:lnTo>
                  <a:lnTo>
                    <a:pt x="794" y="1194"/>
                  </a:lnTo>
                  <a:lnTo>
                    <a:pt x="781" y="1156"/>
                  </a:lnTo>
                  <a:lnTo>
                    <a:pt x="768" y="1112"/>
                  </a:lnTo>
                  <a:lnTo>
                    <a:pt x="758" y="1071"/>
                  </a:lnTo>
                  <a:lnTo>
                    <a:pt x="751" y="1035"/>
                  </a:lnTo>
                  <a:lnTo>
                    <a:pt x="746" y="1003"/>
                  </a:lnTo>
                  <a:lnTo>
                    <a:pt x="745" y="975"/>
                  </a:lnTo>
                  <a:lnTo>
                    <a:pt x="745" y="952"/>
                  </a:lnTo>
                  <a:lnTo>
                    <a:pt x="748" y="932"/>
                  </a:lnTo>
                  <a:lnTo>
                    <a:pt x="752" y="915"/>
                  </a:lnTo>
                  <a:lnTo>
                    <a:pt x="759" y="901"/>
                  </a:lnTo>
                  <a:lnTo>
                    <a:pt x="766" y="889"/>
                  </a:lnTo>
                  <a:lnTo>
                    <a:pt x="775" y="881"/>
                  </a:lnTo>
                  <a:lnTo>
                    <a:pt x="784" y="874"/>
                  </a:lnTo>
                  <a:lnTo>
                    <a:pt x="794" y="870"/>
                  </a:lnTo>
                  <a:lnTo>
                    <a:pt x="805" y="867"/>
                  </a:lnTo>
                  <a:lnTo>
                    <a:pt x="816" y="866"/>
                  </a:lnTo>
                  <a:lnTo>
                    <a:pt x="811" y="840"/>
                  </a:lnTo>
                  <a:lnTo>
                    <a:pt x="805" y="815"/>
                  </a:lnTo>
                  <a:lnTo>
                    <a:pt x="796" y="754"/>
                  </a:lnTo>
                  <a:lnTo>
                    <a:pt x="789" y="696"/>
                  </a:lnTo>
                  <a:lnTo>
                    <a:pt x="788" y="638"/>
                  </a:lnTo>
                  <a:lnTo>
                    <a:pt x="794" y="583"/>
                  </a:lnTo>
                  <a:lnTo>
                    <a:pt x="805" y="528"/>
                  </a:lnTo>
                  <a:lnTo>
                    <a:pt x="819" y="477"/>
                  </a:lnTo>
                  <a:lnTo>
                    <a:pt x="838" y="430"/>
                  </a:lnTo>
                  <a:lnTo>
                    <a:pt x="860" y="386"/>
                  </a:lnTo>
                  <a:lnTo>
                    <a:pt x="885" y="344"/>
                  </a:lnTo>
                  <a:lnTo>
                    <a:pt x="911" y="305"/>
                  </a:lnTo>
                  <a:lnTo>
                    <a:pt x="940" y="268"/>
                  </a:lnTo>
                  <a:lnTo>
                    <a:pt x="969" y="234"/>
                  </a:lnTo>
                  <a:lnTo>
                    <a:pt x="1018" y="188"/>
                  </a:lnTo>
                  <a:lnTo>
                    <a:pt x="1070" y="145"/>
                  </a:lnTo>
                  <a:lnTo>
                    <a:pt x="1123" y="105"/>
                  </a:lnTo>
                  <a:lnTo>
                    <a:pt x="1158" y="82"/>
                  </a:lnTo>
                  <a:lnTo>
                    <a:pt x="1194" y="62"/>
                  </a:lnTo>
                  <a:lnTo>
                    <a:pt x="1233" y="44"/>
                  </a:lnTo>
                  <a:lnTo>
                    <a:pt x="1273" y="29"/>
                  </a:lnTo>
                  <a:lnTo>
                    <a:pt x="1318" y="16"/>
                  </a:lnTo>
                  <a:lnTo>
                    <a:pt x="1362" y="8"/>
                  </a:lnTo>
                  <a:lnTo>
                    <a:pt x="1409" y="2"/>
                  </a:lnTo>
                  <a:lnTo>
                    <a:pt x="1457" y="0"/>
                  </a:lnTo>
                  <a:lnTo>
                    <a:pt x="1503" y="0"/>
                  </a:lnTo>
                  <a:lnTo>
                    <a:pt x="1546" y="5"/>
                  </a:lnTo>
                  <a:lnTo>
                    <a:pt x="1586" y="12"/>
                  </a:lnTo>
                  <a:lnTo>
                    <a:pt x="1623" y="22"/>
                  </a:lnTo>
                  <a:lnTo>
                    <a:pt x="1658" y="33"/>
                  </a:lnTo>
                  <a:lnTo>
                    <a:pt x="1691" y="46"/>
                  </a:lnTo>
                  <a:lnTo>
                    <a:pt x="1721" y="61"/>
                  </a:lnTo>
                  <a:lnTo>
                    <a:pt x="1749" y="77"/>
                  </a:lnTo>
                  <a:lnTo>
                    <a:pt x="1783" y="97"/>
                  </a:lnTo>
                  <a:lnTo>
                    <a:pt x="1813" y="118"/>
                  </a:lnTo>
                  <a:lnTo>
                    <a:pt x="1838" y="138"/>
                  </a:lnTo>
                  <a:lnTo>
                    <a:pt x="1859" y="160"/>
                  </a:lnTo>
                  <a:lnTo>
                    <a:pt x="1876" y="178"/>
                  </a:lnTo>
                  <a:lnTo>
                    <a:pt x="1890" y="196"/>
                  </a:lnTo>
                  <a:lnTo>
                    <a:pt x="1901" y="209"/>
                  </a:lnTo>
                  <a:lnTo>
                    <a:pt x="1908" y="221"/>
                  </a:lnTo>
                  <a:lnTo>
                    <a:pt x="1912" y="228"/>
                  </a:lnTo>
                  <a:lnTo>
                    <a:pt x="1913" y="231"/>
                  </a:lnTo>
                  <a:lnTo>
                    <a:pt x="1914" y="231"/>
                  </a:lnTo>
                  <a:lnTo>
                    <a:pt x="1919" y="231"/>
                  </a:lnTo>
                  <a:lnTo>
                    <a:pt x="1924" y="232"/>
                  </a:lnTo>
                  <a:lnTo>
                    <a:pt x="1931" y="234"/>
                  </a:lnTo>
                  <a:lnTo>
                    <a:pt x="1940" y="236"/>
                  </a:lnTo>
                  <a:lnTo>
                    <a:pt x="1949" y="240"/>
                  </a:lnTo>
                  <a:lnTo>
                    <a:pt x="1961" y="245"/>
                  </a:lnTo>
                  <a:lnTo>
                    <a:pt x="1973" y="251"/>
                  </a:lnTo>
                  <a:lnTo>
                    <a:pt x="1986" y="259"/>
                  </a:lnTo>
                  <a:lnTo>
                    <a:pt x="1999" y="269"/>
                  </a:lnTo>
                  <a:lnTo>
                    <a:pt x="2013" y="281"/>
                  </a:lnTo>
                  <a:lnTo>
                    <a:pt x="2027" y="294"/>
                  </a:lnTo>
                  <a:lnTo>
                    <a:pt x="2039" y="310"/>
                  </a:lnTo>
                  <a:lnTo>
                    <a:pt x="2052" y="329"/>
                  </a:lnTo>
                  <a:lnTo>
                    <a:pt x="2065" y="351"/>
                  </a:lnTo>
                  <a:lnTo>
                    <a:pt x="2076" y="374"/>
                  </a:lnTo>
                  <a:lnTo>
                    <a:pt x="2087" y="402"/>
                  </a:lnTo>
                  <a:lnTo>
                    <a:pt x="2095" y="432"/>
                  </a:lnTo>
                  <a:lnTo>
                    <a:pt x="2104" y="466"/>
                  </a:lnTo>
                  <a:lnTo>
                    <a:pt x="2109" y="504"/>
                  </a:lnTo>
                  <a:lnTo>
                    <a:pt x="2113" y="545"/>
                  </a:lnTo>
                  <a:lnTo>
                    <a:pt x="2116" y="591"/>
                  </a:lnTo>
                  <a:lnTo>
                    <a:pt x="2114" y="640"/>
                  </a:lnTo>
                  <a:lnTo>
                    <a:pt x="2111" y="694"/>
                  </a:lnTo>
                  <a:lnTo>
                    <a:pt x="2106" y="751"/>
                  </a:lnTo>
                  <a:lnTo>
                    <a:pt x="2096" y="815"/>
                  </a:lnTo>
                  <a:lnTo>
                    <a:pt x="2091" y="840"/>
                  </a:lnTo>
                  <a:lnTo>
                    <a:pt x="2086" y="866"/>
                  </a:lnTo>
                  <a:lnTo>
                    <a:pt x="2096" y="867"/>
                  </a:lnTo>
                  <a:lnTo>
                    <a:pt x="2106" y="868"/>
                  </a:lnTo>
                  <a:lnTo>
                    <a:pt x="2116" y="872"/>
                  </a:lnTo>
                  <a:lnTo>
                    <a:pt x="2125" y="876"/>
                  </a:lnTo>
                  <a:lnTo>
                    <a:pt x="2133" y="884"/>
                  </a:lnTo>
                  <a:lnTo>
                    <a:pt x="2142" y="893"/>
                  </a:lnTo>
                  <a:lnTo>
                    <a:pt x="2148" y="905"/>
                  </a:lnTo>
                  <a:lnTo>
                    <a:pt x="2154" y="919"/>
                  </a:lnTo>
                  <a:lnTo>
                    <a:pt x="2157" y="937"/>
                  </a:lnTo>
                  <a:lnTo>
                    <a:pt x="2159" y="957"/>
                  </a:lnTo>
                  <a:lnTo>
                    <a:pt x="2158" y="980"/>
                  </a:lnTo>
                  <a:lnTo>
                    <a:pt x="2156" y="1007"/>
                  </a:lnTo>
                  <a:lnTo>
                    <a:pt x="2151" y="1038"/>
                  </a:lnTo>
                  <a:lnTo>
                    <a:pt x="2144" y="1073"/>
                  </a:lnTo>
                  <a:lnTo>
                    <a:pt x="2133" y="1112"/>
                  </a:lnTo>
                  <a:lnTo>
                    <a:pt x="2119" y="1160"/>
                  </a:lnTo>
                  <a:lnTo>
                    <a:pt x="2104" y="1201"/>
                  </a:lnTo>
                  <a:lnTo>
                    <a:pt x="2090" y="1234"/>
                  </a:lnTo>
                  <a:lnTo>
                    <a:pt x="2076" y="1262"/>
                  </a:lnTo>
                  <a:lnTo>
                    <a:pt x="2063" y="1282"/>
                  </a:lnTo>
                  <a:lnTo>
                    <a:pt x="2050" y="1298"/>
                  </a:lnTo>
                  <a:lnTo>
                    <a:pt x="2038" y="1308"/>
                  </a:lnTo>
                  <a:lnTo>
                    <a:pt x="2027" y="1315"/>
                  </a:lnTo>
                  <a:lnTo>
                    <a:pt x="2016" y="1317"/>
                  </a:lnTo>
                  <a:lnTo>
                    <a:pt x="2004" y="1373"/>
                  </a:lnTo>
                  <a:lnTo>
                    <a:pt x="1986" y="1430"/>
                  </a:lnTo>
                  <a:lnTo>
                    <a:pt x="1962" y="1487"/>
                  </a:lnTo>
                  <a:lnTo>
                    <a:pt x="1932" y="1545"/>
                  </a:lnTo>
                  <a:lnTo>
                    <a:pt x="1932" y="1813"/>
                  </a:lnTo>
                  <a:lnTo>
                    <a:pt x="1914" y="1832"/>
                  </a:lnTo>
                  <a:lnTo>
                    <a:pt x="1894" y="1853"/>
                  </a:lnTo>
                  <a:lnTo>
                    <a:pt x="1872" y="1875"/>
                  </a:lnTo>
                  <a:lnTo>
                    <a:pt x="1849" y="1899"/>
                  </a:lnTo>
                  <a:lnTo>
                    <a:pt x="1822" y="1922"/>
                  </a:lnTo>
                  <a:lnTo>
                    <a:pt x="1796" y="1947"/>
                  </a:lnTo>
                  <a:lnTo>
                    <a:pt x="1768" y="1972"/>
                  </a:lnTo>
                  <a:lnTo>
                    <a:pt x="1740" y="1997"/>
                  </a:lnTo>
                  <a:lnTo>
                    <a:pt x="1711" y="2022"/>
                  </a:lnTo>
                  <a:lnTo>
                    <a:pt x="1683" y="2045"/>
                  </a:lnTo>
                  <a:lnTo>
                    <a:pt x="1654" y="2070"/>
                  </a:lnTo>
                  <a:lnTo>
                    <a:pt x="1627" y="2093"/>
                  </a:lnTo>
                  <a:lnTo>
                    <a:pt x="1600" y="2114"/>
                  </a:lnTo>
                  <a:lnTo>
                    <a:pt x="1575" y="2135"/>
                  </a:lnTo>
                  <a:lnTo>
                    <a:pt x="1551" y="2154"/>
                  </a:lnTo>
                  <a:lnTo>
                    <a:pt x="1530" y="2172"/>
                  </a:lnTo>
                  <a:lnTo>
                    <a:pt x="1511" y="2187"/>
                  </a:lnTo>
                  <a:lnTo>
                    <a:pt x="1495" y="2199"/>
                  </a:lnTo>
                  <a:lnTo>
                    <a:pt x="1482" y="2210"/>
                  </a:lnTo>
                  <a:lnTo>
                    <a:pt x="1472" y="2217"/>
                  </a:lnTo>
                  <a:lnTo>
                    <a:pt x="1466" y="2223"/>
                  </a:lnTo>
                  <a:lnTo>
                    <a:pt x="1464" y="2225"/>
                  </a:lnTo>
                  <a:lnTo>
                    <a:pt x="1489" y="2213"/>
                  </a:lnTo>
                  <a:lnTo>
                    <a:pt x="1514" y="2208"/>
                  </a:lnTo>
                  <a:lnTo>
                    <a:pt x="1538" y="2209"/>
                  </a:lnTo>
                  <a:lnTo>
                    <a:pt x="1560" y="2215"/>
                  </a:lnTo>
                  <a:lnTo>
                    <a:pt x="1582" y="2226"/>
                  </a:lnTo>
                  <a:lnTo>
                    <a:pt x="1602" y="2240"/>
                  </a:lnTo>
                  <a:lnTo>
                    <a:pt x="1621" y="2258"/>
                  </a:lnTo>
                  <a:lnTo>
                    <a:pt x="1638" y="2279"/>
                  </a:lnTo>
                  <a:lnTo>
                    <a:pt x="1655" y="2301"/>
                  </a:lnTo>
                  <a:lnTo>
                    <a:pt x="1670" y="2325"/>
                  </a:lnTo>
                  <a:lnTo>
                    <a:pt x="1685" y="2349"/>
                  </a:lnTo>
                  <a:lnTo>
                    <a:pt x="1696" y="2375"/>
                  </a:lnTo>
                  <a:lnTo>
                    <a:pt x="1708" y="2399"/>
                  </a:lnTo>
                  <a:lnTo>
                    <a:pt x="1718" y="2421"/>
                  </a:lnTo>
                  <a:lnTo>
                    <a:pt x="1726" y="2442"/>
                  </a:lnTo>
                  <a:lnTo>
                    <a:pt x="1733" y="2462"/>
                  </a:lnTo>
                  <a:lnTo>
                    <a:pt x="1739" y="2478"/>
                  </a:lnTo>
                  <a:lnTo>
                    <a:pt x="1742" y="2489"/>
                  </a:lnTo>
                  <a:lnTo>
                    <a:pt x="1745" y="2497"/>
                  </a:lnTo>
                  <a:lnTo>
                    <a:pt x="1745" y="2500"/>
                  </a:lnTo>
                  <a:lnTo>
                    <a:pt x="1762" y="2475"/>
                  </a:lnTo>
                  <a:lnTo>
                    <a:pt x="1779" y="2448"/>
                  </a:lnTo>
                  <a:lnTo>
                    <a:pt x="1797" y="2417"/>
                  </a:lnTo>
                  <a:lnTo>
                    <a:pt x="1816" y="2383"/>
                  </a:lnTo>
                  <a:lnTo>
                    <a:pt x="1834" y="2348"/>
                  </a:lnTo>
                  <a:lnTo>
                    <a:pt x="1854" y="2311"/>
                  </a:lnTo>
                  <a:lnTo>
                    <a:pt x="1873" y="2273"/>
                  </a:lnTo>
                  <a:lnTo>
                    <a:pt x="1891" y="2234"/>
                  </a:lnTo>
                  <a:lnTo>
                    <a:pt x="1910" y="2196"/>
                  </a:lnTo>
                  <a:lnTo>
                    <a:pt x="1928" y="2157"/>
                  </a:lnTo>
                  <a:lnTo>
                    <a:pt x="1946" y="2120"/>
                  </a:lnTo>
                  <a:lnTo>
                    <a:pt x="1962" y="2084"/>
                  </a:lnTo>
                  <a:lnTo>
                    <a:pt x="1978" y="2050"/>
                  </a:lnTo>
                  <a:lnTo>
                    <a:pt x="1993" y="2017"/>
                  </a:lnTo>
                  <a:lnTo>
                    <a:pt x="2005" y="1988"/>
                  </a:lnTo>
                  <a:lnTo>
                    <a:pt x="2017" y="1961"/>
                  </a:lnTo>
                  <a:lnTo>
                    <a:pt x="2028" y="1938"/>
                  </a:lnTo>
                  <a:lnTo>
                    <a:pt x="2035" y="1920"/>
                  </a:lnTo>
                  <a:lnTo>
                    <a:pt x="2041" y="1906"/>
                  </a:lnTo>
                  <a:lnTo>
                    <a:pt x="2046" y="1898"/>
                  </a:lnTo>
                  <a:lnTo>
                    <a:pt x="2080" y="1916"/>
                  </a:lnTo>
                  <a:lnTo>
                    <a:pt x="2117" y="1936"/>
                  </a:lnTo>
                  <a:lnTo>
                    <a:pt x="2158" y="1959"/>
                  </a:lnTo>
                  <a:lnTo>
                    <a:pt x="2201" y="1984"/>
                  </a:lnTo>
                  <a:lnTo>
                    <a:pt x="2249" y="2011"/>
                  </a:lnTo>
                  <a:lnTo>
                    <a:pt x="2299" y="2041"/>
                  </a:lnTo>
                  <a:lnTo>
                    <a:pt x="2350" y="2073"/>
                  </a:lnTo>
                  <a:lnTo>
                    <a:pt x="2404" y="2107"/>
                  </a:lnTo>
                  <a:lnTo>
                    <a:pt x="2344" y="2141"/>
                  </a:lnTo>
                  <a:lnTo>
                    <a:pt x="2287" y="2179"/>
                  </a:lnTo>
                  <a:lnTo>
                    <a:pt x="2234" y="2223"/>
                  </a:lnTo>
                  <a:lnTo>
                    <a:pt x="2184" y="2270"/>
                  </a:lnTo>
                  <a:lnTo>
                    <a:pt x="2139" y="2321"/>
                  </a:lnTo>
                  <a:lnTo>
                    <a:pt x="2098" y="2377"/>
                  </a:lnTo>
                  <a:lnTo>
                    <a:pt x="2062" y="2435"/>
                  </a:lnTo>
                  <a:lnTo>
                    <a:pt x="2030" y="2497"/>
                  </a:lnTo>
                  <a:lnTo>
                    <a:pt x="2003" y="2560"/>
                  </a:lnTo>
                  <a:lnTo>
                    <a:pt x="1982" y="2628"/>
                  </a:lnTo>
                  <a:lnTo>
                    <a:pt x="1966" y="2697"/>
                  </a:lnTo>
                  <a:lnTo>
                    <a:pt x="1957" y="2768"/>
                  </a:lnTo>
                  <a:lnTo>
                    <a:pt x="1954" y="2842"/>
                  </a:lnTo>
                  <a:lnTo>
                    <a:pt x="1957" y="2907"/>
                  </a:lnTo>
                  <a:lnTo>
                    <a:pt x="1964" y="2968"/>
                  </a:lnTo>
                  <a:lnTo>
                    <a:pt x="1976" y="3029"/>
                  </a:lnTo>
                  <a:lnTo>
                    <a:pt x="1258" y="3029"/>
                  </a:lnTo>
                  <a:close/>
                  <a:moveTo>
                    <a:pt x="2778" y="2191"/>
                  </a:moveTo>
                  <a:lnTo>
                    <a:pt x="2840" y="2194"/>
                  </a:lnTo>
                  <a:lnTo>
                    <a:pt x="2901" y="2203"/>
                  </a:lnTo>
                  <a:lnTo>
                    <a:pt x="2960" y="2217"/>
                  </a:lnTo>
                  <a:lnTo>
                    <a:pt x="3017" y="2236"/>
                  </a:lnTo>
                  <a:lnTo>
                    <a:pt x="3071" y="2261"/>
                  </a:lnTo>
                  <a:lnTo>
                    <a:pt x="3123" y="2291"/>
                  </a:lnTo>
                  <a:lnTo>
                    <a:pt x="3172" y="2324"/>
                  </a:lnTo>
                  <a:lnTo>
                    <a:pt x="3216" y="2362"/>
                  </a:lnTo>
                  <a:lnTo>
                    <a:pt x="3258" y="2403"/>
                  </a:lnTo>
                  <a:lnTo>
                    <a:pt x="3295" y="2449"/>
                  </a:lnTo>
                  <a:lnTo>
                    <a:pt x="3329" y="2497"/>
                  </a:lnTo>
                  <a:lnTo>
                    <a:pt x="3359" y="2549"/>
                  </a:lnTo>
                  <a:lnTo>
                    <a:pt x="3383" y="2603"/>
                  </a:lnTo>
                  <a:lnTo>
                    <a:pt x="3402" y="2660"/>
                  </a:lnTo>
                  <a:lnTo>
                    <a:pt x="3417" y="2720"/>
                  </a:lnTo>
                  <a:lnTo>
                    <a:pt x="3426" y="2781"/>
                  </a:lnTo>
                  <a:lnTo>
                    <a:pt x="3429" y="2845"/>
                  </a:lnTo>
                  <a:lnTo>
                    <a:pt x="3426" y="2908"/>
                  </a:lnTo>
                  <a:lnTo>
                    <a:pt x="3417" y="2969"/>
                  </a:lnTo>
                  <a:lnTo>
                    <a:pt x="3403" y="3028"/>
                  </a:lnTo>
                  <a:lnTo>
                    <a:pt x="3383" y="3085"/>
                  </a:lnTo>
                  <a:lnTo>
                    <a:pt x="3359" y="3139"/>
                  </a:lnTo>
                  <a:lnTo>
                    <a:pt x="3330" y="3191"/>
                  </a:lnTo>
                  <a:lnTo>
                    <a:pt x="3297" y="3240"/>
                  </a:lnTo>
                  <a:lnTo>
                    <a:pt x="3260" y="3286"/>
                  </a:lnTo>
                  <a:lnTo>
                    <a:pt x="3218" y="3327"/>
                  </a:lnTo>
                  <a:lnTo>
                    <a:pt x="3173" y="3365"/>
                  </a:lnTo>
                  <a:lnTo>
                    <a:pt x="3124" y="3399"/>
                  </a:lnTo>
                  <a:lnTo>
                    <a:pt x="3072" y="3428"/>
                  </a:lnTo>
                  <a:lnTo>
                    <a:pt x="3018" y="3452"/>
                  </a:lnTo>
                  <a:lnTo>
                    <a:pt x="2961" y="3472"/>
                  </a:lnTo>
                  <a:lnTo>
                    <a:pt x="2902" y="3486"/>
                  </a:lnTo>
                  <a:lnTo>
                    <a:pt x="2840" y="3496"/>
                  </a:lnTo>
                  <a:lnTo>
                    <a:pt x="2778" y="3499"/>
                  </a:lnTo>
                  <a:lnTo>
                    <a:pt x="2714" y="3496"/>
                  </a:lnTo>
                  <a:lnTo>
                    <a:pt x="2654" y="3487"/>
                  </a:lnTo>
                  <a:lnTo>
                    <a:pt x="2595" y="3472"/>
                  </a:lnTo>
                  <a:lnTo>
                    <a:pt x="2538" y="3453"/>
                  </a:lnTo>
                  <a:lnTo>
                    <a:pt x="2484" y="3429"/>
                  </a:lnTo>
                  <a:lnTo>
                    <a:pt x="2432" y="3399"/>
                  </a:lnTo>
                  <a:lnTo>
                    <a:pt x="2384" y="3366"/>
                  </a:lnTo>
                  <a:lnTo>
                    <a:pt x="2339" y="3328"/>
                  </a:lnTo>
                  <a:lnTo>
                    <a:pt x="2296" y="3287"/>
                  </a:lnTo>
                  <a:lnTo>
                    <a:pt x="2259" y="3242"/>
                  </a:lnTo>
                  <a:lnTo>
                    <a:pt x="2226" y="3193"/>
                  </a:lnTo>
                  <a:lnTo>
                    <a:pt x="2196" y="3141"/>
                  </a:lnTo>
                  <a:lnTo>
                    <a:pt x="2172" y="3087"/>
                  </a:lnTo>
                  <a:lnTo>
                    <a:pt x="2153" y="3030"/>
                  </a:lnTo>
                  <a:lnTo>
                    <a:pt x="2138" y="2970"/>
                  </a:lnTo>
                  <a:lnTo>
                    <a:pt x="2129" y="2909"/>
                  </a:lnTo>
                  <a:lnTo>
                    <a:pt x="2126" y="2845"/>
                  </a:lnTo>
                  <a:lnTo>
                    <a:pt x="2129" y="2781"/>
                  </a:lnTo>
                  <a:lnTo>
                    <a:pt x="2138" y="2720"/>
                  </a:lnTo>
                  <a:lnTo>
                    <a:pt x="2153" y="2660"/>
                  </a:lnTo>
                  <a:lnTo>
                    <a:pt x="2172" y="2603"/>
                  </a:lnTo>
                  <a:lnTo>
                    <a:pt x="2196" y="2549"/>
                  </a:lnTo>
                  <a:lnTo>
                    <a:pt x="2226" y="2497"/>
                  </a:lnTo>
                  <a:lnTo>
                    <a:pt x="2259" y="2449"/>
                  </a:lnTo>
                  <a:lnTo>
                    <a:pt x="2296" y="2403"/>
                  </a:lnTo>
                  <a:lnTo>
                    <a:pt x="2339" y="2362"/>
                  </a:lnTo>
                  <a:lnTo>
                    <a:pt x="2384" y="2324"/>
                  </a:lnTo>
                  <a:lnTo>
                    <a:pt x="2432" y="2291"/>
                  </a:lnTo>
                  <a:lnTo>
                    <a:pt x="2484" y="2261"/>
                  </a:lnTo>
                  <a:lnTo>
                    <a:pt x="2538" y="2236"/>
                  </a:lnTo>
                  <a:lnTo>
                    <a:pt x="2595" y="2217"/>
                  </a:lnTo>
                  <a:lnTo>
                    <a:pt x="2654" y="2203"/>
                  </a:lnTo>
                  <a:lnTo>
                    <a:pt x="2714" y="2194"/>
                  </a:lnTo>
                  <a:lnTo>
                    <a:pt x="2778" y="2191"/>
                  </a:lnTo>
                  <a:close/>
                  <a:moveTo>
                    <a:pt x="2540" y="2991"/>
                  </a:moveTo>
                  <a:lnTo>
                    <a:pt x="2543" y="3025"/>
                  </a:lnTo>
                  <a:lnTo>
                    <a:pt x="2552" y="3057"/>
                  </a:lnTo>
                  <a:lnTo>
                    <a:pt x="2563" y="3085"/>
                  </a:lnTo>
                  <a:lnTo>
                    <a:pt x="2578" y="3109"/>
                  </a:lnTo>
                  <a:lnTo>
                    <a:pt x="2598" y="3132"/>
                  </a:lnTo>
                  <a:lnTo>
                    <a:pt x="2623" y="3151"/>
                  </a:lnTo>
                  <a:lnTo>
                    <a:pt x="2650" y="3167"/>
                  </a:lnTo>
                  <a:lnTo>
                    <a:pt x="2679" y="3179"/>
                  </a:lnTo>
                  <a:lnTo>
                    <a:pt x="2709" y="3188"/>
                  </a:lnTo>
                  <a:lnTo>
                    <a:pt x="2741" y="3194"/>
                  </a:lnTo>
                  <a:lnTo>
                    <a:pt x="2741" y="3271"/>
                  </a:lnTo>
                  <a:lnTo>
                    <a:pt x="2743" y="3280"/>
                  </a:lnTo>
                  <a:lnTo>
                    <a:pt x="2749" y="3287"/>
                  </a:lnTo>
                  <a:lnTo>
                    <a:pt x="2759" y="3289"/>
                  </a:lnTo>
                  <a:lnTo>
                    <a:pt x="2829" y="3289"/>
                  </a:lnTo>
                  <a:lnTo>
                    <a:pt x="2838" y="3287"/>
                  </a:lnTo>
                  <a:lnTo>
                    <a:pt x="2845" y="3280"/>
                  </a:lnTo>
                  <a:lnTo>
                    <a:pt x="2847" y="3271"/>
                  </a:lnTo>
                  <a:lnTo>
                    <a:pt x="2847" y="3190"/>
                  </a:lnTo>
                  <a:lnTo>
                    <a:pt x="2881" y="3183"/>
                  </a:lnTo>
                  <a:lnTo>
                    <a:pt x="2910" y="3171"/>
                  </a:lnTo>
                  <a:lnTo>
                    <a:pt x="2937" y="3155"/>
                  </a:lnTo>
                  <a:lnTo>
                    <a:pt x="2960" y="3135"/>
                  </a:lnTo>
                  <a:lnTo>
                    <a:pt x="2978" y="3114"/>
                  </a:lnTo>
                  <a:lnTo>
                    <a:pt x="2993" y="3090"/>
                  </a:lnTo>
                  <a:lnTo>
                    <a:pt x="3003" y="3064"/>
                  </a:lnTo>
                  <a:lnTo>
                    <a:pt x="3010" y="3035"/>
                  </a:lnTo>
                  <a:lnTo>
                    <a:pt x="3012" y="3003"/>
                  </a:lnTo>
                  <a:lnTo>
                    <a:pt x="3010" y="2969"/>
                  </a:lnTo>
                  <a:lnTo>
                    <a:pt x="3003" y="2939"/>
                  </a:lnTo>
                  <a:lnTo>
                    <a:pt x="2993" y="2913"/>
                  </a:lnTo>
                  <a:lnTo>
                    <a:pt x="2978" y="2890"/>
                  </a:lnTo>
                  <a:lnTo>
                    <a:pt x="2960" y="2870"/>
                  </a:lnTo>
                  <a:lnTo>
                    <a:pt x="2938" y="2852"/>
                  </a:lnTo>
                  <a:lnTo>
                    <a:pt x="2910" y="2834"/>
                  </a:lnTo>
                  <a:lnTo>
                    <a:pt x="2879" y="2815"/>
                  </a:lnTo>
                  <a:lnTo>
                    <a:pt x="2841" y="2797"/>
                  </a:lnTo>
                  <a:lnTo>
                    <a:pt x="2799" y="2779"/>
                  </a:lnTo>
                  <a:lnTo>
                    <a:pt x="2777" y="2768"/>
                  </a:lnTo>
                  <a:lnTo>
                    <a:pt x="2760" y="2759"/>
                  </a:lnTo>
                  <a:lnTo>
                    <a:pt x="2747" y="2749"/>
                  </a:lnTo>
                  <a:lnTo>
                    <a:pt x="2737" y="2739"/>
                  </a:lnTo>
                  <a:lnTo>
                    <a:pt x="2729" y="2727"/>
                  </a:lnTo>
                  <a:lnTo>
                    <a:pt x="2724" y="2715"/>
                  </a:lnTo>
                  <a:lnTo>
                    <a:pt x="2720" y="2703"/>
                  </a:lnTo>
                  <a:lnTo>
                    <a:pt x="2719" y="2687"/>
                  </a:lnTo>
                  <a:lnTo>
                    <a:pt x="2720" y="2671"/>
                  </a:lnTo>
                  <a:lnTo>
                    <a:pt x="2722" y="2657"/>
                  </a:lnTo>
                  <a:lnTo>
                    <a:pt x="2726" y="2645"/>
                  </a:lnTo>
                  <a:lnTo>
                    <a:pt x="2734" y="2636"/>
                  </a:lnTo>
                  <a:lnTo>
                    <a:pt x="2743" y="2626"/>
                  </a:lnTo>
                  <a:lnTo>
                    <a:pt x="2754" y="2619"/>
                  </a:lnTo>
                  <a:lnTo>
                    <a:pt x="2766" y="2615"/>
                  </a:lnTo>
                  <a:lnTo>
                    <a:pt x="2781" y="2613"/>
                  </a:lnTo>
                  <a:lnTo>
                    <a:pt x="2797" y="2615"/>
                  </a:lnTo>
                  <a:lnTo>
                    <a:pt x="2811" y="2620"/>
                  </a:lnTo>
                  <a:lnTo>
                    <a:pt x="2822" y="2627"/>
                  </a:lnTo>
                  <a:lnTo>
                    <a:pt x="2832" y="2639"/>
                  </a:lnTo>
                  <a:lnTo>
                    <a:pt x="2841" y="2655"/>
                  </a:lnTo>
                  <a:lnTo>
                    <a:pt x="2849" y="2674"/>
                  </a:lnTo>
                  <a:lnTo>
                    <a:pt x="2851" y="2694"/>
                  </a:lnTo>
                  <a:lnTo>
                    <a:pt x="2852" y="2702"/>
                  </a:lnTo>
                  <a:lnTo>
                    <a:pt x="2857" y="2708"/>
                  </a:lnTo>
                  <a:lnTo>
                    <a:pt x="2865" y="2711"/>
                  </a:lnTo>
                  <a:lnTo>
                    <a:pt x="2872" y="2713"/>
                  </a:lnTo>
                  <a:lnTo>
                    <a:pt x="2986" y="2713"/>
                  </a:lnTo>
                  <a:lnTo>
                    <a:pt x="2997" y="2709"/>
                  </a:lnTo>
                  <a:lnTo>
                    <a:pt x="3004" y="2702"/>
                  </a:lnTo>
                  <a:lnTo>
                    <a:pt x="3008" y="2691"/>
                  </a:lnTo>
                  <a:lnTo>
                    <a:pt x="3004" y="2662"/>
                  </a:lnTo>
                  <a:lnTo>
                    <a:pt x="2998" y="2636"/>
                  </a:lnTo>
                  <a:lnTo>
                    <a:pt x="2989" y="2610"/>
                  </a:lnTo>
                  <a:lnTo>
                    <a:pt x="2976" y="2587"/>
                  </a:lnTo>
                  <a:lnTo>
                    <a:pt x="2960" y="2566"/>
                  </a:lnTo>
                  <a:lnTo>
                    <a:pt x="2937" y="2543"/>
                  </a:lnTo>
                  <a:lnTo>
                    <a:pt x="2909" y="2524"/>
                  </a:lnTo>
                  <a:lnTo>
                    <a:pt x="2877" y="2510"/>
                  </a:lnTo>
                  <a:lnTo>
                    <a:pt x="2844" y="2500"/>
                  </a:lnTo>
                  <a:lnTo>
                    <a:pt x="2844" y="2415"/>
                  </a:lnTo>
                  <a:lnTo>
                    <a:pt x="2841" y="2405"/>
                  </a:lnTo>
                  <a:lnTo>
                    <a:pt x="2835" y="2399"/>
                  </a:lnTo>
                  <a:lnTo>
                    <a:pt x="2825" y="2397"/>
                  </a:lnTo>
                  <a:lnTo>
                    <a:pt x="2756" y="2397"/>
                  </a:lnTo>
                  <a:lnTo>
                    <a:pt x="2746" y="2399"/>
                  </a:lnTo>
                  <a:lnTo>
                    <a:pt x="2740" y="2405"/>
                  </a:lnTo>
                  <a:lnTo>
                    <a:pt x="2737" y="2415"/>
                  </a:lnTo>
                  <a:lnTo>
                    <a:pt x="2737" y="2496"/>
                  </a:lnTo>
                  <a:lnTo>
                    <a:pt x="2707" y="2502"/>
                  </a:lnTo>
                  <a:lnTo>
                    <a:pt x="2680" y="2510"/>
                  </a:lnTo>
                  <a:lnTo>
                    <a:pt x="2654" y="2522"/>
                  </a:lnTo>
                  <a:lnTo>
                    <a:pt x="2630" y="2537"/>
                  </a:lnTo>
                  <a:lnTo>
                    <a:pt x="2609" y="2555"/>
                  </a:lnTo>
                  <a:lnTo>
                    <a:pt x="2590" y="2576"/>
                  </a:lnTo>
                  <a:lnTo>
                    <a:pt x="2574" y="2600"/>
                  </a:lnTo>
                  <a:lnTo>
                    <a:pt x="2563" y="2626"/>
                  </a:lnTo>
                  <a:lnTo>
                    <a:pt x="2557" y="2655"/>
                  </a:lnTo>
                  <a:lnTo>
                    <a:pt x="2555" y="2687"/>
                  </a:lnTo>
                  <a:lnTo>
                    <a:pt x="2557" y="2721"/>
                  </a:lnTo>
                  <a:lnTo>
                    <a:pt x="2563" y="2750"/>
                  </a:lnTo>
                  <a:lnTo>
                    <a:pt x="2573" y="2777"/>
                  </a:lnTo>
                  <a:lnTo>
                    <a:pt x="2587" y="2800"/>
                  </a:lnTo>
                  <a:lnTo>
                    <a:pt x="2605" y="2819"/>
                  </a:lnTo>
                  <a:lnTo>
                    <a:pt x="2634" y="2842"/>
                  </a:lnTo>
                  <a:lnTo>
                    <a:pt x="2671" y="2863"/>
                  </a:lnTo>
                  <a:lnTo>
                    <a:pt x="2716" y="2885"/>
                  </a:lnTo>
                  <a:lnTo>
                    <a:pt x="2766" y="2908"/>
                  </a:lnTo>
                  <a:lnTo>
                    <a:pt x="2788" y="2918"/>
                  </a:lnTo>
                  <a:lnTo>
                    <a:pt x="2804" y="2928"/>
                  </a:lnTo>
                  <a:lnTo>
                    <a:pt x="2818" y="2937"/>
                  </a:lnTo>
                  <a:lnTo>
                    <a:pt x="2829" y="2948"/>
                  </a:lnTo>
                  <a:lnTo>
                    <a:pt x="2836" y="2960"/>
                  </a:lnTo>
                  <a:lnTo>
                    <a:pt x="2841" y="2973"/>
                  </a:lnTo>
                  <a:lnTo>
                    <a:pt x="2846" y="2988"/>
                  </a:lnTo>
                  <a:lnTo>
                    <a:pt x="2847" y="3006"/>
                  </a:lnTo>
                  <a:lnTo>
                    <a:pt x="2846" y="3022"/>
                  </a:lnTo>
                  <a:lnTo>
                    <a:pt x="2841" y="3035"/>
                  </a:lnTo>
                  <a:lnTo>
                    <a:pt x="2836" y="3047"/>
                  </a:lnTo>
                  <a:lnTo>
                    <a:pt x="2829" y="3058"/>
                  </a:lnTo>
                  <a:lnTo>
                    <a:pt x="2819" y="3067"/>
                  </a:lnTo>
                  <a:lnTo>
                    <a:pt x="2808" y="3072"/>
                  </a:lnTo>
                  <a:lnTo>
                    <a:pt x="2793" y="3075"/>
                  </a:lnTo>
                  <a:lnTo>
                    <a:pt x="2778" y="3076"/>
                  </a:lnTo>
                  <a:lnTo>
                    <a:pt x="2759" y="3075"/>
                  </a:lnTo>
                  <a:lnTo>
                    <a:pt x="2742" y="3070"/>
                  </a:lnTo>
                  <a:lnTo>
                    <a:pt x="2726" y="3063"/>
                  </a:lnTo>
                  <a:lnTo>
                    <a:pt x="2711" y="3051"/>
                  </a:lnTo>
                  <a:lnTo>
                    <a:pt x="2702" y="3038"/>
                  </a:lnTo>
                  <a:lnTo>
                    <a:pt x="2694" y="3023"/>
                  </a:lnTo>
                  <a:lnTo>
                    <a:pt x="2689" y="3006"/>
                  </a:lnTo>
                  <a:lnTo>
                    <a:pt x="2686" y="2988"/>
                  </a:lnTo>
                  <a:lnTo>
                    <a:pt x="2684" y="2981"/>
                  </a:lnTo>
                  <a:lnTo>
                    <a:pt x="2680" y="2974"/>
                  </a:lnTo>
                  <a:lnTo>
                    <a:pt x="2672" y="2971"/>
                  </a:lnTo>
                  <a:lnTo>
                    <a:pt x="2664" y="2970"/>
                  </a:lnTo>
                  <a:lnTo>
                    <a:pt x="2550" y="2973"/>
                  </a:lnTo>
                  <a:lnTo>
                    <a:pt x="2549" y="2973"/>
                  </a:lnTo>
                  <a:lnTo>
                    <a:pt x="2546" y="2976"/>
                  </a:lnTo>
                  <a:lnTo>
                    <a:pt x="2543" y="2980"/>
                  </a:lnTo>
                  <a:lnTo>
                    <a:pt x="2541" y="2985"/>
                  </a:lnTo>
                  <a:lnTo>
                    <a:pt x="2540" y="2991"/>
                  </a:lnTo>
                  <a:close/>
                </a:path>
              </a:pathLst>
            </a:custGeom>
            <a:solidFill>
              <a:srgbClr val="26867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 Light" panose="020F0302020204030204"/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667481" y="3725096"/>
              <a:ext cx="1273190" cy="4616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en-US" sz="12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+mj-lt"/>
                  <a:cs typeface="Arial" panose="020B0604020202020204" pitchFamily="34" charset="0"/>
                </a:rPr>
                <a:t>Family Law Attorney</a:t>
              </a: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920333" y="3132611"/>
              <a:ext cx="592859" cy="519223"/>
              <a:chOff x="6642397" y="3708928"/>
              <a:chExt cx="404931" cy="354636"/>
            </a:xfrm>
            <a:solidFill>
              <a:srgbClr val="33B3A6"/>
            </a:solidFill>
          </p:grpSpPr>
          <p:grpSp>
            <p:nvGrpSpPr>
              <p:cNvPr id="35" name="Group 22"/>
              <p:cNvGrpSpPr>
                <a:grpSpLocks noChangeAspect="1"/>
              </p:cNvGrpSpPr>
              <p:nvPr/>
            </p:nvGrpSpPr>
            <p:grpSpPr bwMode="auto">
              <a:xfrm>
                <a:off x="6642397" y="3861015"/>
                <a:ext cx="404931" cy="202549"/>
                <a:chOff x="432" y="1652"/>
                <a:chExt cx="4896" cy="2449"/>
              </a:xfrm>
              <a:grpFill/>
            </p:grpSpPr>
            <p:sp>
              <p:nvSpPr>
                <p:cNvPr id="37" name="Freeform 25"/>
                <p:cNvSpPr>
                  <a:spLocks noEditPoints="1"/>
                </p:cNvSpPr>
                <p:nvPr/>
              </p:nvSpPr>
              <p:spPr bwMode="auto">
                <a:xfrm>
                  <a:off x="840" y="1652"/>
                  <a:ext cx="4488" cy="2449"/>
                </a:xfrm>
                <a:custGeom>
                  <a:avLst/>
                  <a:gdLst>
                    <a:gd name="T0" fmla="*/ 3875 w 4488"/>
                    <a:gd name="T1" fmla="*/ 1019 h 2449"/>
                    <a:gd name="T2" fmla="*/ 3872 w 4488"/>
                    <a:gd name="T3" fmla="*/ 540 h 2449"/>
                    <a:gd name="T4" fmla="*/ 3840 w 4488"/>
                    <a:gd name="T5" fmla="*/ 405 h 2449"/>
                    <a:gd name="T6" fmla="*/ 3780 w 4488"/>
                    <a:gd name="T7" fmla="*/ 283 h 2449"/>
                    <a:gd name="T8" fmla="*/ 3697 w 4488"/>
                    <a:gd name="T9" fmla="*/ 178 h 2449"/>
                    <a:gd name="T10" fmla="*/ 3592 w 4488"/>
                    <a:gd name="T11" fmla="*/ 95 h 2449"/>
                    <a:gd name="T12" fmla="*/ 3470 w 4488"/>
                    <a:gd name="T13" fmla="*/ 35 h 2449"/>
                    <a:gd name="T14" fmla="*/ 3335 w 4488"/>
                    <a:gd name="T15" fmla="*/ 3 h 2449"/>
                    <a:gd name="T16" fmla="*/ 3059 w 4488"/>
                    <a:gd name="T17" fmla="*/ 0 h 2449"/>
                    <a:gd name="T18" fmla="*/ 2516 w 4488"/>
                    <a:gd name="T19" fmla="*/ 271 h 2449"/>
                    <a:gd name="T20" fmla="*/ 2245 w 4488"/>
                    <a:gd name="T21" fmla="*/ 0 h 2449"/>
                    <a:gd name="T22" fmla="*/ 2245 w 4488"/>
                    <a:gd name="T23" fmla="*/ 816 h 2449"/>
                    <a:gd name="T24" fmla="*/ 203 w 4488"/>
                    <a:gd name="T25" fmla="*/ 0 h 2449"/>
                    <a:gd name="T26" fmla="*/ 125 w 4488"/>
                    <a:gd name="T27" fmla="*/ 14 h 2449"/>
                    <a:gd name="T28" fmla="*/ 59 w 4488"/>
                    <a:gd name="T29" fmla="*/ 59 h 2449"/>
                    <a:gd name="T30" fmla="*/ 16 w 4488"/>
                    <a:gd name="T31" fmla="*/ 124 h 2449"/>
                    <a:gd name="T32" fmla="*/ 0 w 4488"/>
                    <a:gd name="T33" fmla="*/ 203 h 2449"/>
                    <a:gd name="T34" fmla="*/ 16 w 4488"/>
                    <a:gd name="T35" fmla="*/ 283 h 2449"/>
                    <a:gd name="T36" fmla="*/ 59 w 4488"/>
                    <a:gd name="T37" fmla="*/ 347 h 2449"/>
                    <a:gd name="T38" fmla="*/ 125 w 4488"/>
                    <a:gd name="T39" fmla="*/ 391 h 2449"/>
                    <a:gd name="T40" fmla="*/ 203 w 4488"/>
                    <a:gd name="T41" fmla="*/ 408 h 2449"/>
                    <a:gd name="T42" fmla="*/ 1632 w 4488"/>
                    <a:gd name="T43" fmla="*/ 2041 h 2449"/>
                    <a:gd name="T44" fmla="*/ 2856 w 4488"/>
                    <a:gd name="T45" fmla="*/ 2244 h 2449"/>
                    <a:gd name="T46" fmla="*/ 2872 w 4488"/>
                    <a:gd name="T47" fmla="*/ 2324 h 2449"/>
                    <a:gd name="T48" fmla="*/ 2915 w 4488"/>
                    <a:gd name="T49" fmla="*/ 2388 h 2449"/>
                    <a:gd name="T50" fmla="*/ 2981 w 4488"/>
                    <a:gd name="T51" fmla="*/ 2433 h 2449"/>
                    <a:gd name="T52" fmla="*/ 3059 w 4488"/>
                    <a:gd name="T53" fmla="*/ 2449 h 2449"/>
                    <a:gd name="T54" fmla="*/ 4325 w 4488"/>
                    <a:gd name="T55" fmla="*/ 2445 h 2449"/>
                    <a:gd name="T56" fmla="*/ 4397 w 4488"/>
                    <a:gd name="T57" fmla="*/ 2413 h 2449"/>
                    <a:gd name="T58" fmla="*/ 4454 w 4488"/>
                    <a:gd name="T59" fmla="*/ 2358 h 2449"/>
                    <a:gd name="T60" fmla="*/ 4484 w 4488"/>
                    <a:gd name="T61" fmla="*/ 2286 h 2449"/>
                    <a:gd name="T62" fmla="*/ 4488 w 4488"/>
                    <a:gd name="T63" fmla="*/ 1224 h 2449"/>
                    <a:gd name="T64" fmla="*/ 4472 w 4488"/>
                    <a:gd name="T65" fmla="*/ 1144 h 2449"/>
                    <a:gd name="T66" fmla="*/ 4429 w 4488"/>
                    <a:gd name="T67" fmla="*/ 1079 h 2449"/>
                    <a:gd name="T68" fmla="*/ 4363 w 4488"/>
                    <a:gd name="T69" fmla="*/ 1036 h 2449"/>
                    <a:gd name="T70" fmla="*/ 4285 w 4488"/>
                    <a:gd name="T71" fmla="*/ 1019 h 2449"/>
                    <a:gd name="T72" fmla="*/ 3267 w 4488"/>
                    <a:gd name="T73" fmla="*/ 687 h 2449"/>
                    <a:gd name="T74" fmla="*/ 3294 w 4488"/>
                    <a:gd name="T75" fmla="*/ 641 h 2449"/>
                    <a:gd name="T76" fmla="*/ 3340 w 4488"/>
                    <a:gd name="T77" fmla="*/ 616 h 2449"/>
                    <a:gd name="T78" fmla="*/ 3393 w 4488"/>
                    <a:gd name="T79" fmla="*/ 616 h 2449"/>
                    <a:gd name="T80" fmla="*/ 3438 w 4488"/>
                    <a:gd name="T81" fmla="*/ 641 h 2449"/>
                    <a:gd name="T82" fmla="*/ 3464 w 4488"/>
                    <a:gd name="T83" fmla="*/ 687 h 2449"/>
                    <a:gd name="T84" fmla="*/ 3467 w 4488"/>
                    <a:gd name="T85" fmla="*/ 1019 h 2449"/>
                    <a:gd name="T86" fmla="*/ 3264 w 4488"/>
                    <a:gd name="T87" fmla="*/ 714 h 2449"/>
                    <a:gd name="T88" fmla="*/ 3059 w 4488"/>
                    <a:gd name="T89" fmla="*/ 2244 h 2449"/>
                    <a:gd name="T90" fmla="*/ 3467 w 4488"/>
                    <a:gd name="T91" fmla="*/ 1224 h 2449"/>
                    <a:gd name="T92" fmla="*/ 3472 w 4488"/>
                    <a:gd name="T93" fmla="*/ 1877 h 2449"/>
                    <a:gd name="T94" fmla="*/ 3503 w 4488"/>
                    <a:gd name="T95" fmla="*/ 1950 h 2449"/>
                    <a:gd name="T96" fmla="*/ 3558 w 4488"/>
                    <a:gd name="T97" fmla="*/ 2005 h 2449"/>
                    <a:gd name="T98" fmla="*/ 3630 w 4488"/>
                    <a:gd name="T99" fmla="*/ 2036 h 2449"/>
                    <a:gd name="T100" fmla="*/ 3714 w 4488"/>
                    <a:gd name="T101" fmla="*/ 2036 h 2449"/>
                    <a:gd name="T102" fmla="*/ 3786 w 4488"/>
                    <a:gd name="T103" fmla="*/ 2005 h 2449"/>
                    <a:gd name="T104" fmla="*/ 3841 w 4488"/>
                    <a:gd name="T105" fmla="*/ 1950 h 2449"/>
                    <a:gd name="T106" fmla="*/ 3872 w 4488"/>
                    <a:gd name="T107" fmla="*/ 1877 h 2449"/>
                    <a:gd name="T108" fmla="*/ 3875 w 4488"/>
                    <a:gd name="T109" fmla="*/ 1224 h 2449"/>
                    <a:gd name="T110" fmla="*/ 4285 w 4488"/>
                    <a:gd name="T111" fmla="*/ 2244 h 24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4488" h="2449">
                      <a:moveTo>
                        <a:pt x="4285" y="1019"/>
                      </a:moveTo>
                      <a:lnTo>
                        <a:pt x="3875" y="1019"/>
                      </a:lnTo>
                      <a:lnTo>
                        <a:pt x="3875" y="611"/>
                      </a:lnTo>
                      <a:lnTo>
                        <a:pt x="3872" y="540"/>
                      </a:lnTo>
                      <a:lnTo>
                        <a:pt x="3860" y="472"/>
                      </a:lnTo>
                      <a:lnTo>
                        <a:pt x="3840" y="405"/>
                      </a:lnTo>
                      <a:lnTo>
                        <a:pt x="3814" y="342"/>
                      </a:lnTo>
                      <a:lnTo>
                        <a:pt x="3780" y="283"/>
                      </a:lnTo>
                      <a:lnTo>
                        <a:pt x="3742" y="228"/>
                      </a:lnTo>
                      <a:lnTo>
                        <a:pt x="3697" y="178"/>
                      </a:lnTo>
                      <a:lnTo>
                        <a:pt x="3647" y="133"/>
                      </a:lnTo>
                      <a:lnTo>
                        <a:pt x="3592" y="95"/>
                      </a:lnTo>
                      <a:lnTo>
                        <a:pt x="3533" y="62"/>
                      </a:lnTo>
                      <a:lnTo>
                        <a:pt x="3470" y="35"/>
                      </a:lnTo>
                      <a:lnTo>
                        <a:pt x="3405" y="14"/>
                      </a:lnTo>
                      <a:lnTo>
                        <a:pt x="3335" y="3"/>
                      </a:lnTo>
                      <a:lnTo>
                        <a:pt x="3264" y="0"/>
                      </a:lnTo>
                      <a:lnTo>
                        <a:pt x="3059" y="0"/>
                      </a:lnTo>
                      <a:lnTo>
                        <a:pt x="2651" y="816"/>
                      </a:lnTo>
                      <a:lnTo>
                        <a:pt x="2516" y="271"/>
                      </a:lnTo>
                      <a:lnTo>
                        <a:pt x="2651" y="0"/>
                      </a:lnTo>
                      <a:lnTo>
                        <a:pt x="2245" y="0"/>
                      </a:lnTo>
                      <a:lnTo>
                        <a:pt x="2380" y="271"/>
                      </a:lnTo>
                      <a:lnTo>
                        <a:pt x="2245" y="816"/>
                      </a:lnTo>
                      <a:lnTo>
                        <a:pt x="1835" y="0"/>
                      </a:lnTo>
                      <a:lnTo>
                        <a:pt x="203" y="0"/>
                      </a:lnTo>
                      <a:lnTo>
                        <a:pt x="163" y="3"/>
                      </a:lnTo>
                      <a:lnTo>
                        <a:pt x="125" y="14"/>
                      </a:lnTo>
                      <a:lnTo>
                        <a:pt x="91" y="34"/>
                      </a:lnTo>
                      <a:lnTo>
                        <a:pt x="59" y="59"/>
                      </a:lnTo>
                      <a:lnTo>
                        <a:pt x="34" y="89"/>
                      </a:lnTo>
                      <a:lnTo>
                        <a:pt x="16" y="124"/>
                      </a:lnTo>
                      <a:lnTo>
                        <a:pt x="4" y="161"/>
                      </a:lnTo>
                      <a:lnTo>
                        <a:pt x="0" y="203"/>
                      </a:lnTo>
                      <a:lnTo>
                        <a:pt x="4" y="244"/>
                      </a:lnTo>
                      <a:lnTo>
                        <a:pt x="16" y="283"/>
                      </a:lnTo>
                      <a:lnTo>
                        <a:pt x="34" y="317"/>
                      </a:lnTo>
                      <a:lnTo>
                        <a:pt x="59" y="347"/>
                      </a:lnTo>
                      <a:lnTo>
                        <a:pt x="91" y="372"/>
                      </a:lnTo>
                      <a:lnTo>
                        <a:pt x="125" y="391"/>
                      </a:lnTo>
                      <a:lnTo>
                        <a:pt x="163" y="403"/>
                      </a:lnTo>
                      <a:lnTo>
                        <a:pt x="203" y="408"/>
                      </a:lnTo>
                      <a:lnTo>
                        <a:pt x="1632" y="408"/>
                      </a:lnTo>
                      <a:lnTo>
                        <a:pt x="1632" y="2041"/>
                      </a:lnTo>
                      <a:lnTo>
                        <a:pt x="2856" y="2041"/>
                      </a:lnTo>
                      <a:lnTo>
                        <a:pt x="2856" y="2244"/>
                      </a:lnTo>
                      <a:lnTo>
                        <a:pt x="2860" y="2286"/>
                      </a:lnTo>
                      <a:lnTo>
                        <a:pt x="2872" y="2324"/>
                      </a:lnTo>
                      <a:lnTo>
                        <a:pt x="2890" y="2358"/>
                      </a:lnTo>
                      <a:lnTo>
                        <a:pt x="2915" y="2388"/>
                      </a:lnTo>
                      <a:lnTo>
                        <a:pt x="2947" y="2413"/>
                      </a:lnTo>
                      <a:lnTo>
                        <a:pt x="2981" y="2433"/>
                      </a:lnTo>
                      <a:lnTo>
                        <a:pt x="3019" y="2445"/>
                      </a:lnTo>
                      <a:lnTo>
                        <a:pt x="3059" y="2449"/>
                      </a:lnTo>
                      <a:lnTo>
                        <a:pt x="4285" y="2449"/>
                      </a:lnTo>
                      <a:lnTo>
                        <a:pt x="4325" y="2445"/>
                      </a:lnTo>
                      <a:lnTo>
                        <a:pt x="4363" y="2433"/>
                      </a:lnTo>
                      <a:lnTo>
                        <a:pt x="4397" y="2413"/>
                      </a:lnTo>
                      <a:lnTo>
                        <a:pt x="4429" y="2388"/>
                      </a:lnTo>
                      <a:lnTo>
                        <a:pt x="4454" y="2358"/>
                      </a:lnTo>
                      <a:lnTo>
                        <a:pt x="4472" y="2324"/>
                      </a:lnTo>
                      <a:lnTo>
                        <a:pt x="4484" y="2286"/>
                      </a:lnTo>
                      <a:lnTo>
                        <a:pt x="4488" y="2244"/>
                      </a:lnTo>
                      <a:lnTo>
                        <a:pt x="4488" y="1224"/>
                      </a:lnTo>
                      <a:lnTo>
                        <a:pt x="4484" y="1183"/>
                      </a:lnTo>
                      <a:lnTo>
                        <a:pt x="4472" y="1144"/>
                      </a:lnTo>
                      <a:lnTo>
                        <a:pt x="4454" y="1110"/>
                      </a:lnTo>
                      <a:lnTo>
                        <a:pt x="4429" y="1079"/>
                      </a:lnTo>
                      <a:lnTo>
                        <a:pt x="4397" y="1055"/>
                      </a:lnTo>
                      <a:lnTo>
                        <a:pt x="4363" y="1036"/>
                      </a:lnTo>
                      <a:lnTo>
                        <a:pt x="4325" y="1024"/>
                      </a:lnTo>
                      <a:lnTo>
                        <a:pt x="4285" y="1019"/>
                      </a:lnTo>
                      <a:close/>
                      <a:moveTo>
                        <a:pt x="3264" y="714"/>
                      </a:moveTo>
                      <a:lnTo>
                        <a:pt x="3267" y="687"/>
                      </a:lnTo>
                      <a:lnTo>
                        <a:pt x="3277" y="662"/>
                      </a:lnTo>
                      <a:lnTo>
                        <a:pt x="3294" y="641"/>
                      </a:lnTo>
                      <a:lnTo>
                        <a:pt x="3314" y="625"/>
                      </a:lnTo>
                      <a:lnTo>
                        <a:pt x="3340" y="616"/>
                      </a:lnTo>
                      <a:lnTo>
                        <a:pt x="3366" y="611"/>
                      </a:lnTo>
                      <a:lnTo>
                        <a:pt x="3393" y="616"/>
                      </a:lnTo>
                      <a:lnTo>
                        <a:pt x="3418" y="625"/>
                      </a:lnTo>
                      <a:lnTo>
                        <a:pt x="3438" y="641"/>
                      </a:lnTo>
                      <a:lnTo>
                        <a:pt x="3454" y="662"/>
                      </a:lnTo>
                      <a:lnTo>
                        <a:pt x="3464" y="687"/>
                      </a:lnTo>
                      <a:lnTo>
                        <a:pt x="3467" y="714"/>
                      </a:lnTo>
                      <a:lnTo>
                        <a:pt x="3467" y="1019"/>
                      </a:lnTo>
                      <a:lnTo>
                        <a:pt x="3264" y="1019"/>
                      </a:lnTo>
                      <a:lnTo>
                        <a:pt x="3264" y="714"/>
                      </a:lnTo>
                      <a:close/>
                      <a:moveTo>
                        <a:pt x="4285" y="2244"/>
                      </a:moveTo>
                      <a:lnTo>
                        <a:pt x="3059" y="2244"/>
                      </a:lnTo>
                      <a:lnTo>
                        <a:pt x="3059" y="1224"/>
                      </a:lnTo>
                      <a:lnTo>
                        <a:pt x="3467" y="1224"/>
                      </a:lnTo>
                      <a:lnTo>
                        <a:pt x="3467" y="1836"/>
                      </a:lnTo>
                      <a:lnTo>
                        <a:pt x="3472" y="1877"/>
                      </a:lnTo>
                      <a:lnTo>
                        <a:pt x="3484" y="1916"/>
                      </a:lnTo>
                      <a:lnTo>
                        <a:pt x="3503" y="1950"/>
                      </a:lnTo>
                      <a:lnTo>
                        <a:pt x="3528" y="1980"/>
                      </a:lnTo>
                      <a:lnTo>
                        <a:pt x="3558" y="2005"/>
                      </a:lnTo>
                      <a:lnTo>
                        <a:pt x="3592" y="2024"/>
                      </a:lnTo>
                      <a:lnTo>
                        <a:pt x="3630" y="2036"/>
                      </a:lnTo>
                      <a:lnTo>
                        <a:pt x="3672" y="2041"/>
                      </a:lnTo>
                      <a:lnTo>
                        <a:pt x="3714" y="2036"/>
                      </a:lnTo>
                      <a:lnTo>
                        <a:pt x="3752" y="2024"/>
                      </a:lnTo>
                      <a:lnTo>
                        <a:pt x="3786" y="2005"/>
                      </a:lnTo>
                      <a:lnTo>
                        <a:pt x="3816" y="1980"/>
                      </a:lnTo>
                      <a:lnTo>
                        <a:pt x="3841" y="1950"/>
                      </a:lnTo>
                      <a:lnTo>
                        <a:pt x="3860" y="1916"/>
                      </a:lnTo>
                      <a:lnTo>
                        <a:pt x="3872" y="1877"/>
                      </a:lnTo>
                      <a:lnTo>
                        <a:pt x="3875" y="1836"/>
                      </a:lnTo>
                      <a:lnTo>
                        <a:pt x="3875" y="1224"/>
                      </a:lnTo>
                      <a:lnTo>
                        <a:pt x="4285" y="1224"/>
                      </a:lnTo>
                      <a:lnTo>
                        <a:pt x="4285" y="2244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 Light" panose="020F0302020204030204"/>
                  </a:endParaRPr>
                </a:p>
              </p:txBody>
            </p:sp>
            <p:sp>
              <p:nvSpPr>
                <p:cNvPr id="38" name="Freeform 26"/>
                <p:cNvSpPr>
                  <a:spLocks/>
                </p:cNvSpPr>
                <p:nvPr/>
              </p:nvSpPr>
              <p:spPr bwMode="auto">
                <a:xfrm>
                  <a:off x="1656" y="2671"/>
                  <a:ext cx="611" cy="614"/>
                </a:xfrm>
                <a:custGeom>
                  <a:avLst/>
                  <a:gdLst>
                    <a:gd name="T0" fmla="*/ 510 w 611"/>
                    <a:gd name="T1" fmla="*/ 409 h 614"/>
                    <a:gd name="T2" fmla="*/ 102 w 611"/>
                    <a:gd name="T3" fmla="*/ 409 h 614"/>
                    <a:gd name="T4" fmla="*/ 203 w 611"/>
                    <a:gd name="T5" fmla="*/ 0 h 614"/>
                    <a:gd name="T6" fmla="*/ 0 w 611"/>
                    <a:gd name="T7" fmla="*/ 409 h 614"/>
                    <a:gd name="T8" fmla="*/ 4 w 611"/>
                    <a:gd name="T9" fmla="*/ 450 h 614"/>
                    <a:gd name="T10" fmla="*/ 16 w 611"/>
                    <a:gd name="T11" fmla="*/ 489 h 614"/>
                    <a:gd name="T12" fmla="*/ 34 w 611"/>
                    <a:gd name="T13" fmla="*/ 523 h 614"/>
                    <a:gd name="T14" fmla="*/ 59 w 611"/>
                    <a:gd name="T15" fmla="*/ 553 h 614"/>
                    <a:gd name="T16" fmla="*/ 91 w 611"/>
                    <a:gd name="T17" fmla="*/ 578 h 614"/>
                    <a:gd name="T18" fmla="*/ 125 w 611"/>
                    <a:gd name="T19" fmla="*/ 597 h 614"/>
                    <a:gd name="T20" fmla="*/ 163 w 611"/>
                    <a:gd name="T21" fmla="*/ 609 h 614"/>
                    <a:gd name="T22" fmla="*/ 203 w 611"/>
                    <a:gd name="T23" fmla="*/ 614 h 614"/>
                    <a:gd name="T24" fmla="*/ 408 w 611"/>
                    <a:gd name="T25" fmla="*/ 614 h 614"/>
                    <a:gd name="T26" fmla="*/ 450 w 611"/>
                    <a:gd name="T27" fmla="*/ 609 h 614"/>
                    <a:gd name="T28" fmla="*/ 488 w 611"/>
                    <a:gd name="T29" fmla="*/ 597 h 614"/>
                    <a:gd name="T30" fmla="*/ 522 w 611"/>
                    <a:gd name="T31" fmla="*/ 578 h 614"/>
                    <a:gd name="T32" fmla="*/ 552 w 611"/>
                    <a:gd name="T33" fmla="*/ 553 h 614"/>
                    <a:gd name="T34" fmla="*/ 577 w 611"/>
                    <a:gd name="T35" fmla="*/ 523 h 614"/>
                    <a:gd name="T36" fmla="*/ 596 w 611"/>
                    <a:gd name="T37" fmla="*/ 489 h 614"/>
                    <a:gd name="T38" fmla="*/ 608 w 611"/>
                    <a:gd name="T39" fmla="*/ 450 h 614"/>
                    <a:gd name="T40" fmla="*/ 611 w 611"/>
                    <a:gd name="T41" fmla="*/ 409 h 614"/>
                    <a:gd name="T42" fmla="*/ 408 w 611"/>
                    <a:gd name="T43" fmla="*/ 0 h 614"/>
                    <a:gd name="T44" fmla="*/ 510 w 611"/>
                    <a:gd name="T45" fmla="*/ 409 h 6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11" h="614">
                      <a:moveTo>
                        <a:pt x="510" y="409"/>
                      </a:moveTo>
                      <a:lnTo>
                        <a:pt x="102" y="409"/>
                      </a:lnTo>
                      <a:lnTo>
                        <a:pt x="203" y="0"/>
                      </a:lnTo>
                      <a:lnTo>
                        <a:pt x="0" y="409"/>
                      </a:lnTo>
                      <a:lnTo>
                        <a:pt x="4" y="450"/>
                      </a:lnTo>
                      <a:lnTo>
                        <a:pt x="16" y="489"/>
                      </a:lnTo>
                      <a:lnTo>
                        <a:pt x="34" y="523"/>
                      </a:lnTo>
                      <a:lnTo>
                        <a:pt x="59" y="553"/>
                      </a:lnTo>
                      <a:lnTo>
                        <a:pt x="91" y="578"/>
                      </a:lnTo>
                      <a:lnTo>
                        <a:pt x="125" y="597"/>
                      </a:lnTo>
                      <a:lnTo>
                        <a:pt x="163" y="609"/>
                      </a:lnTo>
                      <a:lnTo>
                        <a:pt x="203" y="614"/>
                      </a:lnTo>
                      <a:lnTo>
                        <a:pt x="408" y="614"/>
                      </a:lnTo>
                      <a:lnTo>
                        <a:pt x="450" y="609"/>
                      </a:lnTo>
                      <a:lnTo>
                        <a:pt x="488" y="597"/>
                      </a:lnTo>
                      <a:lnTo>
                        <a:pt x="522" y="578"/>
                      </a:lnTo>
                      <a:lnTo>
                        <a:pt x="552" y="553"/>
                      </a:lnTo>
                      <a:lnTo>
                        <a:pt x="577" y="523"/>
                      </a:lnTo>
                      <a:lnTo>
                        <a:pt x="596" y="489"/>
                      </a:lnTo>
                      <a:lnTo>
                        <a:pt x="608" y="450"/>
                      </a:lnTo>
                      <a:lnTo>
                        <a:pt x="611" y="409"/>
                      </a:lnTo>
                      <a:lnTo>
                        <a:pt x="408" y="0"/>
                      </a:lnTo>
                      <a:lnTo>
                        <a:pt x="510" y="409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 Light" panose="020F0302020204030204"/>
                  </a:endParaRPr>
                </a:p>
              </p:txBody>
            </p:sp>
            <p:sp>
              <p:nvSpPr>
                <p:cNvPr id="39" name="Freeform 27"/>
                <p:cNvSpPr>
                  <a:spLocks/>
                </p:cNvSpPr>
                <p:nvPr/>
              </p:nvSpPr>
              <p:spPr bwMode="auto">
                <a:xfrm>
                  <a:off x="635" y="2263"/>
                  <a:ext cx="1429" cy="1430"/>
                </a:xfrm>
                <a:custGeom>
                  <a:avLst/>
                  <a:gdLst>
                    <a:gd name="T0" fmla="*/ 1426 w 1429"/>
                    <a:gd name="T1" fmla="*/ 279 h 1430"/>
                    <a:gd name="T2" fmla="*/ 1399 w 1429"/>
                    <a:gd name="T3" fmla="*/ 235 h 1430"/>
                    <a:gd name="T4" fmla="*/ 1355 w 1429"/>
                    <a:gd name="T5" fmla="*/ 208 h 1430"/>
                    <a:gd name="T6" fmla="*/ 1300 w 1429"/>
                    <a:gd name="T7" fmla="*/ 208 h 1430"/>
                    <a:gd name="T8" fmla="*/ 1255 w 1429"/>
                    <a:gd name="T9" fmla="*/ 235 h 1430"/>
                    <a:gd name="T10" fmla="*/ 1229 w 1429"/>
                    <a:gd name="T11" fmla="*/ 279 h 1430"/>
                    <a:gd name="T12" fmla="*/ 816 w 1429"/>
                    <a:gd name="T13" fmla="*/ 205 h 1430"/>
                    <a:gd name="T14" fmla="*/ 813 w 1429"/>
                    <a:gd name="T15" fmla="*/ 76 h 1430"/>
                    <a:gd name="T16" fmla="*/ 787 w 1429"/>
                    <a:gd name="T17" fmla="*/ 30 h 1430"/>
                    <a:gd name="T18" fmla="*/ 742 w 1429"/>
                    <a:gd name="T19" fmla="*/ 5 h 1430"/>
                    <a:gd name="T20" fmla="*/ 687 w 1429"/>
                    <a:gd name="T21" fmla="*/ 5 h 1430"/>
                    <a:gd name="T22" fmla="*/ 643 w 1429"/>
                    <a:gd name="T23" fmla="*/ 30 h 1430"/>
                    <a:gd name="T24" fmla="*/ 616 w 1429"/>
                    <a:gd name="T25" fmla="*/ 76 h 1430"/>
                    <a:gd name="T26" fmla="*/ 613 w 1429"/>
                    <a:gd name="T27" fmla="*/ 205 h 1430"/>
                    <a:gd name="T28" fmla="*/ 202 w 1429"/>
                    <a:gd name="T29" fmla="*/ 279 h 1430"/>
                    <a:gd name="T30" fmla="*/ 175 w 1429"/>
                    <a:gd name="T31" fmla="*/ 235 h 1430"/>
                    <a:gd name="T32" fmla="*/ 131 w 1429"/>
                    <a:gd name="T33" fmla="*/ 208 h 1430"/>
                    <a:gd name="T34" fmla="*/ 76 w 1429"/>
                    <a:gd name="T35" fmla="*/ 208 h 1430"/>
                    <a:gd name="T36" fmla="*/ 31 w 1429"/>
                    <a:gd name="T37" fmla="*/ 235 h 1430"/>
                    <a:gd name="T38" fmla="*/ 5 w 1429"/>
                    <a:gd name="T39" fmla="*/ 279 h 1430"/>
                    <a:gd name="T40" fmla="*/ 0 w 1429"/>
                    <a:gd name="T41" fmla="*/ 408 h 1430"/>
                    <a:gd name="T42" fmla="*/ 613 w 1429"/>
                    <a:gd name="T43" fmla="*/ 1225 h 1430"/>
                    <a:gd name="T44" fmla="*/ 368 w 1429"/>
                    <a:gd name="T45" fmla="*/ 1229 h 1430"/>
                    <a:gd name="T46" fmla="*/ 296 w 1429"/>
                    <a:gd name="T47" fmla="*/ 1261 h 1430"/>
                    <a:gd name="T48" fmla="*/ 239 w 1429"/>
                    <a:gd name="T49" fmla="*/ 1315 h 1430"/>
                    <a:gd name="T50" fmla="*/ 209 w 1429"/>
                    <a:gd name="T51" fmla="*/ 1388 h 1430"/>
                    <a:gd name="T52" fmla="*/ 1224 w 1429"/>
                    <a:gd name="T53" fmla="*/ 1430 h 1430"/>
                    <a:gd name="T54" fmla="*/ 1209 w 1429"/>
                    <a:gd name="T55" fmla="*/ 1350 h 1430"/>
                    <a:gd name="T56" fmla="*/ 1165 w 1429"/>
                    <a:gd name="T57" fmla="*/ 1284 h 1430"/>
                    <a:gd name="T58" fmla="*/ 1101 w 1429"/>
                    <a:gd name="T59" fmla="*/ 1241 h 1430"/>
                    <a:gd name="T60" fmla="*/ 1021 w 1429"/>
                    <a:gd name="T61" fmla="*/ 1225 h 1430"/>
                    <a:gd name="T62" fmla="*/ 816 w 1429"/>
                    <a:gd name="T63" fmla="*/ 408 h 1430"/>
                    <a:gd name="T64" fmla="*/ 1429 w 1429"/>
                    <a:gd name="T65" fmla="*/ 306 h 1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429" h="1430">
                      <a:moveTo>
                        <a:pt x="1429" y="306"/>
                      </a:moveTo>
                      <a:lnTo>
                        <a:pt x="1426" y="279"/>
                      </a:lnTo>
                      <a:lnTo>
                        <a:pt x="1416" y="256"/>
                      </a:lnTo>
                      <a:lnTo>
                        <a:pt x="1399" y="235"/>
                      </a:lnTo>
                      <a:lnTo>
                        <a:pt x="1379" y="218"/>
                      </a:lnTo>
                      <a:lnTo>
                        <a:pt x="1355" y="208"/>
                      </a:lnTo>
                      <a:lnTo>
                        <a:pt x="1327" y="205"/>
                      </a:lnTo>
                      <a:lnTo>
                        <a:pt x="1300" y="208"/>
                      </a:lnTo>
                      <a:lnTo>
                        <a:pt x="1276" y="218"/>
                      </a:lnTo>
                      <a:lnTo>
                        <a:pt x="1255" y="235"/>
                      </a:lnTo>
                      <a:lnTo>
                        <a:pt x="1239" y="256"/>
                      </a:lnTo>
                      <a:lnTo>
                        <a:pt x="1229" y="279"/>
                      </a:lnTo>
                      <a:lnTo>
                        <a:pt x="1224" y="306"/>
                      </a:lnTo>
                      <a:lnTo>
                        <a:pt x="816" y="205"/>
                      </a:lnTo>
                      <a:lnTo>
                        <a:pt x="816" y="103"/>
                      </a:lnTo>
                      <a:lnTo>
                        <a:pt x="813" y="76"/>
                      </a:lnTo>
                      <a:lnTo>
                        <a:pt x="803" y="51"/>
                      </a:lnTo>
                      <a:lnTo>
                        <a:pt x="787" y="30"/>
                      </a:lnTo>
                      <a:lnTo>
                        <a:pt x="766" y="14"/>
                      </a:lnTo>
                      <a:lnTo>
                        <a:pt x="742" y="5"/>
                      </a:lnTo>
                      <a:lnTo>
                        <a:pt x="715" y="0"/>
                      </a:lnTo>
                      <a:lnTo>
                        <a:pt x="687" y="5"/>
                      </a:lnTo>
                      <a:lnTo>
                        <a:pt x="663" y="14"/>
                      </a:lnTo>
                      <a:lnTo>
                        <a:pt x="643" y="30"/>
                      </a:lnTo>
                      <a:lnTo>
                        <a:pt x="626" y="51"/>
                      </a:lnTo>
                      <a:lnTo>
                        <a:pt x="616" y="76"/>
                      </a:lnTo>
                      <a:lnTo>
                        <a:pt x="613" y="103"/>
                      </a:lnTo>
                      <a:lnTo>
                        <a:pt x="613" y="205"/>
                      </a:lnTo>
                      <a:lnTo>
                        <a:pt x="205" y="306"/>
                      </a:lnTo>
                      <a:lnTo>
                        <a:pt x="202" y="279"/>
                      </a:lnTo>
                      <a:lnTo>
                        <a:pt x="192" y="256"/>
                      </a:lnTo>
                      <a:lnTo>
                        <a:pt x="175" y="235"/>
                      </a:lnTo>
                      <a:lnTo>
                        <a:pt x="155" y="218"/>
                      </a:lnTo>
                      <a:lnTo>
                        <a:pt x="131" y="208"/>
                      </a:lnTo>
                      <a:lnTo>
                        <a:pt x="103" y="205"/>
                      </a:lnTo>
                      <a:lnTo>
                        <a:pt x="76" y="208"/>
                      </a:lnTo>
                      <a:lnTo>
                        <a:pt x="52" y="218"/>
                      </a:lnTo>
                      <a:lnTo>
                        <a:pt x="31" y="235"/>
                      </a:lnTo>
                      <a:lnTo>
                        <a:pt x="15" y="256"/>
                      </a:lnTo>
                      <a:lnTo>
                        <a:pt x="5" y="279"/>
                      </a:lnTo>
                      <a:lnTo>
                        <a:pt x="0" y="306"/>
                      </a:lnTo>
                      <a:lnTo>
                        <a:pt x="0" y="408"/>
                      </a:lnTo>
                      <a:lnTo>
                        <a:pt x="613" y="408"/>
                      </a:lnTo>
                      <a:lnTo>
                        <a:pt x="613" y="1225"/>
                      </a:lnTo>
                      <a:lnTo>
                        <a:pt x="408" y="1225"/>
                      </a:lnTo>
                      <a:lnTo>
                        <a:pt x="368" y="1229"/>
                      </a:lnTo>
                      <a:lnTo>
                        <a:pt x="330" y="1241"/>
                      </a:lnTo>
                      <a:lnTo>
                        <a:pt x="296" y="1261"/>
                      </a:lnTo>
                      <a:lnTo>
                        <a:pt x="264" y="1284"/>
                      </a:lnTo>
                      <a:lnTo>
                        <a:pt x="239" y="1315"/>
                      </a:lnTo>
                      <a:lnTo>
                        <a:pt x="221" y="1350"/>
                      </a:lnTo>
                      <a:lnTo>
                        <a:pt x="209" y="1388"/>
                      </a:lnTo>
                      <a:lnTo>
                        <a:pt x="205" y="1430"/>
                      </a:lnTo>
                      <a:lnTo>
                        <a:pt x="1224" y="1430"/>
                      </a:lnTo>
                      <a:lnTo>
                        <a:pt x="1221" y="1388"/>
                      </a:lnTo>
                      <a:lnTo>
                        <a:pt x="1209" y="1350"/>
                      </a:lnTo>
                      <a:lnTo>
                        <a:pt x="1190" y="1315"/>
                      </a:lnTo>
                      <a:lnTo>
                        <a:pt x="1165" y="1284"/>
                      </a:lnTo>
                      <a:lnTo>
                        <a:pt x="1135" y="1261"/>
                      </a:lnTo>
                      <a:lnTo>
                        <a:pt x="1101" y="1241"/>
                      </a:lnTo>
                      <a:lnTo>
                        <a:pt x="1063" y="1229"/>
                      </a:lnTo>
                      <a:lnTo>
                        <a:pt x="1021" y="1225"/>
                      </a:lnTo>
                      <a:lnTo>
                        <a:pt x="816" y="1225"/>
                      </a:lnTo>
                      <a:lnTo>
                        <a:pt x="816" y="408"/>
                      </a:lnTo>
                      <a:lnTo>
                        <a:pt x="1429" y="408"/>
                      </a:lnTo>
                      <a:lnTo>
                        <a:pt x="1429" y="306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 Light" panose="020F0302020204030204"/>
                  </a:endParaRPr>
                </a:p>
              </p:txBody>
            </p:sp>
            <p:sp>
              <p:nvSpPr>
                <p:cNvPr id="40" name="Freeform 28"/>
                <p:cNvSpPr>
                  <a:spLocks/>
                </p:cNvSpPr>
                <p:nvPr/>
              </p:nvSpPr>
              <p:spPr bwMode="auto">
                <a:xfrm>
                  <a:off x="432" y="2671"/>
                  <a:ext cx="611" cy="614"/>
                </a:xfrm>
                <a:custGeom>
                  <a:avLst/>
                  <a:gdLst>
                    <a:gd name="T0" fmla="*/ 102 w 611"/>
                    <a:gd name="T1" fmla="*/ 409 h 614"/>
                    <a:gd name="T2" fmla="*/ 203 w 611"/>
                    <a:gd name="T3" fmla="*/ 0 h 614"/>
                    <a:gd name="T4" fmla="*/ 0 w 611"/>
                    <a:gd name="T5" fmla="*/ 409 h 614"/>
                    <a:gd name="T6" fmla="*/ 4 w 611"/>
                    <a:gd name="T7" fmla="*/ 450 h 614"/>
                    <a:gd name="T8" fmla="*/ 16 w 611"/>
                    <a:gd name="T9" fmla="*/ 489 h 614"/>
                    <a:gd name="T10" fmla="*/ 34 w 611"/>
                    <a:gd name="T11" fmla="*/ 523 h 614"/>
                    <a:gd name="T12" fmla="*/ 59 w 611"/>
                    <a:gd name="T13" fmla="*/ 553 h 614"/>
                    <a:gd name="T14" fmla="*/ 91 w 611"/>
                    <a:gd name="T15" fmla="*/ 578 h 614"/>
                    <a:gd name="T16" fmla="*/ 125 w 611"/>
                    <a:gd name="T17" fmla="*/ 597 h 614"/>
                    <a:gd name="T18" fmla="*/ 163 w 611"/>
                    <a:gd name="T19" fmla="*/ 609 h 614"/>
                    <a:gd name="T20" fmla="*/ 203 w 611"/>
                    <a:gd name="T21" fmla="*/ 614 h 614"/>
                    <a:gd name="T22" fmla="*/ 408 w 611"/>
                    <a:gd name="T23" fmla="*/ 614 h 614"/>
                    <a:gd name="T24" fmla="*/ 450 w 611"/>
                    <a:gd name="T25" fmla="*/ 609 h 614"/>
                    <a:gd name="T26" fmla="*/ 488 w 611"/>
                    <a:gd name="T27" fmla="*/ 597 h 614"/>
                    <a:gd name="T28" fmla="*/ 522 w 611"/>
                    <a:gd name="T29" fmla="*/ 578 h 614"/>
                    <a:gd name="T30" fmla="*/ 552 w 611"/>
                    <a:gd name="T31" fmla="*/ 553 h 614"/>
                    <a:gd name="T32" fmla="*/ 577 w 611"/>
                    <a:gd name="T33" fmla="*/ 523 h 614"/>
                    <a:gd name="T34" fmla="*/ 596 w 611"/>
                    <a:gd name="T35" fmla="*/ 489 h 614"/>
                    <a:gd name="T36" fmla="*/ 608 w 611"/>
                    <a:gd name="T37" fmla="*/ 450 h 614"/>
                    <a:gd name="T38" fmla="*/ 611 w 611"/>
                    <a:gd name="T39" fmla="*/ 409 h 614"/>
                    <a:gd name="T40" fmla="*/ 408 w 611"/>
                    <a:gd name="T41" fmla="*/ 0 h 614"/>
                    <a:gd name="T42" fmla="*/ 510 w 611"/>
                    <a:gd name="T43" fmla="*/ 409 h 614"/>
                    <a:gd name="T44" fmla="*/ 102 w 611"/>
                    <a:gd name="T45" fmla="*/ 409 h 6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11" h="614">
                      <a:moveTo>
                        <a:pt x="102" y="409"/>
                      </a:moveTo>
                      <a:lnTo>
                        <a:pt x="203" y="0"/>
                      </a:lnTo>
                      <a:lnTo>
                        <a:pt x="0" y="409"/>
                      </a:lnTo>
                      <a:lnTo>
                        <a:pt x="4" y="450"/>
                      </a:lnTo>
                      <a:lnTo>
                        <a:pt x="16" y="489"/>
                      </a:lnTo>
                      <a:lnTo>
                        <a:pt x="34" y="523"/>
                      </a:lnTo>
                      <a:lnTo>
                        <a:pt x="59" y="553"/>
                      </a:lnTo>
                      <a:lnTo>
                        <a:pt x="91" y="578"/>
                      </a:lnTo>
                      <a:lnTo>
                        <a:pt x="125" y="597"/>
                      </a:lnTo>
                      <a:lnTo>
                        <a:pt x="163" y="609"/>
                      </a:lnTo>
                      <a:lnTo>
                        <a:pt x="203" y="614"/>
                      </a:lnTo>
                      <a:lnTo>
                        <a:pt x="408" y="614"/>
                      </a:lnTo>
                      <a:lnTo>
                        <a:pt x="450" y="609"/>
                      </a:lnTo>
                      <a:lnTo>
                        <a:pt x="488" y="597"/>
                      </a:lnTo>
                      <a:lnTo>
                        <a:pt x="522" y="578"/>
                      </a:lnTo>
                      <a:lnTo>
                        <a:pt x="552" y="553"/>
                      </a:lnTo>
                      <a:lnTo>
                        <a:pt x="577" y="523"/>
                      </a:lnTo>
                      <a:lnTo>
                        <a:pt x="596" y="489"/>
                      </a:lnTo>
                      <a:lnTo>
                        <a:pt x="608" y="450"/>
                      </a:lnTo>
                      <a:lnTo>
                        <a:pt x="611" y="409"/>
                      </a:lnTo>
                      <a:lnTo>
                        <a:pt x="408" y="0"/>
                      </a:lnTo>
                      <a:lnTo>
                        <a:pt x="510" y="409"/>
                      </a:lnTo>
                      <a:lnTo>
                        <a:pt x="102" y="409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  <a:latin typeface="Calibri Light" panose="020F0302020204030204"/>
                  </a:endParaRPr>
                </a:p>
              </p:txBody>
            </p:sp>
          </p:grpSp>
          <p:sp>
            <p:nvSpPr>
              <p:cNvPr id="36" name="Freeform 5"/>
              <p:cNvSpPr>
                <a:spLocks/>
              </p:cNvSpPr>
              <p:nvPr/>
            </p:nvSpPr>
            <p:spPr bwMode="auto">
              <a:xfrm>
                <a:off x="6818224" y="3708928"/>
                <a:ext cx="118722" cy="137566"/>
              </a:xfrm>
              <a:custGeom>
                <a:avLst/>
                <a:gdLst>
                  <a:gd name="T0" fmla="*/ 2821 w 3072"/>
                  <a:gd name="T1" fmla="*/ 1648 h 3560"/>
                  <a:gd name="T2" fmla="*/ 2839 w 3072"/>
                  <a:gd name="T3" fmla="*/ 1126 h 3560"/>
                  <a:gd name="T4" fmla="*/ 2690 w 3072"/>
                  <a:gd name="T5" fmla="*/ 554 h 3560"/>
                  <a:gd name="T6" fmla="*/ 2197 w 3072"/>
                  <a:gd name="T7" fmla="*/ 145 h 3560"/>
                  <a:gd name="T8" fmla="*/ 1939 w 3072"/>
                  <a:gd name="T9" fmla="*/ 133 h 3560"/>
                  <a:gd name="T10" fmla="*/ 1536 w 3072"/>
                  <a:gd name="T11" fmla="*/ 14 h 3560"/>
                  <a:gd name="T12" fmla="*/ 1075 w 3072"/>
                  <a:gd name="T13" fmla="*/ 84 h 3560"/>
                  <a:gd name="T14" fmla="*/ 754 w 3072"/>
                  <a:gd name="T15" fmla="*/ 252 h 3560"/>
                  <a:gd name="T16" fmla="*/ 447 w 3072"/>
                  <a:gd name="T17" fmla="*/ 670 h 3560"/>
                  <a:gd name="T18" fmla="*/ 252 w 3072"/>
                  <a:gd name="T19" fmla="*/ 991 h 3560"/>
                  <a:gd name="T20" fmla="*/ 252 w 3072"/>
                  <a:gd name="T21" fmla="*/ 1648 h 3560"/>
                  <a:gd name="T22" fmla="*/ 447 w 3072"/>
                  <a:gd name="T23" fmla="*/ 2541 h 3560"/>
                  <a:gd name="T24" fmla="*/ 1536 w 3072"/>
                  <a:gd name="T25" fmla="*/ 3560 h 3560"/>
                  <a:gd name="T26" fmla="*/ 2625 w 3072"/>
                  <a:gd name="T27" fmla="*/ 2541 h 3560"/>
                  <a:gd name="T28" fmla="*/ 2821 w 3072"/>
                  <a:gd name="T29" fmla="*/ 1648 h 35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72" h="3560">
                    <a:moveTo>
                      <a:pt x="2821" y="1648"/>
                    </a:moveTo>
                    <a:cubicBezTo>
                      <a:pt x="2904" y="1462"/>
                      <a:pt x="2867" y="1252"/>
                      <a:pt x="2839" y="1126"/>
                    </a:cubicBezTo>
                    <a:cubicBezTo>
                      <a:pt x="2811" y="1001"/>
                      <a:pt x="2788" y="763"/>
                      <a:pt x="2690" y="554"/>
                    </a:cubicBezTo>
                    <a:cubicBezTo>
                      <a:pt x="2651" y="469"/>
                      <a:pt x="2336" y="200"/>
                      <a:pt x="2197" y="145"/>
                    </a:cubicBezTo>
                    <a:cubicBezTo>
                      <a:pt x="2057" y="89"/>
                      <a:pt x="2018" y="129"/>
                      <a:pt x="1939" y="133"/>
                    </a:cubicBezTo>
                    <a:cubicBezTo>
                      <a:pt x="1846" y="138"/>
                      <a:pt x="1802" y="0"/>
                      <a:pt x="1536" y="14"/>
                    </a:cubicBezTo>
                    <a:cubicBezTo>
                      <a:pt x="1271" y="0"/>
                      <a:pt x="1159" y="42"/>
                      <a:pt x="1075" y="84"/>
                    </a:cubicBezTo>
                    <a:cubicBezTo>
                      <a:pt x="992" y="126"/>
                      <a:pt x="894" y="196"/>
                      <a:pt x="754" y="252"/>
                    </a:cubicBezTo>
                    <a:cubicBezTo>
                      <a:pt x="614" y="307"/>
                      <a:pt x="489" y="587"/>
                      <a:pt x="447" y="670"/>
                    </a:cubicBezTo>
                    <a:cubicBezTo>
                      <a:pt x="405" y="754"/>
                      <a:pt x="279" y="866"/>
                      <a:pt x="252" y="991"/>
                    </a:cubicBezTo>
                    <a:cubicBezTo>
                      <a:pt x="223" y="1117"/>
                      <a:pt x="223" y="1536"/>
                      <a:pt x="252" y="1648"/>
                    </a:cubicBezTo>
                    <a:cubicBezTo>
                      <a:pt x="112" y="1717"/>
                      <a:pt x="0" y="2317"/>
                      <a:pt x="447" y="2541"/>
                    </a:cubicBezTo>
                    <a:cubicBezTo>
                      <a:pt x="545" y="2862"/>
                      <a:pt x="922" y="3560"/>
                      <a:pt x="1536" y="3560"/>
                    </a:cubicBezTo>
                    <a:cubicBezTo>
                      <a:pt x="2150" y="3560"/>
                      <a:pt x="2527" y="2862"/>
                      <a:pt x="2625" y="2541"/>
                    </a:cubicBezTo>
                    <a:cubicBezTo>
                      <a:pt x="3072" y="2318"/>
                      <a:pt x="2960" y="1718"/>
                      <a:pt x="2821" y="164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</p:grpSp>
        <p:sp>
          <p:nvSpPr>
            <p:cNvPr id="65" name="Rectangle 64"/>
            <p:cNvSpPr/>
            <p:nvPr/>
          </p:nvSpPr>
          <p:spPr>
            <a:xfrm>
              <a:off x="471256" y="4976849"/>
              <a:ext cx="1626859" cy="4616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en-US" sz="12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+mj-lt"/>
                  <a:cs typeface="Arial" panose="020B0604020202020204" pitchFamily="34" charset="0"/>
                </a:rPr>
                <a:t>Foreign Currency Broker</a:t>
              </a:r>
            </a:p>
          </p:txBody>
        </p:sp>
        <p:sp>
          <p:nvSpPr>
            <p:cNvPr id="66" name="Freeform 102"/>
            <p:cNvSpPr>
              <a:spLocks noEditPoints="1"/>
            </p:cNvSpPr>
            <p:nvPr/>
          </p:nvSpPr>
          <p:spPr bwMode="auto">
            <a:xfrm>
              <a:off x="1052493" y="4398139"/>
              <a:ext cx="328539" cy="519371"/>
            </a:xfrm>
            <a:custGeom>
              <a:avLst/>
              <a:gdLst>
                <a:gd name="T0" fmla="*/ 1048 w 2125"/>
                <a:gd name="T1" fmla="*/ 125 h 3355"/>
                <a:gd name="T2" fmla="*/ 1329 w 2125"/>
                <a:gd name="T3" fmla="*/ 0 h 3355"/>
                <a:gd name="T4" fmla="*/ 1609 w 2125"/>
                <a:gd name="T5" fmla="*/ 125 h 3355"/>
                <a:gd name="T6" fmla="*/ 1701 w 2125"/>
                <a:gd name="T7" fmla="*/ 422 h 3355"/>
                <a:gd name="T8" fmla="*/ 1543 w 2125"/>
                <a:gd name="T9" fmla="*/ 681 h 3355"/>
                <a:gd name="T10" fmla="*/ 1236 w 2125"/>
                <a:gd name="T11" fmla="*/ 737 h 3355"/>
                <a:gd name="T12" fmla="*/ 997 w 2125"/>
                <a:gd name="T13" fmla="*/ 550 h 3355"/>
                <a:gd name="T14" fmla="*/ 756 w 2125"/>
                <a:gd name="T15" fmla="*/ 1828 h 3355"/>
                <a:gd name="T16" fmla="*/ 661 w 2125"/>
                <a:gd name="T17" fmla="*/ 1902 h 3355"/>
                <a:gd name="T18" fmla="*/ 567 w 2125"/>
                <a:gd name="T19" fmla="*/ 1905 h 3355"/>
                <a:gd name="T20" fmla="*/ 473 w 2125"/>
                <a:gd name="T21" fmla="*/ 1835 h 3355"/>
                <a:gd name="T22" fmla="*/ 569 w 2125"/>
                <a:gd name="T23" fmla="*/ 1832 h 3355"/>
                <a:gd name="T24" fmla="*/ 547 w 2125"/>
                <a:gd name="T25" fmla="*/ 1713 h 3355"/>
                <a:gd name="T26" fmla="*/ 472 w 2125"/>
                <a:gd name="T27" fmla="*/ 1606 h 3355"/>
                <a:gd name="T28" fmla="*/ 538 w 2125"/>
                <a:gd name="T29" fmla="*/ 1508 h 3355"/>
                <a:gd name="T30" fmla="*/ 635 w 2125"/>
                <a:gd name="T31" fmla="*/ 1495 h 3355"/>
                <a:gd name="T32" fmla="*/ 740 w 2125"/>
                <a:gd name="T33" fmla="*/ 1560 h 3355"/>
                <a:gd name="T34" fmla="*/ 649 w 2125"/>
                <a:gd name="T35" fmla="*/ 1562 h 3355"/>
                <a:gd name="T36" fmla="*/ 740 w 2125"/>
                <a:gd name="T37" fmla="*/ 1714 h 3355"/>
                <a:gd name="T38" fmla="*/ 589 w 2125"/>
                <a:gd name="T39" fmla="*/ 1555 h 3355"/>
                <a:gd name="T40" fmla="*/ 550 w 2125"/>
                <a:gd name="T41" fmla="*/ 1603 h 3355"/>
                <a:gd name="T42" fmla="*/ 589 w 2125"/>
                <a:gd name="T43" fmla="*/ 1649 h 3355"/>
                <a:gd name="T44" fmla="*/ 654 w 2125"/>
                <a:gd name="T45" fmla="*/ 1745 h 3355"/>
                <a:gd name="T46" fmla="*/ 672 w 2125"/>
                <a:gd name="T47" fmla="*/ 1830 h 3355"/>
                <a:gd name="T48" fmla="*/ 2101 w 2125"/>
                <a:gd name="T49" fmla="*/ 2194 h 3355"/>
                <a:gd name="T50" fmla="*/ 1972 w 2125"/>
                <a:gd name="T51" fmla="*/ 2277 h 3355"/>
                <a:gd name="T52" fmla="*/ 1839 w 2125"/>
                <a:gd name="T53" fmla="*/ 2163 h 3355"/>
                <a:gd name="T54" fmla="*/ 1705 w 2125"/>
                <a:gd name="T55" fmla="*/ 1318 h 3355"/>
                <a:gd name="T56" fmla="*/ 1676 w 2125"/>
                <a:gd name="T57" fmla="*/ 3271 h 3355"/>
                <a:gd name="T58" fmla="*/ 1499 w 2125"/>
                <a:gd name="T59" fmla="*/ 3352 h 3355"/>
                <a:gd name="T60" fmla="*/ 1362 w 2125"/>
                <a:gd name="T61" fmla="*/ 3216 h 3355"/>
                <a:gd name="T62" fmla="*/ 1275 w 2125"/>
                <a:gd name="T63" fmla="*/ 3271 h 3355"/>
                <a:gd name="T64" fmla="*/ 1097 w 2125"/>
                <a:gd name="T65" fmla="*/ 3352 h 3355"/>
                <a:gd name="T66" fmla="*/ 961 w 2125"/>
                <a:gd name="T67" fmla="*/ 3216 h 3355"/>
                <a:gd name="T68" fmla="*/ 797 w 2125"/>
                <a:gd name="T69" fmla="*/ 2039 h 3355"/>
                <a:gd name="T70" fmla="*/ 473 w 2125"/>
                <a:gd name="T71" fmla="*/ 2060 h 3355"/>
                <a:gd name="T72" fmla="*/ 253 w 2125"/>
                <a:gd name="T73" fmla="*/ 1840 h 3355"/>
                <a:gd name="T74" fmla="*/ 231 w 2125"/>
                <a:gd name="T75" fmla="*/ 1609 h 3355"/>
                <a:gd name="T76" fmla="*/ 92 w 2125"/>
                <a:gd name="T77" fmla="*/ 1636 h 3355"/>
                <a:gd name="T78" fmla="*/ 0 w 2125"/>
                <a:gd name="T79" fmla="*/ 1504 h 3355"/>
                <a:gd name="T80" fmla="*/ 469 w 2125"/>
                <a:gd name="T81" fmla="*/ 952 h 3355"/>
                <a:gd name="T82" fmla="*/ 819 w 2125"/>
                <a:gd name="T83" fmla="*/ 847 h 3355"/>
                <a:gd name="T84" fmla="*/ 1315 w 2125"/>
                <a:gd name="T85" fmla="*/ 975 h 3355"/>
                <a:gd name="T86" fmla="*/ 1569 w 2125"/>
                <a:gd name="T87" fmla="*/ 833 h 3355"/>
                <a:gd name="T88" fmla="*/ 1879 w 2125"/>
                <a:gd name="T89" fmla="*/ 947 h 3355"/>
                <a:gd name="T90" fmla="*/ 1944 w 2125"/>
                <a:gd name="T91" fmla="*/ 1045 h 3355"/>
                <a:gd name="T92" fmla="*/ 2004 w 2125"/>
                <a:gd name="T93" fmla="*/ 1231 h 3355"/>
                <a:gd name="T94" fmla="*/ 2080 w 2125"/>
                <a:gd name="T95" fmla="*/ 1476 h 3355"/>
                <a:gd name="T96" fmla="*/ 2124 w 2125"/>
                <a:gd name="T97" fmla="*/ 1626 h 3355"/>
                <a:gd name="T98" fmla="*/ 860 w 2125"/>
                <a:gd name="T99" fmla="*/ 1510 h 3355"/>
                <a:gd name="T100" fmla="*/ 613 w 2125"/>
                <a:gd name="T101" fmla="*/ 1389 h 3355"/>
                <a:gd name="T102" fmla="*/ 365 w 2125"/>
                <a:gd name="T103" fmla="*/ 1510 h 3355"/>
                <a:gd name="T104" fmla="*/ 312 w 2125"/>
                <a:gd name="T105" fmla="*/ 1784 h 3355"/>
                <a:gd name="T106" fmla="*/ 492 w 2125"/>
                <a:gd name="T107" fmla="*/ 1987 h 3355"/>
                <a:gd name="T108" fmla="*/ 770 w 2125"/>
                <a:gd name="T109" fmla="*/ 1970 h 3355"/>
                <a:gd name="T110" fmla="*/ 922 w 2125"/>
                <a:gd name="T111" fmla="*/ 1743 h 3355"/>
                <a:gd name="T112" fmla="*/ 953 w 2125"/>
                <a:gd name="T113" fmla="*/ 1309 h 3355"/>
                <a:gd name="T114" fmla="*/ 903 w 2125"/>
                <a:gd name="T115" fmla="*/ 1197 h 3355"/>
                <a:gd name="T116" fmla="*/ 797 w 2125"/>
                <a:gd name="T117" fmla="*/ 1170 h 3355"/>
                <a:gd name="T118" fmla="*/ 626 w 2125"/>
                <a:gd name="T119" fmla="*/ 1198 h 3355"/>
                <a:gd name="T120" fmla="*/ 506 w 2125"/>
                <a:gd name="T121" fmla="*/ 1301 h 3355"/>
                <a:gd name="T122" fmla="*/ 563 w 2125"/>
                <a:gd name="T123" fmla="*/ 1319 h 3355"/>
                <a:gd name="T124" fmla="*/ 873 w 2125"/>
                <a:gd name="T125" fmla="*/ 1416 h 3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5" h="3355">
                  <a:moveTo>
                    <a:pt x="953" y="375"/>
                  </a:moveTo>
                  <a:lnTo>
                    <a:pt x="956" y="328"/>
                  </a:lnTo>
                  <a:lnTo>
                    <a:pt x="965" y="282"/>
                  </a:lnTo>
                  <a:lnTo>
                    <a:pt x="979" y="239"/>
                  </a:lnTo>
                  <a:lnTo>
                    <a:pt x="997" y="199"/>
                  </a:lnTo>
                  <a:lnTo>
                    <a:pt x="1021" y="161"/>
                  </a:lnTo>
                  <a:lnTo>
                    <a:pt x="1048" y="125"/>
                  </a:lnTo>
                  <a:lnTo>
                    <a:pt x="1080" y="95"/>
                  </a:lnTo>
                  <a:lnTo>
                    <a:pt x="1114" y="67"/>
                  </a:lnTo>
                  <a:lnTo>
                    <a:pt x="1152" y="44"/>
                  </a:lnTo>
                  <a:lnTo>
                    <a:pt x="1193" y="25"/>
                  </a:lnTo>
                  <a:lnTo>
                    <a:pt x="1236" y="11"/>
                  </a:lnTo>
                  <a:lnTo>
                    <a:pt x="1282" y="3"/>
                  </a:lnTo>
                  <a:lnTo>
                    <a:pt x="1329" y="0"/>
                  </a:lnTo>
                  <a:lnTo>
                    <a:pt x="1376" y="3"/>
                  </a:lnTo>
                  <a:lnTo>
                    <a:pt x="1420" y="11"/>
                  </a:lnTo>
                  <a:lnTo>
                    <a:pt x="1464" y="25"/>
                  </a:lnTo>
                  <a:lnTo>
                    <a:pt x="1505" y="44"/>
                  </a:lnTo>
                  <a:lnTo>
                    <a:pt x="1543" y="67"/>
                  </a:lnTo>
                  <a:lnTo>
                    <a:pt x="1577" y="95"/>
                  </a:lnTo>
                  <a:lnTo>
                    <a:pt x="1609" y="125"/>
                  </a:lnTo>
                  <a:lnTo>
                    <a:pt x="1637" y="161"/>
                  </a:lnTo>
                  <a:lnTo>
                    <a:pt x="1659" y="199"/>
                  </a:lnTo>
                  <a:lnTo>
                    <a:pt x="1678" y="239"/>
                  </a:lnTo>
                  <a:lnTo>
                    <a:pt x="1692" y="282"/>
                  </a:lnTo>
                  <a:lnTo>
                    <a:pt x="1701" y="328"/>
                  </a:lnTo>
                  <a:lnTo>
                    <a:pt x="1703" y="375"/>
                  </a:lnTo>
                  <a:lnTo>
                    <a:pt x="1701" y="422"/>
                  </a:lnTo>
                  <a:lnTo>
                    <a:pt x="1692" y="466"/>
                  </a:lnTo>
                  <a:lnTo>
                    <a:pt x="1678" y="510"/>
                  </a:lnTo>
                  <a:lnTo>
                    <a:pt x="1659" y="550"/>
                  </a:lnTo>
                  <a:lnTo>
                    <a:pt x="1637" y="589"/>
                  </a:lnTo>
                  <a:lnTo>
                    <a:pt x="1609" y="623"/>
                  </a:lnTo>
                  <a:lnTo>
                    <a:pt x="1577" y="655"/>
                  </a:lnTo>
                  <a:lnTo>
                    <a:pt x="1543" y="681"/>
                  </a:lnTo>
                  <a:lnTo>
                    <a:pt x="1505" y="705"/>
                  </a:lnTo>
                  <a:lnTo>
                    <a:pt x="1464" y="724"/>
                  </a:lnTo>
                  <a:lnTo>
                    <a:pt x="1420" y="737"/>
                  </a:lnTo>
                  <a:lnTo>
                    <a:pt x="1376" y="745"/>
                  </a:lnTo>
                  <a:lnTo>
                    <a:pt x="1329" y="748"/>
                  </a:lnTo>
                  <a:lnTo>
                    <a:pt x="1282" y="745"/>
                  </a:lnTo>
                  <a:lnTo>
                    <a:pt x="1236" y="737"/>
                  </a:lnTo>
                  <a:lnTo>
                    <a:pt x="1193" y="724"/>
                  </a:lnTo>
                  <a:lnTo>
                    <a:pt x="1152" y="705"/>
                  </a:lnTo>
                  <a:lnTo>
                    <a:pt x="1114" y="681"/>
                  </a:lnTo>
                  <a:lnTo>
                    <a:pt x="1080" y="655"/>
                  </a:lnTo>
                  <a:lnTo>
                    <a:pt x="1048" y="623"/>
                  </a:lnTo>
                  <a:lnTo>
                    <a:pt x="1021" y="589"/>
                  </a:lnTo>
                  <a:lnTo>
                    <a:pt x="997" y="550"/>
                  </a:lnTo>
                  <a:lnTo>
                    <a:pt x="979" y="510"/>
                  </a:lnTo>
                  <a:lnTo>
                    <a:pt x="965" y="466"/>
                  </a:lnTo>
                  <a:lnTo>
                    <a:pt x="956" y="422"/>
                  </a:lnTo>
                  <a:lnTo>
                    <a:pt x="953" y="375"/>
                  </a:lnTo>
                  <a:close/>
                  <a:moveTo>
                    <a:pt x="764" y="1782"/>
                  </a:moveTo>
                  <a:lnTo>
                    <a:pt x="762" y="1806"/>
                  </a:lnTo>
                  <a:lnTo>
                    <a:pt x="756" y="1828"/>
                  </a:lnTo>
                  <a:lnTo>
                    <a:pt x="746" y="1845"/>
                  </a:lnTo>
                  <a:lnTo>
                    <a:pt x="735" y="1860"/>
                  </a:lnTo>
                  <a:lnTo>
                    <a:pt x="722" y="1873"/>
                  </a:lnTo>
                  <a:lnTo>
                    <a:pt x="707" y="1884"/>
                  </a:lnTo>
                  <a:lnTo>
                    <a:pt x="691" y="1892"/>
                  </a:lnTo>
                  <a:lnTo>
                    <a:pt x="676" y="1898"/>
                  </a:lnTo>
                  <a:lnTo>
                    <a:pt x="661" y="1902"/>
                  </a:lnTo>
                  <a:lnTo>
                    <a:pt x="647" y="1905"/>
                  </a:lnTo>
                  <a:lnTo>
                    <a:pt x="635" y="1907"/>
                  </a:lnTo>
                  <a:lnTo>
                    <a:pt x="635" y="1952"/>
                  </a:lnTo>
                  <a:lnTo>
                    <a:pt x="589" y="1952"/>
                  </a:lnTo>
                  <a:lnTo>
                    <a:pt x="589" y="1909"/>
                  </a:lnTo>
                  <a:lnTo>
                    <a:pt x="579" y="1907"/>
                  </a:lnTo>
                  <a:lnTo>
                    <a:pt x="567" y="1905"/>
                  </a:lnTo>
                  <a:lnTo>
                    <a:pt x="553" y="1901"/>
                  </a:lnTo>
                  <a:lnTo>
                    <a:pt x="538" y="1896"/>
                  </a:lnTo>
                  <a:lnTo>
                    <a:pt x="524" y="1889"/>
                  </a:lnTo>
                  <a:lnTo>
                    <a:pt x="510" y="1880"/>
                  </a:lnTo>
                  <a:lnTo>
                    <a:pt x="496" y="1867"/>
                  </a:lnTo>
                  <a:lnTo>
                    <a:pt x="483" y="1853"/>
                  </a:lnTo>
                  <a:lnTo>
                    <a:pt x="473" y="1835"/>
                  </a:lnTo>
                  <a:lnTo>
                    <a:pt x="465" y="1814"/>
                  </a:lnTo>
                  <a:lnTo>
                    <a:pt x="460" y="1790"/>
                  </a:lnTo>
                  <a:lnTo>
                    <a:pt x="540" y="1782"/>
                  </a:lnTo>
                  <a:lnTo>
                    <a:pt x="547" y="1800"/>
                  </a:lnTo>
                  <a:lnTo>
                    <a:pt x="554" y="1813"/>
                  </a:lnTo>
                  <a:lnTo>
                    <a:pt x="562" y="1825"/>
                  </a:lnTo>
                  <a:lnTo>
                    <a:pt x="569" y="1832"/>
                  </a:lnTo>
                  <a:lnTo>
                    <a:pt x="577" y="1837"/>
                  </a:lnTo>
                  <a:lnTo>
                    <a:pt x="584" y="1841"/>
                  </a:lnTo>
                  <a:lnTo>
                    <a:pt x="589" y="1843"/>
                  </a:lnTo>
                  <a:lnTo>
                    <a:pt x="589" y="1728"/>
                  </a:lnTo>
                  <a:lnTo>
                    <a:pt x="577" y="1724"/>
                  </a:lnTo>
                  <a:lnTo>
                    <a:pt x="562" y="1719"/>
                  </a:lnTo>
                  <a:lnTo>
                    <a:pt x="547" y="1713"/>
                  </a:lnTo>
                  <a:lnTo>
                    <a:pt x="531" y="1704"/>
                  </a:lnTo>
                  <a:lnTo>
                    <a:pt x="516" y="1694"/>
                  </a:lnTo>
                  <a:lnTo>
                    <a:pt x="502" y="1681"/>
                  </a:lnTo>
                  <a:lnTo>
                    <a:pt x="489" y="1667"/>
                  </a:lnTo>
                  <a:lnTo>
                    <a:pt x="480" y="1649"/>
                  </a:lnTo>
                  <a:lnTo>
                    <a:pt x="474" y="1629"/>
                  </a:lnTo>
                  <a:lnTo>
                    <a:pt x="472" y="1606"/>
                  </a:lnTo>
                  <a:lnTo>
                    <a:pt x="474" y="1584"/>
                  </a:lnTo>
                  <a:lnTo>
                    <a:pt x="479" y="1565"/>
                  </a:lnTo>
                  <a:lnTo>
                    <a:pt x="487" y="1549"/>
                  </a:lnTo>
                  <a:lnTo>
                    <a:pt x="499" y="1535"/>
                  </a:lnTo>
                  <a:lnTo>
                    <a:pt x="511" y="1524"/>
                  </a:lnTo>
                  <a:lnTo>
                    <a:pt x="524" y="1515"/>
                  </a:lnTo>
                  <a:lnTo>
                    <a:pt x="538" y="1508"/>
                  </a:lnTo>
                  <a:lnTo>
                    <a:pt x="553" y="1503"/>
                  </a:lnTo>
                  <a:lnTo>
                    <a:pt x="567" y="1499"/>
                  </a:lnTo>
                  <a:lnTo>
                    <a:pt x="579" y="1496"/>
                  </a:lnTo>
                  <a:lnTo>
                    <a:pt x="589" y="1495"/>
                  </a:lnTo>
                  <a:lnTo>
                    <a:pt x="589" y="1449"/>
                  </a:lnTo>
                  <a:lnTo>
                    <a:pt x="635" y="1449"/>
                  </a:lnTo>
                  <a:lnTo>
                    <a:pt x="635" y="1495"/>
                  </a:lnTo>
                  <a:lnTo>
                    <a:pt x="660" y="1499"/>
                  </a:lnTo>
                  <a:lnTo>
                    <a:pt x="681" y="1506"/>
                  </a:lnTo>
                  <a:lnTo>
                    <a:pt x="700" y="1515"/>
                  </a:lnTo>
                  <a:lnTo>
                    <a:pt x="714" y="1525"/>
                  </a:lnTo>
                  <a:lnTo>
                    <a:pt x="725" y="1536"/>
                  </a:lnTo>
                  <a:lnTo>
                    <a:pt x="734" y="1548"/>
                  </a:lnTo>
                  <a:lnTo>
                    <a:pt x="740" y="1560"/>
                  </a:lnTo>
                  <a:lnTo>
                    <a:pt x="745" y="1571"/>
                  </a:lnTo>
                  <a:lnTo>
                    <a:pt x="748" y="1581"/>
                  </a:lnTo>
                  <a:lnTo>
                    <a:pt x="751" y="1590"/>
                  </a:lnTo>
                  <a:lnTo>
                    <a:pt x="672" y="1600"/>
                  </a:lnTo>
                  <a:lnTo>
                    <a:pt x="667" y="1584"/>
                  </a:lnTo>
                  <a:lnTo>
                    <a:pt x="660" y="1572"/>
                  </a:lnTo>
                  <a:lnTo>
                    <a:pt x="649" y="1562"/>
                  </a:lnTo>
                  <a:lnTo>
                    <a:pt x="635" y="1555"/>
                  </a:lnTo>
                  <a:lnTo>
                    <a:pt x="635" y="1663"/>
                  </a:lnTo>
                  <a:lnTo>
                    <a:pt x="666" y="1670"/>
                  </a:lnTo>
                  <a:lnTo>
                    <a:pt x="691" y="1679"/>
                  </a:lnTo>
                  <a:lnTo>
                    <a:pt x="712" y="1690"/>
                  </a:lnTo>
                  <a:lnTo>
                    <a:pt x="728" y="1701"/>
                  </a:lnTo>
                  <a:lnTo>
                    <a:pt x="740" y="1714"/>
                  </a:lnTo>
                  <a:lnTo>
                    <a:pt x="749" y="1726"/>
                  </a:lnTo>
                  <a:lnTo>
                    <a:pt x="756" y="1739"/>
                  </a:lnTo>
                  <a:lnTo>
                    <a:pt x="760" y="1751"/>
                  </a:lnTo>
                  <a:lnTo>
                    <a:pt x="763" y="1762"/>
                  </a:lnTo>
                  <a:lnTo>
                    <a:pt x="764" y="1773"/>
                  </a:lnTo>
                  <a:lnTo>
                    <a:pt x="764" y="1782"/>
                  </a:lnTo>
                  <a:close/>
                  <a:moveTo>
                    <a:pt x="589" y="1555"/>
                  </a:moveTo>
                  <a:lnTo>
                    <a:pt x="583" y="1557"/>
                  </a:lnTo>
                  <a:lnTo>
                    <a:pt x="576" y="1560"/>
                  </a:lnTo>
                  <a:lnTo>
                    <a:pt x="569" y="1564"/>
                  </a:lnTo>
                  <a:lnTo>
                    <a:pt x="562" y="1570"/>
                  </a:lnTo>
                  <a:lnTo>
                    <a:pt x="556" y="1578"/>
                  </a:lnTo>
                  <a:lnTo>
                    <a:pt x="552" y="1588"/>
                  </a:lnTo>
                  <a:lnTo>
                    <a:pt x="550" y="1603"/>
                  </a:lnTo>
                  <a:lnTo>
                    <a:pt x="552" y="1616"/>
                  </a:lnTo>
                  <a:lnTo>
                    <a:pt x="556" y="1626"/>
                  </a:lnTo>
                  <a:lnTo>
                    <a:pt x="561" y="1634"/>
                  </a:lnTo>
                  <a:lnTo>
                    <a:pt x="568" y="1639"/>
                  </a:lnTo>
                  <a:lnTo>
                    <a:pt x="576" y="1644"/>
                  </a:lnTo>
                  <a:lnTo>
                    <a:pt x="583" y="1647"/>
                  </a:lnTo>
                  <a:lnTo>
                    <a:pt x="589" y="1649"/>
                  </a:lnTo>
                  <a:lnTo>
                    <a:pt x="589" y="1555"/>
                  </a:lnTo>
                  <a:close/>
                  <a:moveTo>
                    <a:pt x="687" y="1792"/>
                  </a:moveTo>
                  <a:lnTo>
                    <a:pt x="685" y="1778"/>
                  </a:lnTo>
                  <a:lnTo>
                    <a:pt x="680" y="1767"/>
                  </a:lnTo>
                  <a:lnTo>
                    <a:pt x="673" y="1757"/>
                  </a:lnTo>
                  <a:lnTo>
                    <a:pt x="664" y="1750"/>
                  </a:lnTo>
                  <a:lnTo>
                    <a:pt x="654" y="1745"/>
                  </a:lnTo>
                  <a:lnTo>
                    <a:pt x="643" y="1742"/>
                  </a:lnTo>
                  <a:lnTo>
                    <a:pt x="635" y="1739"/>
                  </a:lnTo>
                  <a:lnTo>
                    <a:pt x="635" y="1847"/>
                  </a:lnTo>
                  <a:lnTo>
                    <a:pt x="642" y="1845"/>
                  </a:lnTo>
                  <a:lnTo>
                    <a:pt x="652" y="1842"/>
                  </a:lnTo>
                  <a:lnTo>
                    <a:pt x="662" y="1837"/>
                  </a:lnTo>
                  <a:lnTo>
                    <a:pt x="672" y="1830"/>
                  </a:lnTo>
                  <a:lnTo>
                    <a:pt x="680" y="1821"/>
                  </a:lnTo>
                  <a:lnTo>
                    <a:pt x="685" y="1807"/>
                  </a:lnTo>
                  <a:lnTo>
                    <a:pt x="687" y="1792"/>
                  </a:lnTo>
                  <a:close/>
                  <a:moveTo>
                    <a:pt x="2125" y="1630"/>
                  </a:moveTo>
                  <a:lnTo>
                    <a:pt x="2113" y="2142"/>
                  </a:lnTo>
                  <a:lnTo>
                    <a:pt x="2110" y="2169"/>
                  </a:lnTo>
                  <a:lnTo>
                    <a:pt x="2101" y="2194"/>
                  </a:lnTo>
                  <a:lnTo>
                    <a:pt x="2088" y="2218"/>
                  </a:lnTo>
                  <a:lnTo>
                    <a:pt x="2071" y="2237"/>
                  </a:lnTo>
                  <a:lnTo>
                    <a:pt x="2051" y="2253"/>
                  </a:lnTo>
                  <a:lnTo>
                    <a:pt x="2028" y="2265"/>
                  </a:lnTo>
                  <a:lnTo>
                    <a:pt x="2003" y="2274"/>
                  </a:lnTo>
                  <a:lnTo>
                    <a:pt x="1975" y="2277"/>
                  </a:lnTo>
                  <a:lnTo>
                    <a:pt x="1972" y="2277"/>
                  </a:lnTo>
                  <a:lnTo>
                    <a:pt x="1944" y="2273"/>
                  </a:lnTo>
                  <a:lnTo>
                    <a:pt x="1918" y="2264"/>
                  </a:lnTo>
                  <a:lnTo>
                    <a:pt x="1895" y="2251"/>
                  </a:lnTo>
                  <a:lnTo>
                    <a:pt x="1875" y="2234"/>
                  </a:lnTo>
                  <a:lnTo>
                    <a:pt x="1859" y="2213"/>
                  </a:lnTo>
                  <a:lnTo>
                    <a:pt x="1847" y="2189"/>
                  </a:lnTo>
                  <a:lnTo>
                    <a:pt x="1839" y="2163"/>
                  </a:lnTo>
                  <a:lnTo>
                    <a:pt x="1837" y="2135"/>
                  </a:lnTo>
                  <a:lnTo>
                    <a:pt x="1849" y="1647"/>
                  </a:lnTo>
                  <a:lnTo>
                    <a:pt x="1734" y="1291"/>
                  </a:lnTo>
                  <a:lnTo>
                    <a:pt x="1724" y="1293"/>
                  </a:lnTo>
                  <a:lnTo>
                    <a:pt x="1716" y="1299"/>
                  </a:lnTo>
                  <a:lnTo>
                    <a:pt x="1709" y="1307"/>
                  </a:lnTo>
                  <a:lnTo>
                    <a:pt x="1705" y="1318"/>
                  </a:lnTo>
                  <a:lnTo>
                    <a:pt x="1702" y="1330"/>
                  </a:lnTo>
                  <a:lnTo>
                    <a:pt x="1701" y="1342"/>
                  </a:lnTo>
                  <a:lnTo>
                    <a:pt x="1700" y="1353"/>
                  </a:lnTo>
                  <a:lnTo>
                    <a:pt x="1700" y="3186"/>
                  </a:lnTo>
                  <a:lnTo>
                    <a:pt x="1697" y="3216"/>
                  </a:lnTo>
                  <a:lnTo>
                    <a:pt x="1689" y="3245"/>
                  </a:lnTo>
                  <a:lnTo>
                    <a:pt x="1676" y="3271"/>
                  </a:lnTo>
                  <a:lnTo>
                    <a:pt x="1659" y="3295"/>
                  </a:lnTo>
                  <a:lnTo>
                    <a:pt x="1639" y="3315"/>
                  </a:lnTo>
                  <a:lnTo>
                    <a:pt x="1615" y="3331"/>
                  </a:lnTo>
                  <a:lnTo>
                    <a:pt x="1589" y="3344"/>
                  </a:lnTo>
                  <a:lnTo>
                    <a:pt x="1560" y="3352"/>
                  </a:lnTo>
                  <a:lnTo>
                    <a:pt x="1529" y="3355"/>
                  </a:lnTo>
                  <a:lnTo>
                    <a:pt x="1499" y="3352"/>
                  </a:lnTo>
                  <a:lnTo>
                    <a:pt x="1470" y="3344"/>
                  </a:lnTo>
                  <a:lnTo>
                    <a:pt x="1444" y="3331"/>
                  </a:lnTo>
                  <a:lnTo>
                    <a:pt x="1419" y="3315"/>
                  </a:lnTo>
                  <a:lnTo>
                    <a:pt x="1399" y="3295"/>
                  </a:lnTo>
                  <a:lnTo>
                    <a:pt x="1383" y="3271"/>
                  </a:lnTo>
                  <a:lnTo>
                    <a:pt x="1369" y="3245"/>
                  </a:lnTo>
                  <a:lnTo>
                    <a:pt x="1362" y="3216"/>
                  </a:lnTo>
                  <a:lnTo>
                    <a:pt x="1359" y="3186"/>
                  </a:lnTo>
                  <a:lnTo>
                    <a:pt x="1359" y="2206"/>
                  </a:lnTo>
                  <a:lnTo>
                    <a:pt x="1298" y="2206"/>
                  </a:lnTo>
                  <a:lnTo>
                    <a:pt x="1298" y="3186"/>
                  </a:lnTo>
                  <a:lnTo>
                    <a:pt x="1295" y="3216"/>
                  </a:lnTo>
                  <a:lnTo>
                    <a:pt x="1287" y="3245"/>
                  </a:lnTo>
                  <a:lnTo>
                    <a:pt x="1275" y="3271"/>
                  </a:lnTo>
                  <a:lnTo>
                    <a:pt x="1257" y="3295"/>
                  </a:lnTo>
                  <a:lnTo>
                    <a:pt x="1237" y="3315"/>
                  </a:lnTo>
                  <a:lnTo>
                    <a:pt x="1213" y="3331"/>
                  </a:lnTo>
                  <a:lnTo>
                    <a:pt x="1187" y="3344"/>
                  </a:lnTo>
                  <a:lnTo>
                    <a:pt x="1158" y="3352"/>
                  </a:lnTo>
                  <a:lnTo>
                    <a:pt x="1128" y="3355"/>
                  </a:lnTo>
                  <a:lnTo>
                    <a:pt x="1097" y="3352"/>
                  </a:lnTo>
                  <a:lnTo>
                    <a:pt x="1069" y="3344"/>
                  </a:lnTo>
                  <a:lnTo>
                    <a:pt x="1042" y="3331"/>
                  </a:lnTo>
                  <a:lnTo>
                    <a:pt x="1018" y="3315"/>
                  </a:lnTo>
                  <a:lnTo>
                    <a:pt x="997" y="3295"/>
                  </a:lnTo>
                  <a:lnTo>
                    <a:pt x="981" y="3271"/>
                  </a:lnTo>
                  <a:lnTo>
                    <a:pt x="968" y="3245"/>
                  </a:lnTo>
                  <a:lnTo>
                    <a:pt x="961" y="3216"/>
                  </a:lnTo>
                  <a:lnTo>
                    <a:pt x="957" y="3186"/>
                  </a:lnTo>
                  <a:lnTo>
                    <a:pt x="957" y="1874"/>
                  </a:lnTo>
                  <a:lnTo>
                    <a:pt x="933" y="1915"/>
                  </a:lnTo>
                  <a:lnTo>
                    <a:pt x="905" y="1952"/>
                  </a:lnTo>
                  <a:lnTo>
                    <a:pt x="873" y="1985"/>
                  </a:lnTo>
                  <a:lnTo>
                    <a:pt x="837" y="2014"/>
                  </a:lnTo>
                  <a:lnTo>
                    <a:pt x="797" y="2039"/>
                  </a:lnTo>
                  <a:lnTo>
                    <a:pt x="755" y="2059"/>
                  </a:lnTo>
                  <a:lnTo>
                    <a:pt x="710" y="2074"/>
                  </a:lnTo>
                  <a:lnTo>
                    <a:pt x="662" y="2083"/>
                  </a:lnTo>
                  <a:lnTo>
                    <a:pt x="613" y="2086"/>
                  </a:lnTo>
                  <a:lnTo>
                    <a:pt x="564" y="2083"/>
                  </a:lnTo>
                  <a:lnTo>
                    <a:pt x="518" y="2074"/>
                  </a:lnTo>
                  <a:lnTo>
                    <a:pt x="473" y="2060"/>
                  </a:lnTo>
                  <a:lnTo>
                    <a:pt x="431" y="2040"/>
                  </a:lnTo>
                  <a:lnTo>
                    <a:pt x="393" y="2017"/>
                  </a:lnTo>
                  <a:lnTo>
                    <a:pt x="356" y="1989"/>
                  </a:lnTo>
                  <a:lnTo>
                    <a:pt x="324" y="1957"/>
                  </a:lnTo>
                  <a:lnTo>
                    <a:pt x="296" y="1920"/>
                  </a:lnTo>
                  <a:lnTo>
                    <a:pt x="272" y="1882"/>
                  </a:lnTo>
                  <a:lnTo>
                    <a:pt x="253" y="1840"/>
                  </a:lnTo>
                  <a:lnTo>
                    <a:pt x="239" y="1795"/>
                  </a:lnTo>
                  <a:lnTo>
                    <a:pt x="230" y="1749"/>
                  </a:lnTo>
                  <a:lnTo>
                    <a:pt x="226" y="1700"/>
                  </a:lnTo>
                  <a:lnTo>
                    <a:pt x="228" y="1666"/>
                  </a:lnTo>
                  <a:lnTo>
                    <a:pt x="233" y="1632"/>
                  </a:lnTo>
                  <a:lnTo>
                    <a:pt x="241" y="1600"/>
                  </a:lnTo>
                  <a:lnTo>
                    <a:pt x="231" y="1609"/>
                  </a:lnTo>
                  <a:lnTo>
                    <a:pt x="216" y="1618"/>
                  </a:lnTo>
                  <a:lnTo>
                    <a:pt x="200" y="1627"/>
                  </a:lnTo>
                  <a:lnTo>
                    <a:pt x="181" y="1634"/>
                  </a:lnTo>
                  <a:lnTo>
                    <a:pt x="160" y="1640"/>
                  </a:lnTo>
                  <a:lnTo>
                    <a:pt x="138" y="1642"/>
                  </a:lnTo>
                  <a:lnTo>
                    <a:pt x="114" y="1641"/>
                  </a:lnTo>
                  <a:lnTo>
                    <a:pt x="92" y="1636"/>
                  </a:lnTo>
                  <a:lnTo>
                    <a:pt x="68" y="1626"/>
                  </a:lnTo>
                  <a:lnTo>
                    <a:pt x="46" y="1610"/>
                  </a:lnTo>
                  <a:lnTo>
                    <a:pt x="29" y="1591"/>
                  </a:lnTo>
                  <a:lnTo>
                    <a:pt x="15" y="1572"/>
                  </a:lnTo>
                  <a:lnTo>
                    <a:pt x="6" y="1550"/>
                  </a:lnTo>
                  <a:lnTo>
                    <a:pt x="1" y="1527"/>
                  </a:lnTo>
                  <a:lnTo>
                    <a:pt x="0" y="1504"/>
                  </a:lnTo>
                  <a:lnTo>
                    <a:pt x="2" y="1480"/>
                  </a:lnTo>
                  <a:lnTo>
                    <a:pt x="9" y="1457"/>
                  </a:lnTo>
                  <a:lnTo>
                    <a:pt x="20" y="1436"/>
                  </a:lnTo>
                  <a:lnTo>
                    <a:pt x="35" y="1415"/>
                  </a:lnTo>
                  <a:lnTo>
                    <a:pt x="411" y="995"/>
                  </a:lnTo>
                  <a:lnTo>
                    <a:pt x="437" y="972"/>
                  </a:lnTo>
                  <a:lnTo>
                    <a:pt x="469" y="952"/>
                  </a:lnTo>
                  <a:lnTo>
                    <a:pt x="506" y="934"/>
                  </a:lnTo>
                  <a:lnTo>
                    <a:pt x="549" y="915"/>
                  </a:lnTo>
                  <a:lnTo>
                    <a:pt x="596" y="899"/>
                  </a:lnTo>
                  <a:lnTo>
                    <a:pt x="647" y="884"/>
                  </a:lnTo>
                  <a:lnTo>
                    <a:pt x="702" y="871"/>
                  </a:lnTo>
                  <a:lnTo>
                    <a:pt x="759" y="858"/>
                  </a:lnTo>
                  <a:lnTo>
                    <a:pt x="819" y="847"/>
                  </a:lnTo>
                  <a:lnTo>
                    <a:pt x="881" y="839"/>
                  </a:lnTo>
                  <a:lnTo>
                    <a:pt x="944" y="831"/>
                  </a:lnTo>
                  <a:lnTo>
                    <a:pt x="1008" y="825"/>
                  </a:lnTo>
                  <a:lnTo>
                    <a:pt x="1074" y="821"/>
                  </a:lnTo>
                  <a:lnTo>
                    <a:pt x="1138" y="819"/>
                  </a:lnTo>
                  <a:lnTo>
                    <a:pt x="1202" y="818"/>
                  </a:lnTo>
                  <a:lnTo>
                    <a:pt x="1315" y="975"/>
                  </a:lnTo>
                  <a:lnTo>
                    <a:pt x="1202" y="1768"/>
                  </a:lnTo>
                  <a:lnTo>
                    <a:pt x="1329" y="1915"/>
                  </a:lnTo>
                  <a:lnTo>
                    <a:pt x="1455" y="1768"/>
                  </a:lnTo>
                  <a:lnTo>
                    <a:pt x="1342" y="975"/>
                  </a:lnTo>
                  <a:lnTo>
                    <a:pt x="1455" y="818"/>
                  </a:lnTo>
                  <a:lnTo>
                    <a:pt x="1513" y="824"/>
                  </a:lnTo>
                  <a:lnTo>
                    <a:pt x="1569" y="833"/>
                  </a:lnTo>
                  <a:lnTo>
                    <a:pt x="1624" y="846"/>
                  </a:lnTo>
                  <a:lnTo>
                    <a:pt x="1677" y="860"/>
                  </a:lnTo>
                  <a:lnTo>
                    <a:pt x="1726" y="877"/>
                  </a:lnTo>
                  <a:lnTo>
                    <a:pt x="1772" y="894"/>
                  </a:lnTo>
                  <a:lnTo>
                    <a:pt x="1813" y="912"/>
                  </a:lnTo>
                  <a:lnTo>
                    <a:pt x="1849" y="930"/>
                  </a:lnTo>
                  <a:lnTo>
                    <a:pt x="1879" y="947"/>
                  </a:lnTo>
                  <a:lnTo>
                    <a:pt x="1898" y="960"/>
                  </a:lnTo>
                  <a:lnTo>
                    <a:pt x="1914" y="977"/>
                  </a:lnTo>
                  <a:lnTo>
                    <a:pt x="1927" y="998"/>
                  </a:lnTo>
                  <a:lnTo>
                    <a:pt x="1937" y="1021"/>
                  </a:lnTo>
                  <a:lnTo>
                    <a:pt x="1938" y="1023"/>
                  </a:lnTo>
                  <a:lnTo>
                    <a:pt x="1940" y="1031"/>
                  </a:lnTo>
                  <a:lnTo>
                    <a:pt x="1944" y="1045"/>
                  </a:lnTo>
                  <a:lnTo>
                    <a:pt x="1950" y="1062"/>
                  </a:lnTo>
                  <a:lnTo>
                    <a:pt x="1957" y="1082"/>
                  </a:lnTo>
                  <a:lnTo>
                    <a:pt x="1965" y="1107"/>
                  </a:lnTo>
                  <a:lnTo>
                    <a:pt x="1973" y="1135"/>
                  </a:lnTo>
                  <a:lnTo>
                    <a:pt x="1982" y="1165"/>
                  </a:lnTo>
                  <a:lnTo>
                    <a:pt x="1992" y="1197"/>
                  </a:lnTo>
                  <a:lnTo>
                    <a:pt x="2004" y="1231"/>
                  </a:lnTo>
                  <a:lnTo>
                    <a:pt x="2015" y="1266"/>
                  </a:lnTo>
                  <a:lnTo>
                    <a:pt x="2026" y="1301"/>
                  </a:lnTo>
                  <a:lnTo>
                    <a:pt x="2037" y="1338"/>
                  </a:lnTo>
                  <a:lnTo>
                    <a:pt x="2048" y="1374"/>
                  </a:lnTo>
                  <a:lnTo>
                    <a:pt x="2059" y="1409"/>
                  </a:lnTo>
                  <a:lnTo>
                    <a:pt x="2070" y="1444"/>
                  </a:lnTo>
                  <a:lnTo>
                    <a:pt x="2080" y="1476"/>
                  </a:lnTo>
                  <a:lnTo>
                    <a:pt x="2089" y="1507"/>
                  </a:lnTo>
                  <a:lnTo>
                    <a:pt x="2098" y="1535"/>
                  </a:lnTo>
                  <a:lnTo>
                    <a:pt x="2106" y="1561"/>
                  </a:lnTo>
                  <a:lnTo>
                    <a:pt x="2113" y="1583"/>
                  </a:lnTo>
                  <a:lnTo>
                    <a:pt x="2118" y="1602"/>
                  </a:lnTo>
                  <a:lnTo>
                    <a:pt x="2122" y="1616"/>
                  </a:lnTo>
                  <a:lnTo>
                    <a:pt x="2124" y="1626"/>
                  </a:lnTo>
                  <a:lnTo>
                    <a:pt x="2125" y="1630"/>
                  </a:lnTo>
                  <a:close/>
                  <a:moveTo>
                    <a:pt x="925" y="1700"/>
                  </a:moveTo>
                  <a:lnTo>
                    <a:pt x="922" y="1659"/>
                  </a:lnTo>
                  <a:lnTo>
                    <a:pt x="914" y="1618"/>
                  </a:lnTo>
                  <a:lnTo>
                    <a:pt x="900" y="1579"/>
                  </a:lnTo>
                  <a:lnTo>
                    <a:pt x="882" y="1544"/>
                  </a:lnTo>
                  <a:lnTo>
                    <a:pt x="860" y="1510"/>
                  </a:lnTo>
                  <a:lnTo>
                    <a:pt x="833" y="1480"/>
                  </a:lnTo>
                  <a:lnTo>
                    <a:pt x="804" y="1454"/>
                  </a:lnTo>
                  <a:lnTo>
                    <a:pt x="770" y="1432"/>
                  </a:lnTo>
                  <a:lnTo>
                    <a:pt x="734" y="1413"/>
                  </a:lnTo>
                  <a:lnTo>
                    <a:pt x="695" y="1400"/>
                  </a:lnTo>
                  <a:lnTo>
                    <a:pt x="655" y="1392"/>
                  </a:lnTo>
                  <a:lnTo>
                    <a:pt x="613" y="1389"/>
                  </a:lnTo>
                  <a:lnTo>
                    <a:pt x="570" y="1392"/>
                  </a:lnTo>
                  <a:lnTo>
                    <a:pt x="529" y="1400"/>
                  </a:lnTo>
                  <a:lnTo>
                    <a:pt x="492" y="1413"/>
                  </a:lnTo>
                  <a:lnTo>
                    <a:pt x="455" y="1432"/>
                  </a:lnTo>
                  <a:lnTo>
                    <a:pt x="422" y="1454"/>
                  </a:lnTo>
                  <a:lnTo>
                    <a:pt x="392" y="1480"/>
                  </a:lnTo>
                  <a:lnTo>
                    <a:pt x="365" y="1510"/>
                  </a:lnTo>
                  <a:lnTo>
                    <a:pt x="343" y="1544"/>
                  </a:lnTo>
                  <a:lnTo>
                    <a:pt x="325" y="1579"/>
                  </a:lnTo>
                  <a:lnTo>
                    <a:pt x="312" y="1618"/>
                  </a:lnTo>
                  <a:lnTo>
                    <a:pt x="303" y="1659"/>
                  </a:lnTo>
                  <a:lnTo>
                    <a:pt x="301" y="1700"/>
                  </a:lnTo>
                  <a:lnTo>
                    <a:pt x="303" y="1743"/>
                  </a:lnTo>
                  <a:lnTo>
                    <a:pt x="312" y="1784"/>
                  </a:lnTo>
                  <a:lnTo>
                    <a:pt x="325" y="1822"/>
                  </a:lnTo>
                  <a:lnTo>
                    <a:pt x="343" y="1858"/>
                  </a:lnTo>
                  <a:lnTo>
                    <a:pt x="365" y="1891"/>
                  </a:lnTo>
                  <a:lnTo>
                    <a:pt x="392" y="1921"/>
                  </a:lnTo>
                  <a:lnTo>
                    <a:pt x="422" y="1948"/>
                  </a:lnTo>
                  <a:lnTo>
                    <a:pt x="455" y="1970"/>
                  </a:lnTo>
                  <a:lnTo>
                    <a:pt x="492" y="1987"/>
                  </a:lnTo>
                  <a:lnTo>
                    <a:pt x="529" y="2001"/>
                  </a:lnTo>
                  <a:lnTo>
                    <a:pt x="570" y="2010"/>
                  </a:lnTo>
                  <a:lnTo>
                    <a:pt x="613" y="2012"/>
                  </a:lnTo>
                  <a:lnTo>
                    <a:pt x="655" y="2010"/>
                  </a:lnTo>
                  <a:lnTo>
                    <a:pt x="695" y="2001"/>
                  </a:lnTo>
                  <a:lnTo>
                    <a:pt x="734" y="1987"/>
                  </a:lnTo>
                  <a:lnTo>
                    <a:pt x="770" y="1970"/>
                  </a:lnTo>
                  <a:lnTo>
                    <a:pt x="804" y="1948"/>
                  </a:lnTo>
                  <a:lnTo>
                    <a:pt x="833" y="1921"/>
                  </a:lnTo>
                  <a:lnTo>
                    <a:pt x="860" y="1891"/>
                  </a:lnTo>
                  <a:lnTo>
                    <a:pt x="882" y="1858"/>
                  </a:lnTo>
                  <a:lnTo>
                    <a:pt x="900" y="1822"/>
                  </a:lnTo>
                  <a:lnTo>
                    <a:pt x="914" y="1784"/>
                  </a:lnTo>
                  <a:lnTo>
                    <a:pt x="922" y="1743"/>
                  </a:lnTo>
                  <a:lnTo>
                    <a:pt x="925" y="1700"/>
                  </a:lnTo>
                  <a:close/>
                  <a:moveTo>
                    <a:pt x="956" y="1526"/>
                  </a:moveTo>
                  <a:lnTo>
                    <a:pt x="956" y="1353"/>
                  </a:lnTo>
                  <a:lnTo>
                    <a:pt x="956" y="1346"/>
                  </a:lnTo>
                  <a:lnTo>
                    <a:pt x="956" y="1337"/>
                  </a:lnTo>
                  <a:lnTo>
                    <a:pt x="955" y="1324"/>
                  </a:lnTo>
                  <a:lnTo>
                    <a:pt x="953" y="1309"/>
                  </a:lnTo>
                  <a:lnTo>
                    <a:pt x="951" y="1294"/>
                  </a:lnTo>
                  <a:lnTo>
                    <a:pt x="947" y="1277"/>
                  </a:lnTo>
                  <a:lnTo>
                    <a:pt x="942" y="1259"/>
                  </a:lnTo>
                  <a:lnTo>
                    <a:pt x="936" y="1242"/>
                  </a:lnTo>
                  <a:lnTo>
                    <a:pt x="927" y="1226"/>
                  </a:lnTo>
                  <a:lnTo>
                    <a:pt x="917" y="1211"/>
                  </a:lnTo>
                  <a:lnTo>
                    <a:pt x="903" y="1197"/>
                  </a:lnTo>
                  <a:lnTo>
                    <a:pt x="888" y="1185"/>
                  </a:lnTo>
                  <a:lnTo>
                    <a:pt x="870" y="1177"/>
                  </a:lnTo>
                  <a:lnTo>
                    <a:pt x="849" y="1171"/>
                  </a:lnTo>
                  <a:lnTo>
                    <a:pt x="825" y="1169"/>
                  </a:lnTo>
                  <a:lnTo>
                    <a:pt x="822" y="1169"/>
                  </a:lnTo>
                  <a:lnTo>
                    <a:pt x="813" y="1169"/>
                  </a:lnTo>
                  <a:lnTo>
                    <a:pt x="797" y="1170"/>
                  </a:lnTo>
                  <a:lnTo>
                    <a:pt x="778" y="1171"/>
                  </a:lnTo>
                  <a:lnTo>
                    <a:pt x="756" y="1173"/>
                  </a:lnTo>
                  <a:lnTo>
                    <a:pt x="731" y="1175"/>
                  </a:lnTo>
                  <a:lnTo>
                    <a:pt x="705" y="1179"/>
                  </a:lnTo>
                  <a:lnTo>
                    <a:pt x="678" y="1184"/>
                  </a:lnTo>
                  <a:lnTo>
                    <a:pt x="652" y="1190"/>
                  </a:lnTo>
                  <a:lnTo>
                    <a:pt x="626" y="1198"/>
                  </a:lnTo>
                  <a:lnTo>
                    <a:pt x="603" y="1208"/>
                  </a:lnTo>
                  <a:lnTo>
                    <a:pt x="583" y="1219"/>
                  </a:lnTo>
                  <a:lnTo>
                    <a:pt x="567" y="1232"/>
                  </a:lnTo>
                  <a:lnTo>
                    <a:pt x="551" y="1250"/>
                  </a:lnTo>
                  <a:lnTo>
                    <a:pt x="534" y="1269"/>
                  </a:lnTo>
                  <a:lnTo>
                    <a:pt x="519" y="1285"/>
                  </a:lnTo>
                  <a:lnTo>
                    <a:pt x="506" y="1301"/>
                  </a:lnTo>
                  <a:lnTo>
                    <a:pt x="494" y="1314"/>
                  </a:lnTo>
                  <a:lnTo>
                    <a:pt x="484" y="1326"/>
                  </a:lnTo>
                  <a:lnTo>
                    <a:pt x="476" y="1335"/>
                  </a:lnTo>
                  <a:lnTo>
                    <a:pt x="472" y="1341"/>
                  </a:lnTo>
                  <a:lnTo>
                    <a:pt x="470" y="1342"/>
                  </a:lnTo>
                  <a:lnTo>
                    <a:pt x="515" y="1328"/>
                  </a:lnTo>
                  <a:lnTo>
                    <a:pt x="563" y="1319"/>
                  </a:lnTo>
                  <a:lnTo>
                    <a:pt x="613" y="1315"/>
                  </a:lnTo>
                  <a:lnTo>
                    <a:pt x="662" y="1319"/>
                  </a:lnTo>
                  <a:lnTo>
                    <a:pt x="710" y="1328"/>
                  </a:lnTo>
                  <a:lnTo>
                    <a:pt x="755" y="1342"/>
                  </a:lnTo>
                  <a:lnTo>
                    <a:pt x="797" y="1362"/>
                  </a:lnTo>
                  <a:lnTo>
                    <a:pt x="836" y="1387"/>
                  </a:lnTo>
                  <a:lnTo>
                    <a:pt x="873" y="1416"/>
                  </a:lnTo>
                  <a:lnTo>
                    <a:pt x="905" y="1449"/>
                  </a:lnTo>
                  <a:lnTo>
                    <a:pt x="933" y="1487"/>
                  </a:lnTo>
                  <a:lnTo>
                    <a:pt x="956" y="1526"/>
                  </a:lnTo>
                  <a:close/>
                </a:path>
              </a:pathLst>
            </a:custGeom>
            <a:solidFill>
              <a:srgbClr val="26867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 Light" panose="020F0302020204030204"/>
              </a:endParaRPr>
            </a:p>
          </p:txBody>
        </p:sp>
        <p:sp>
          <p:nvSpPr>
            <p:cNvPr id="85" name="Rectangle 84"/>
            <p:cNvSpPr/>
            <p:nvPr/>
          </p:nvSpPr>
          <p:spPr>
            <a:xfrm>
              <a:off x="426414" y="6122207"/>
              <a:ext cx="1580696" cy="4616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en-US" sz="12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+mj-lt"/>
                  <a:cs typeface="Arial" panose="020B0604020202020204" pitchFamily="34" charset="0"/>
                </a:rPr>
                <a:t>Mediator/ Arbitrator</a:t>
              </a:r>
            </a:p>
          </p:txBody>
        </p:sp>
        <p:grpSp>
          <p:nvGrpSpPr>
            <p:cNvPr id="87" name="Group 67"/>
            <p:cNvGrpSpPr>
              <a:grpSpLocks noChangeAspect="1"/>
            </p:cNvGrpSpPr>
            <p:nvPr/>
          </p:nvGrpSpPr>
          <p:grpSpPr bwMode="auto">
            <a:xfrm>
              <a:off x="876467" y="5638240"/>
              <a:ext cx="680590" cy="460946"/>
              <a:chOff x="1136" y="2060"/>
              <a:chExt cx="220" cy="149"/>
            </a:xfrm>
            <a:solidFill>
              <a:srgbClr val="33B3A6"/>
            </a:solidFill>
          </p:grpSpPr>
          <p:sp>
            <p:nvSpPr>
              <p:cNvPr id="88" name="Freeform 69"/>
              <p:cNvSpPr>
                <a:spLocks/>
              </p:cNvSpPr>
              <p:nvPr/>
            </p:nvSpPr>
            <p:spPr bwMode="auto">
              <a:xfrm>
                <a:off x="1229" y="2060"/>
                <a:ext cx="33" cy="34"/>
              </a:xfrm>
              <a:custGeom>
                <a:avLst/>
                <a:gdLst>
                  <a:gd name="T0" fmla="*/ 268 w 535"/>
                  <a:gd name="T1" fmla="*/ 0 h 506"/>
                  <a:gd name="T2" fmla="*/ 307 w 535"/>
                  <a:gd name="T3" fmla="*/ 3 h 506"/>
                  <a:gd name="T4" fmla="*/ 345 w 535"/>
                  <a:gd name="T5" fmla="*/ 11 h 506"/>
                  <a:gd name="T6" fmla="*/ 381 w 535"/>
                  <a:gd name="T7" fmla="*/ 23 h 506"/>
                  <a:gd name="T8" fmla="*/ 414 w 535"/>
                  <a:gd name="T9" fmla="*/ 40 h 506"/>
                  <a:gd name="T10" fmla="*/ 444 w 535"/>
                  <a:gd name="T11" fmla="*/ 61 h 506"/>
                  <a:gd name="T12" fmla="*/ 469 w 535"/>
                  <a:gd name="T13" fmla="*/ 87 h 506"/>
                  <a:gd name="T14" fmla="*/ 492 w 535"/>
                  <a:gd name="T15" fmla="*/ 115 h 506"/>
                  <a:gd name="T16" fmla="*/ 511 w 535"/>
                  <a:gd name="T17" fmla="*/ 146 h 506"/>
                  <a:gd name="T18" fmla="*/ 524 w 535"/>
                  <a:gd name="T19" fmla="*/ 179 h 506"/>
                  <a:gd name="T20" fmla="*/ 532 w 535"/>
                  <a:gd name="T21" fmla="*/ 216 h 506"/>
                  <a:gd name="T22" fmla="*/ 535 w 535"/>
                  <a:gd name="T23" fmla="*/ 253 h 506"/>
                  <a:gd name="T24" fmla="*/ 532 w 535"/>
                  <a:gd name="T25" fmla="*/ 290 h 506"/>
                  <a:gd name="T26" fmla="*/ 524 w 535"/>
                  <a:gd name="T27" fmla="*/ 325 h 506"/>
                  <a:gd name="T28" fmla="*/ 511 w 535"/>
                  <a:gd name="T29" fmla="*/ 360 h 506"/>
                  <a:gd name="T30" fmla="*/ 492 w 535"/>
                  <a:gd name="T31" fmla="*/ 390 h 506"/>
                  <a:gd name="T32" fmla="*/ 469 w 535"/>
                  <a:gd name="T33" fmla="*/ 418 h 506"/>
                  <a:gd name="T34" fmla="*/ 444 w 535"/>
                  <a:gd name="T35" fmla="*/ 443 h 506"/>
                  <a:gd name="T36" fmla="*/ 414 w 535"/>
                  <a:gd name="T37" fmla="*/ 465 h 506"/>
                  <a:gd name="T38" fmla="*/ 381 w 535"/>
                  <a:gd name="T39" fmla="*/ 482 h 506"/>
                  <a:gd name="T40" fmla="*/ 345 w 535"/>
                  <a:gd name="T41" fmla="*/ 495 h 506"/>
                  <a:gd name="T42" fmla="*/ 307 w 535"/>
                  <a:gd name="T43" fmla="*/ 503 h 506"/>
                  <a:gd name="T44" fmla="*/ 268 w 535"/>
                  <a:gd name="T45" fmla="*/ 506 h 506"/>
                  <a:gd name="T46" fmla="*/ 228 w 535"/>
                  <a:gd name="T47" fmla="*/ 503 h 506"/>
                  <a:gd name="T48" fmla="*/ 191 w 535"/>
                  <a:gd name="T49" fmla="*/ 495 h 506"/>
                  <a:gd name="T50" fmla="*/ 155 w 535"/>
                  <a:gd name="T51" fmla="*/ 482 h 506"/>
                  <a:gd name="T52" fmla="*/ 122 w 535"/>
                  <a:gd name="T53" fmla="*/ 465 h 506"/>
                  <a:gd name="T54" fmla="*/ 92 w 535"/>
                  <a:gd name="T55" fmla="*/ 443 h 506"/>
                  <a:gd name="T56" fmla="*/ 66 w 535"/>
                  <a:gd name="T57" fmla="*/ 418 h 506"/>
                  <a:gd name="T58" fmla="*/ 44 w 535"/>
                  <a:gd name="T59" fmla="*/ 390 h 506"/>
                  <a:gd name="T60" fmla="*/ 25 w 535"/>
                  <a:gd name="T61" fmla="*/ 360 h 506"/>
                  <a:gd name="T62" fmla="*/ 12 w 535"/>
                  <a:gd name="T63" fmla="*/ 325 h 506"/>
                  <a:gd name="T64" fmla="*/ 3 w 535"/>
                  <a:gd name="T65" fmla="*/ 290 h 506"/>
                  <a:gd name="T66" fmla="*/ 0 w 535"/>
                  <a:gd name="T67" fmla="*/ 253 h 506"/>
                  <a:gd name="T68" fmla="*/ 3 w 535"/>
                  <a:gd name="T69" fmla="*/ 216 h 506"/>
                  <a:gd name="T70" fmla="*/ 12 w 535"/>
                  <a:gd name="T71" fmla="*/ 179 h 506"/>
                  <a:gd name="T72" fmla="*/ 25 w 535"/>
                  <a:gd name="T73" fmla="*/ 146 h 506"/>
                  <a:gd name="T74" fmla="*/ 44 w 535"/>
                  <a:gd name="T75" fmla="*/ 115 h 506"/>
                  <a:gd name="T76" fmla="*/ 66 w 535"/>
                  <a:gd name="T77" fmla="*/ 87 h 506"/>
                  <a:gd name="T78" fmla="*/ 92 w 535"/>
                  <a:gd name="T79" fmla="*/ 61 h 506"/>
                  <a:gd name="T80" fmla="*/ 122 w 535"/>
                  <a:gd name="T81" fmla="*/ 40 h 506"/>
                  <a:gd name="T82" fmla="*/ 155 w 535"/>
                  <a:gd name="T83" fmla="*/ 23 h 506"/>
                  <a:gd name="T84" fmla="*/ 191 w 535"/>
                  <a:gd name="T85" fmla="*/ 11 h 506"/>
                  <a:gd name="T86" fmla="*/ 228 w 535"/>
                  <a:gd name="T87" fmla="*/ 3 h 506"/>
                  <a:gd name="T88" fmla="*/ 268 w 535"/>
                  <a:gd name="T89" fmla="*/ 0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35" h="506">
                    <a:moveTo>
                      <a:pt x="268" y="0"/>
                    </a:moveTo>
                    <a:lnTo>
                      <a:pt x="307" y="3"/>
                    </a:lnTo>
                    <a:lnTo>
                      <a:pt x="345" y="11"/>
                    </a:lnTo>
                    <a:lnTo>
                      <a:pt x="381" y="23"/>
                    </a:lnTo>
                    <a:lnTo>
                      <a:pt x="414" y="40"/>
                    </a:lnTo>
                    <a:lnTo>
                      <a:pt x="444" y="61"/>
                    </a:lnTo>
                    <a:lnTo>
                      <a:pt x="469" y="87"/>
                    </a:lnTo>
                    <a:lnTo>
                      <a:pt x="492" y="115"/>
                    </a:lnTo>
                    <a:lnTo>
                      <a:pt x="511" y="146"/>
                    </a:lnTo>
                    <a:lnTo>
                      <a:pt x="524" y="179"/>
                    </a:lnTo>
                    <a:lnTo>
                      <a:pt x="532" y="216"/>
                    </a:lnTo>
                    <a:lnTo>
                      <a:pt x="535" y="253"/>
                    </a:lnTo>
                    <a:lnTo>
                      <a:pt x="532" y="290"/>
                    </a:lnTo>
                    <a:lnTo>
                      <a:pt x="524" y="325"/>
                    </a:lnTo>
                    <a:lnTo>
                      <a:pt x="511" y="360"/>
                    </a:lnTo>
                    <a:lnTo>
                      <a:pt x="492" y="390"/>
                    </a:lnTo>
                    <a:lnTo>
                      <a:pt x="469" y="418"/>
                    </a:lnTo>
                    <a:lnTo>
                      <a:pt x="444" y="443"/>
                    </a:lnTo>
                    <a:lnTo>
                      <a:pt x="414" y="465"/>
                    </a:lnTo>
                    <a:lnTo>
                      <a:pt x="381" y="482"/>
                    </a:lnTo>
                    <a:lnTo>
                      <a:pt x="345" y="495"/>
                    </a:lnTo>
                    <a:lnTo>
                      <a:pt x="307" y="503"/>
                    </a:lnTo>
                    <a:lnTo>
                      <a:pt x="268" y="506"/>
                    </a:lnTo>
                    <a:lnTo>
                      <a:pt x="228" y="503"/>
                    </a:lnTo>
                    <a:lnTo>
                      <a:pt x="191" y="495"/>
                    </a:lnTo>
                    <a:lnTo>
                      <a:pt x="155" y="482"/>
                    </a:lnTo>
                    <a:lnTo>
                      <a:pt x="122" y="465"/>
                    </a:lnTo>
                    <a:lnTo>
                      <a:pt x="92" y="443"/>
                    </a:lnTo>
                    <a:lnTo>
                      <a:pt x="66" y="418"/>
                    </a:lnTo>
                    <a:lnTo>
                      <a:pt x="44" y="390"/>
                    </a:lnTo>
                    <a:lnTo>
                      <a:pt x="25" y="360"/>
                    </a:lnTo>
                    <a:lnTo>
                      <a:pt x="12" y="325"/>
                    </a:lnTo>
                    <a:lnTo>
                      <a:pt x="3" y="290"/>
                    </a:lnTo>
                    <a:lnTo>
                      <a:pt x="0" y="253"/>
                    </a:lnTo>
                    <a:lnTo>
                      <a:pt x="3" y="216"/>
                    </a:lnTo>
                    <a:lnTo>
                      <a:pt x="12" y="179"/>
                    </a:lnTo>
                    <a:lnTo>
                      <a:pt x="25" y="146"/>
                    </a:lnTo>
                    <a:lnTo>
                      <a:pt x="44" y="115"/>
                    </a:lnTo>
                    <a:lnTo>
                      <a:pt x="66" y="87"/>
                    </a:lnTo>
                    <a:lnTo>
                      <a:pt x="92" y="61"/>
                    </a:lnTo>
                    <a:lnTo>
                      <a:pt x="122" y="40"/>
                    </a:lnTo>
                    <a:lnTo>
                      <a:pt x="155" y="23"/>
                    </a:lnTo>
                    <a:lnTo>
                      <a:pt x="191" y="11"/>
                    </a:lnTo>
                    <a:lnTo>
                      <a:pt x="228" y="3"/>
                    </a:lnTo>
                    <a:lnTo>
                      <a:pt x="26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89" name="Freeform 70"/>
              <p:cNvSpPr>
                <a:spLocks noEditPoints="1"/>
              </p:cNvSpPr>
              <p:nvPr/>
            </p:nvSpPr>
            <p:spPr bwMode="auto">
              <a:xfrm>
                <a:off x="1198" y="2095"/>
                <a:ext cx="95" cy="114"/>
              </a:xfrm>
              <a:custGeom>
                <a:avLst/>
                <a:gdLst>
                  <a:gd name="T0" fmla="*/ 461 w 1520"/>
                  <a:gd name="T1" fmla="*/ 445 h 1715"/>
                  <a:gd name="T2" fmla="*/ 445 w 1520"/>
                  <a:gd name="T3" fmla="*/ 561 h 1715"/>
                  <a:gd name="T4" fmla="*/ 445 w 1520"/>
                  <a:gd name="T5" fmla="*/ 665 h 1715"/>
                  <a:gd name="T6" fmla="*/ 451 w 1520"/>
                  <a:gd name="T7" fmla="*/ 736 h 1715"/>
                  <a:gd name="T8" fmla="*/ 486 w 1520"/>
                  <a:gd name="T9" fmla="*/ 371 h 1715"/>
                  <a:gd name="T10" fmla="*/ 1067 w 1520"/>
                  <a:gd name="T11" fmla="*/ 750 h 1715"/>
                  <a:gd name="T12" fmla="*/ 1074 w 1520"/>
                  <a:gd name="T13" fmla="*/ 693 h 1715"/>
                  <a:gd name="T14" fmla="*/ 1078 w 1520"/>
                  <a:gd name="T15" fmla="*/ 597 h 1715"/>
                  <a:gd name="T16" fmla="*/ 1068 w 1520"/>
                  <a:gd name="T17" fmla="*/ 484 h 1715"/>
                  <a:gd name="T18" fmla="*/ 1034 w 1520"/>
                  <a:gd name="T19" fmla="*/ 370 h 1715"/>
                  <a:gd name="T20" fmla="*/ 760 w 1520"/>
                  <a:gd name="T21" fmla="*/ 564 h 1715"/>
                  <a:gd name="T22" fmla="*/ 761 w 1520"/>
                  <a:gd name="T23" fmla="*/ 72 h 1715"/>
                  <a:gd name="T24" fmla="*/ 761 w 1520"/>
                  <a:gd name="T25" fmla="*/ 63 h 1715"/>
                  <a:gd name="T26" fmla="*/ 850 w 1520"/>
                  <a:gd name="T27" fmla="*/ 6 h 1715"/>
                  <a:gd name="T28" fmla="*/ 894 w 1520"/>
                  <a:gd name="T29" fmla="*/ 20 h 1715"/>
                  <a:gd name="T30" fmla="*/ 922 w 1520"/>
                  <a:gd name="T31" fmla="*/ 29 h 1715"/>
                  <a:gd name="T32" fmla="*/ 1052 w 1520"/>
                  <a:gd name="T33" fmla="*/ 90 h 1715"/>
                  <a:gd name="T34" fmla="*/ 1147 w 1520"/>
                  <a:gd name="T35" fmla="*/ 174 h 1715"/>
                  <a:gd name="T36" fmla="*/ 1213 w 1520"/>
                  <a:gd name="T37" fmla="*/ 274 h 1715"/>
                  <a:gd name="T38" fmla="*/ 1255 w 1520"/>
                  <a:gd name="T39" fmla="*/ 382 h 1715"/>
                  <a:gd name="T40" fmla="*/ 1277 w 1520"/>
                  <a:gd name="T41" fmla="*/ 491 h 1715"/>
                  <a:gd name="T42" fmla="*/ 1286 w 1520"/>
                  <a:gd name="T43" fmla="*/ 593 h 1715"/>
                  <a:gd name="T44" fmla="*/ 1283 w 1520"/>
                  <a:gd name="T45" fmla="*/ 682 h 1715"/>
                  <a:gd name="T46" fmla="*/ 1277 w 1520"/>
                  <a:gd name="T47" fmla="*/ 750 h 1715"/>
                  <a:gd name="T48" fmla="*/ 1434 w 1520"/>
                  <a:gd name="T49" fmla="*/ 919 h 1715"/>
                  <a:gd name="T50" fmla="*/ 1267 w 1520"/>
                  <a:gd name="T51" fmla="*/ 919 h 1715"/>
                  <a:gd name="T52" fmla="*/ 1110 w 1520"/>
                  <a:gd name="T53" fmla="*/ 965 h 1715"/>
                  <a:gd name="T54" fmla="*/ 1025 w 1520"/>
                  <a:gd name="T55" fmla="*/ 1635 h 1715"/>
                  <a:gd name="T56" fmla="*/ 979 w 1520"/>
                  <a:gd name="T57" fmla="*/ 1693 h 1715"/>
                  <a:gd name="T58" fmla="*/ 907 w 1520"/>
                  <a:gd name="T59" fmla="*/ 1715 h 1715"/>
                  <a:gd name="T60" fmla="*/ 869 w 1520"/>
                  <a:gd name="T61" fmla="*/ 1710 h 1715"/>
                  <a:gd name="T62" fmla="*/ 810 w 1520"/>
                  <a:gd name="T63" fmla="*/ 1672 h 1715"/>
                  <a:gd name="T64" fmla="*/ 783 w 1520"/>
                  <a:gd name="T65" fmla="*/ 1608 h 1715"/>
                  <a:gd name="T66" fmla="*/ 760 w 1520"/>
                  <a:gd name="T67" fmla="*/ 1016 h 1715"/>
                  <a:gd name="T68" fmla="*/ 734 w 1520"/>
                  <a:gd name="T69" fmla="*/ 1608 h 1715"/>
                  <a:gd name="T70" fmla="*/ 707 w 1520"/>
                  <a:gd name="T71" fmla="*/ 1671 h 1715"/>
                  <a:gd name="T72" fmla="*/ 649 w 1520"/>
                  <a:gd name="T73" fmla="*/ 1709 h 1715"/>
                  <a:gd name="T74" fmla="*/ 584 w 1520"/>
                  <a:gd name="T75" fmla="*/ 1712 h 1715"/>
                  <a:gd name="T76" fmla="*/ 519 w 1520"/>
                  <a:gd name="T77" fmla="*/ 1677 h 1715"/>
                  <a:gd name="T78" fmla="*/ 487 w 1520"/>
                  <a:gd name="T79" fmla="*/ 1610 h 1715"/>
                  <a:gd name="T80" fmla="*/ 413 w 1520"/>
                  <a:gd name="T81" fmla="*/ 941 h 1715"/>
                  <a:gd name="T82" fmla="*/ 252 w 1520"/>
                  <a:gd name="T83" fmla="*/ 1715 h 1715"/>
                  <a:gd name="T84" fmla="*/ 0 w 1520"/>
                  <a:gd name="T85" fmla="*/ 919 h 1715"/>
                  <a:gd name="T86" fmla="*/ 241 w 1520"/>
                  <a:gd name="T87" fmla="*/ 730 h 1715"/>
                  <a:gd name="T88" fmla="*/ 236 w 1520"/>
                  <a:gd name="T89" fmla="*/ 656 h 1715"/>
                  <a:gd name="T90" fmla="*/ 237 w 1520"/>
                  <a:gd name="T91" fmla="*/ 562 h 1715"/>
                  <a:gd name="T92" fmla="*/ 249 w 1520"/>
                  <a:gd name="T93" fmla="*/ 458 h 1715"/>
                  <a:gd name="T94" fmla="*/ 277 w 1520"/>
                  <a:gd name="T95" fmla="*/ 349 h 1715"/>
                  <a:gd name="T96" fmla="*/ 326 w 1520"/>
                  <a:gd name="T97" fmla="*/ 243 h 1715"/>
                  <a:gd name="T98" fmla="*/ 401 w 1520"/>
                  <a:gd name="T99" fmla="*/ 147 h 1715"/>
                  <a:gd name="T100" fmla="*/ 509 w 1520"/>
                  <a:gd name="T101" fmla="*/ 68 h 1715"/>
                  <a:gd name="T102" fmla="*/ 605 w 1520"/>
                  <a:gd name="T103" fmla="*/ 27 h 1715"/>
                  <a:gd name="T104" fmla="*/ 640 w 1520"/>
                  <a:gd name="T105" fmla="*/ 15 h 1715"/>
                  <a:gd name="T106" fmla="*/ 684 w 1520"/>
                  <a:gd name="T107" fmla="*/ 2 h 17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520" h="1715">
                    <a:moveTo>
                      <a:pt x="486" y="371"/>
                    </a:moveTo>
                    <a:lnTo>
                      <a:pt x="472" y="408"/>
                    </a:lnTo>
                    <a:lnTo>
                      <a:pt x="461" y="445"/>
                    </a:lnTo>
                    <a:lnTo>
                      <a:pt x="453" y="485"/>
                    </a:lnTo>
                    <a:lnTo>
                      <a:pt x="447" y="524"/>
                    </a:lnTo>
                    <a:lnTo>
                      <a:pt x="445" y="561"/>
                    </a:lnTo>
                    <a:lnTo>
                      <a:pt x="443" y="598"/>
                    </a:lnTo>
                    <a:lnTo>
                      <a:pt x="444" y="633"/>
                    </a:lnTo>
                    <a:lnTo>
                      <a:pt x="445" y="665"/>
                    </a:lnTo>
                    <a:lnTo>
                      <a:pt x="447" y="693"/>
                    </a:lnTo>
                    <a:lnTo>
                      <a:pt x="449" y="717"/>
                    </a:lnTo>
                    <a:lnTo>
                      <a:pt x="451" y="736"/>
                    </a:lnTo>
                    <a:lnTo>
                      <a:pt x="454" y="750"/>
                    </a:lnTo>
                    <a:lnTo>
                      <a:pt x="486" y="750"/>
                    </a:lnTo>
                    <a:lnTo>
                      <a:pt x="486" y="371"/>
                    </a:lnTo>
                    <a:close/>
                    <a:moveTo>
                      <a:pt x="1034" y="370"/>
                    </a:moveTo>
                    <a:lnTo>
                      <a:pt x="1034" y="750"/>
                    </a:lnTo>
                    <a:lnTo>
                      <a:pt x="1067" y="750"/>
                    </a:lnTo>
                    <a:lnTo>
                      <a:pt x="1069" y="736"/>
                    </a:lnTo>
                    <a:lnTo>
                      <a:pt x="1071" y="717"/>
                    </a:lnTo>
                    <a:lnTo>
                      <a:pt x="1074" y="693"/>
                    </a:lnTo>
                    <a:lnTo>
                      <a:pt x="1077" y="665"/>
                    </a:lnTo>
                    <a:lnTo>
                      <a:pt x="1078" y="633"/>
                    </a:lnTo>
                    <a:lnTo>
                      <a:pt x="1078" y="597"/>
                    </a:lnTo>
                    <a:lnTo>
                      <a:pt x="1077" y="561"/>
                    </a:lnTo>
                    <a:lnTo>
                      <a:pt x="1073" y="523"/>
                    </a:lnTo>
                    <a:lnTo>
                      <a:pt x="1068" y="484"/>
                    </a:lnTo>
                    <a:lnTo>
                      <a:pt x="1059" y="445"/>
                    </a:lnTo>
                    <a:lnTo>
                      <a:pt x="1049" y="406"/>
                    </a:lnTo>
                    <a:lnTo>
                      <a:pt x="1034" y="370"/>
                    </a:lnTo>
                    <a:close/>
                    <a:moveTo>
                      <a:pt x="760" y="72"/>
                    </a:moveTo>
                    <a:lnTo>
                      <a:pt x="695" y="481"/>
                    </a:lnTo>
                    <a:lnTo>
                      <a:pt x="760" y="564"/>
                    </a:lnTo>
                    <a:lnTo>
                      <a:pt x="761" y="564"/>
                    </a:lnTo>
                    <a:lnTo>
                      <a:pt x="825" y="481"/>
                    </a:lnTo>
                    <a:lnTo>
                      <a:pt x="761" y="72"/>
                    </a:lnTo>
                    <a:lnTo>
                      <a:pt x="760" y="72"/>
                    </a:lnTo>
                    <a:close/>
                    <a:moveTo>
                      <a:pt x="695" y="0"/>
                    </a:moveTo>
                    <a:lnTo>
                      <a:pt x="761" y="63"/>
                    </a:lnTo>
                    <a:lnTo>
                      <a:pt x="826" y="0"/>
                    </a:lnTo>
                    <a:lnTo>
                      <a:pt x="838" y="2"/>
                    </a:lnTo>
                    <a:lnTo>
                      <a:pt x="850" y="6"/>
                    </a:lnTo>
                    <a:lnTo>
                      <a:pt x="865" y="11"/>
                    </a:lnTo>
                    <a:lnTo>
                      <a:pt x="880" y="15"/>
                    </a:lnTo>
                    <a:lnTo>
                      <a:pt x="894" y="20"/>
                    </a:lnTo>
                    <a:lnTo>
                      <a:pt x="907" y="24"/>
                    </a:lnTo>
                    <a:lnTo>
                      <a:pt x="915" y="27"/>
                    </a:lnTo>
                    <a:lnTo>
                      <a:pt x="922" y="29"/>
                    </a:lnTo>
                    <a:lnTo>
                      <a:pt x="969" y="46"/>
                    </a:lnTo>
                    <a:lnTo>
                      <a:pt x="1013" y="66"/>
                    </a:lnTo>
                    <a:lnTo>
                      <a:pt x="1052" y="90"/>
                    </a:lnTo>
                    <a:lnTo>
                      <a:pt x="1087" y="116"/>
                    </a:lnTo>
                    <a:lnTo>
                      <a:pt x="1119" y="144"/>
                    </a:lnTo>
                    <a:lnTo>
                      <a:pt x="1147" y="174"/>
                    </a:lnTo>
                    <a:lnTo>
                      <a:pt x="1173" y="205"/>
                    </a:lnTo>
                    <a:lnTo>
                      <a:pt x="1194" y="239"/>
                    </a:lnTo>
                    <a:lnTo>
                      <a:pt x="1213" y="274"/>
                    </a:lnTo>
                    <a:lnTo>
                      <a:pt x="1230" y="309"/>
                    </a:lnTo>
                    <a:lnTo>
                      <a:pt x="1244" y="346"/>
                    </a:lnTo>
                    <a:lnTo>
                      <a:pt x="1255" y="382"/>
                    </a:lnTo>
                    <a:lnTo>
                      <a:pt x="1264" y="418"/>
                    </a:lnTo>
                    <a:lnTo>
                      <a:pt x="1272" y="455"/>
                    </a:lnTo>
                    <a:lnTo>
                      <a:pt x="1277" y="491"/>
                    </a:lnTo>
                    <a:lnTo>
                      <a:pt x="1281" y="526"/>
                    </a:lnTo>
                    <a:lnTo>
                      <a:pt x="1283" y="561"/>
                    </a:lnTo>
                    <a:lnTo>
                      <a:pt x="1286" y="593"/>
                    </a:lnTo>
                    <a:lnTo>
                      <a:pt x="1286" y="626"/>
                    </a:lnTo>
                    <a:lnTo>
                      <a:pt x="1285" y="655"/>
                    </a:lnTo>
                    <a:lnTo>
                      <a:pt x="1283" y="682"/>
                    </a:lnTo>
                    <a:lnTo>
                      <a:pt x="1281" y="707"/>
                    </a:lnTo>
                    <a:lnTo>
                      <a:pt x="1279" y="730"/>
                    </a:lnTo>
                    <a:lnTo>
                      <a:pt x="1277" y="750"/>
                    </a:lnTo>
                    <a:lnTo>
                      <a:pt x="1520" y="750"/>
                    </a:lnTo>
                    <a:lnTo>
                      <a:pt x="1520" y="919"/>
                    </a:lnTo>
                    <a:lnTo>
                      <a:pt x="1434" y="919"/>
                    </a:lnTo>
                    <a:lnTo>
                      <a:pt x="1434" y="1715"/>
                    </a:lnTo>
                    <a:lnTo>
                      <a:pt x="1267" y="1715"/>
                    </a:lnTo>
                    <a:lnTo>
                      <a:pt x="1267" y="919"/>
                    </a:lnTo>
                    <a:lnTo>
                      <a:pt x="1094" y="919"/>
                    </a:lnTo>
                    <a:lnTo>
                      <a:pt x="1104" y="941"/>
                    </a:lnTo>
                    <a:lnTo>
                      <a:pt x="1110" y="965"/>
                    </a:lnTo>
                    <a:lnTo>
                      <a:pt x="1110" y="990"/>
                    </a:lnTo>
                    <a:lnTo>
                      <a:pt x="1031" y="1610"/>
                    </a:lnTo>
                    <a:lnTo>
                      <a:pt x="1025" y="1635"/>
                    </a:lnTo>
                    <a:lnTo>
                      <a:pt x="1015" y="1657"/>
                    </a:lnTo>
                    <a:lnTo>
                      <a:pt x="999" y="1677"/>
                    </a:lnTo>
                    <a:lnTo>
                      <a:pt x="979" y="1693"/>
                    </a:lnTo>
                    <a:lnTo>
                      <a:pt x="958" y="1705"/>
                    </a:lnTo>
                    <a:lnTo>
                      <a:pt x="934" y="1713"/>
                    </a:lnTo>
                    <a:lnTo>
                      <a:pt x="907" y="1715"/>
                    </a:lnTo>
                    <a:lnTo>
                      <a:pt x="901" y="1715"/>
                    </a:lnTo>
                    <a:lnTo>
                      <a:pt x="893" y="1714"/>
                    </a:lnTo>
                    <a:lnTo>
                      <a:pt x="869" y="1710"/>
                    </a:lnTo>
                    <a:lnTo>
                      <a:pt x="846" y="1700"/>
                    </a:lnTo>
                    <a:lnTo>
                      <a:pt x="827" y="1688"/>
                    </a:lnTo>
                    <a:lnTo>
                      <a:pt x="810" y="1672"/>
                    </a:lnTo>
                    <a:lnTo>
                      <a:pt x="797" y="1652"/>
                    </a:lnTo>
                    <a:lnTo>
                      <a:pt x="787" y="1631"/>
                    </a:lnTo>
                    <a:lnTo>
                      <a:pt x="783" y="1608"/>
                    </a:lnTo>
                    <a:lnTo>
                      <a:pt x="783" y="1585"/>
                    </a:lnTo>
                    <a:lnTo>
                      <a:pt x="851" y="1052"/>
                    </a:lnTo>
                    <a:lnTo>
                      <a:pt x="760" y="1016"/>
                    </a:lnTo>
                    <a:lnTo>
                      <a:pt x="666" y="1052"/>
                    </a:lnTo>
                    <a:lnTo>
                      <a:pt x="734" y="1584"/>
                    </a:lnTo>
                    <a:lnTo>
                      <a:pt x="734" y="1608"/>
                    </a:lnTo>
                    <a:lnTo>
                      <a:pt x="730" y="1630"/>
                    </a:lnTo>
                    <a:lnTo>
                      <a:pt x="721" y="1651"/>
                    </a:lnTo>
                    <a:lnTo>
                      <a:pt x="707" y="1671"/>
                    </a:lnTo>
                    <a:lnTo>
                      <a:pt x="691" y="1687"/>
                    </a:lnTo>
                    <a:lnTo>
                      <a:pt x="671" y="1700"/>
                    </a:lnTo>
                    <a:lnTo>
                      <a:pt x="649" y="1709"/>
                    </a:lnTo>
                    <a:lnTo>
                      <a:pt x="624" y="1714"/>
                    </a:lnTo>
                    <a:lnTo>
                      <a:pt x="610" y="1715"/>
                    </a:lnTo>
                    <a:lnTo>
                      <a:pt x="584" y="1712"/>
                    </a:lnTo>
                    <a:lnTo>
                      <a:pt x="560" y="1705"/>
                    </a:lnTo>
                    <a:lnTo>
                      <a:pt x="538" y="1693"/>
                    </a:lnTo>
                    <a:lnTo>
                      <a:pt x="519" y="1677"/>
                    </a:lnTo>
                    <a:lnTo>
                      <a:pt x="504" y="1657"/>
                    </a:lnTo>
                    <a:lnTo>
                      <a:pt x="493" y="1635"/>
                    </a:lnTo>
                    <a:lnTo>
                      <a:pt x="487" y="1610"/>
                    </a:lnTo>
                    <a:lnTo>
                      <a:pt x="408" y="990"/>
                    </a:lnTo>
                    <a:lnTo>
                      <a:pt x="408" y="965"/>
                    </a:lnTo>
                    <a:lnTo>
                      <a:pt x="413" y="941"/>
                    </a:lnTo>
                    <a:lnTo>
                      <a:pt x="424" y="919"/>
                    </a:lnTo>
                    <a:lnTo>
                      <a:pt x="252" y="919"/>
                    </a:lnTo>
                    <a:lnTo>
                      <a:pt x="252" y="1715"/>
                    </a:lnTo>
                    <a:lnTo>
                      <a:pt x="86" y="1715"/>
                    </a:lnTo>
                    <a:lnTo>
                      <a:pt x="86" y="919"/>
                    </a:lnTo>
                    <a:lnTo>
                      <a:pt x="0" y="919"/>
                    </a:lnTo>
                    <a:lnTo>
                      <a:pt x="0" y="750"/>
                    </a:lnTo>
                    <a:lnTo>
                      <a:pt x="243" y="750"/>
                    </a:lnTo>
                    <a:lnTo>
                      <a:pt x="241" y="730"/>
                    </a:lnTo>
                    <a:lnTo>
                      <a:pt x="239" y="708"/>
                    </a:lnTo>
                    <a:lnTo>
                      <a:pt x="237" y="683"/>
                    </a:lnTo>
                    <a:lnTo>
                      <a:pt x="236" y="656"/>
                    </a:lnTo>
                    <a:lnTo>
                      <a:pt x="235" y="627"/>
                    </a:lnTo>
                    <a:lnTo>
                      <a:pt x="235" y="595"/>
                    </a:lnTo>
                    <a:lnTo>
                      <a:pt x="237" y="562"/>
                    </a:lnTo>
                    <a:lnTo>
                      <a:pt x="239" y="529"/>
                    </a:lnTo>
                    <a:lnTo>
                      <a:pt x="242" y="494"/>
                    </a:lnTo>
                    <a:lnTo>
                      <a:pt x="249" y="458"/>
                    </a:lnTo>
                    <a:lnTo>
                      <a:pt x="255" y="422"/>
                    </a:lnTo>
                    <a:lnTo>
                      <a:pt x="265" y="385"/>
                    </a:lnTo>
                    <a:lnTo>
                      <a:pt x="277" y="349"/>
                    </a:lnTo>
                    <a:lnTo>
                      <a:pt x="290" y="313"/>
                    </a:lnTo>
                    <a:lnTo>
                      <a:pt x="306" y="277"/>
                    </a:lnTo>
                    <a:lnTo>
                      <a:pt x="326" y="243"/>
                    </a:lnTo>
                    <a:lnTo>
                      <a:pt x="348" y="210"/>
                    </a:lnTo>
                    <a:lnTo>
                      <a:pt x="373" y="177"/>
                    </a:lnTo>
                    <a:lnTo>
                      <a:pt x="401" y="147"/>
                    </a:lnTo>
                    <a:lnTo>
                      <a:pt x="433" y="119"/>
                    </a:lnTo>
                    <a:lnTo>
                      <a:pt x="470" y="92"/>
                    </a:lnTo>
                    <a:lnTo>
                      <a:pt x="509" y="68"/>
                    </a:lnTo>
                    <a:lnTo>
                      <a:pt x="552" y="47"/>
                    </a:lnTo>
                    <a:lnTo>
                      <a:pt x="600" y="29"/>
                    </a:lnTo>
                    <a:lnTo>
                      <a:pt x="605" y="27"/>
                    </a:lnTo>
                    <a:lnTo>
                      <a:pt x="615" y="24"/>
                    </a:lnTo>
                    <a:lnTo>
                      <a:pt x="626" y="20"/>
                    </a:lnTo>
                    <a:lnTo>
                      <a:pt x="640" y="15"/>
                    </a:lnTo>
                    <a:lnTo>
                      <a:pt x="655" y="11"/>
                    </a:lnTo>
                    <a:lnTo>
                      <a:pt x="670" y="6"/>
                    </a:lnTo>
                    <a:lnTo>
                      <a:pt x="684" y="2"/>
                    </a:lnTo>
                    <a:lnTo>
                      <a:pt x="695" y="0"/>
                    </a:lnTo>
                    <a:lnTo>
                      <a:pt x="69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90" name="Freeform 71"/>
              <p:cNvSpPr>
                <a:spLocks/>
              </p:cNvSpPr>
              <p:nvPr/>
            </p:nvSpPr>
            <p:spPr bwMode="auto">
              <a:xfrm>
                <a:off x="1153" y="2069"/>
                <a:ext cx="32" cy="33"/>
              </a:xfrm>
              <a:custGeom>
                <a:avLst/>
                <a:gdLst>
                  <a:gd name="T0" fmla="*/ 257 w 513"/>
                  <a:gd name="T1" fmla="*/ 0 h 484"/>
                  <a:gd name="T2" fmla="*/ 298 w 513"/>
                  <a:gd name="T3" fmla="*/ 3 h 484"/>
                  <a:gd name="T4" fmla="*/ 338 w 513"/>
                  <a:gd name="T5" fmla="*/ 12 h 484"/>
                  <a:gd name="T6" fmla="*/ 374 w 513"/>
                  <a:gd name="T7" fmla="*/ 27 h 484"/>
                  <a:gd name="T8" fmla="*/ 408 w 513"/>
                  <a:gd name="T9" fmla="*/ 46 h 484"/>
                  <a:gd name="T10" fmla="*/ 438 w 513"/>
                  <a:gd name="T11" fmla="*/ 71 h 484"/>
                  <a:gd name="T12" fmla="*/ 464 w 513"/>
                  <a:gd name="T13" fmla="*/ 99 h 484"/>
                  <a:gd name="T14" fmla="*/ 484 w 513"/>
                  <a:gd name="T15" fmla="*/ 131 h 484"/>
                  <a:gd name="T16" fmla="*/ 500 w 513"/>
                  <a:gd name="T17" fmla="*/ 165 h 484"/>
                  <a:gd name="T18" fmla="*/ 509 w 513"/>
                  <a:gd name="T19" fmla="*/ 203 h 484"/>
                  <a:gd name="T20" fmla="*/ 513 w 513"/>
                  <a:gd name="T21" fmla="*/ 242 h 484"/>
                  <a:gd name="T22" fmla="*/ 509 w 513"/>
                  <a:gd name="T23" fmla="*/ 281 h 484"/>
                  <a:gd name="T24" fmla="*/ 500 w 513"/>
                  <a:gd name="T25" fmla="*/ 318 h 484"/>
                  <a:gd name="T26" fmla="*/ 484 w 513"/>
                  <a:gd name="T27" fmla="*/ 354 h 484"/>
                  <a:gd name="T28" fmla="*/ 464 w 513"/>
                  <a:gd name="T29" fmla="*/ 385 h 484"/>
                  <a:gd name="T30" fmla="*/ 438 w 513"/>
                  <a:gd name="T31" fmla="*/ 413 h 484"/>
                  <a:gd name="T32" fmla="*/ 408 w 513"/>
                  <a:gd name="T33" fmla="*/ 437 h 484"/>
                  <a:gd name="T34" fmla="*/ 374 w 513"/>
                  <a:gd name="T35" fmla="*/ 458 h 484"/>
                  <a:gd name="T36" fmla="*/ 338 w 513"/>
                  <a:gd name="T37" fmla="*/ 472 h 484"/>
                  <a:gd name="T38" fmla="*/ 298 w 513"/>
                  <a:gd name="T39" fmla="*/ 481 h 484"/>
                  <a:gd name="T40" fmla="*/ 257 w 513"/>
                  <a:gd name="T41" fmla="*/ 484 h 484"/>
                  <a:gd name="T42" fmla="*/ 215 w 513"/>
                  <a:gd name="T43" fmla="*/ 481 h 484"/>
                  <a:gd name="T44" fmla="*/ 176 w 513"/>
                  <a:gd name="T45" fmla="*/ 472 h 484"/>
                  <a:gd name="T46" fmla="*/ 138 w 513"/>
                  <a:gd name="T47" fmla="*/ 458 h 484"/>
                  <a:gd name="T48" fmla="*/ 105 w 513"/>
                  <a:gd name="T49" fmla="*/ 437 h 484"/>
                  <a:gd name="T50" fmla="*/ 75 w 513"/>
                  <a:gd name="T51" fmla="*/ 413 h 484"/>
                  <a:gd name="T52" fmla="*/ 50 w 513"/>
                  <a:gd name="T53" fmla="*/ 385 h 484"/>
                  <a:gd name="T54" fmla="*/ 28 w 513"/>
                  <a:gd name="T55" fmla="*/ 354 h 484"/>
                  <a:gd name="T56" fmla="*/ 13 w 513"/>
                  <a:gd name="T57" fmla="*/ 318 h 484"/>
                  <a:gd name="T58" fmla="*/ 4 w 513"/>
                  <a:gd name="T59" fmla="*/ 281 h 484"/>
                  <a:gd name="T60" fmla="*/ 0 w 513"/>
                  <a:gd name="T61" fmla="*/ 242 h 484"/>
                  <a:gd name="T62" fmla="*/ 4 w 513"/>
                  <a:gd name="T63" fmla="*/ 203 h 484"/>
                  <a:gd name="T64" fmla="*/ 13 w 513"/>
                  <a:gd name="T65" fmla="*/ 165 h 484"/>
                  <a:gd name="T66" fmla="*/ 28 w 513"/>
                  <a:gd name="T67" fmla="*/ 131 h 484"/>
                  <a:gd name="T68" fmla="*/ 50 w 513"/>
                  <a:gd name="T69" fmla="*/ 99 h 484"/>
                  <a:gd name="T70" fmla="*/ 75 w 513"/>
                  <a:gd name="T71" fmla="*/ 71 h 484"/>
                  <a:gd name="T72" fmla="*/ 105 w 513"/>
                  <a:gd name="T73" fmla="*/ 46 h 484"/>
                  <a:gd name="T74" fmla="*/ 138 w 513"/>
                  <a:gd name="T75" fmla="*/ 27 h 484"/>
                  <a:gd name="T76" fmla="*/ 176 w 513"/>
                  <a:gd name="T77" fmla="*/ 12 h 484"/>
                  <a:gd name="T78" fmla="*/ 215 w 513"/>
                  <a:gd name="T79" fmla="*/ 3 h 484"/>
                  <a:gd name="T80" fmla="*/ 257 w 513"/>
                  <a:gd name="T81" fmla="*/ 0 h 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13" h="484">
                    <a:moveTo>
                      <a:pt x="257" y="0"/>
                    </a:moveTo>
                    <a:lnTo>
                      <a:pt x="298" y="3"/>
                    </a:lnTo>
                    <a:lnTo>
                      <a:pt x="338" y="12"/>
                    </a:lnTo>
                    <a:lnTo>
                      <a:pt x="374" y="27"/>
                    </a:lnTo>
                    <a:lnTo>
                      <a:pt x="408" y="46"/>
                    </a:lnTo>
                    <a:lnTo>
                      <a:pt x="438" y="71"/>
                    </a:lnTo>
                    <a:lnTo>
                      <a:pt x="464" y="99"/>
                    </a:lnTo>
                    <a:lnTo>
                      <a:pt x="484" y="131"/>
                    </a:lnTo>
                    <a:lnTo>
                      <a:pt x="500" y="165"/>
                    </a:lnTo>
                    <a:lnTo>
                      <a:pt x="509" y="203"/>
                    </a:lnTo>
                    <a:lnTo>
                      <a:pt x="513" y="242"/>
                    </a:lnTo>
                    <a:lnTo>
                      <a:pt x="509" y="281"/>
                    </a:lnTo>
                    <a:lnTo>
                      <a:pt x="500" y="318"/>
                    </a:lnTo>
                    <a:lnTo>
                      <a:pt x="484" y="354"/>
                    </a:lnTo>
                    <a:lnTo>
                      <a:pt x="464" y="385"/>
                    </a:lnTo>
                    <a:lnTo>
                      <a:pt x="438" y="413"/>
                    </a:lnTo>
                    <a:lnTo>
                      <a:pt x="408" y="437"/>
                    </a:lnTo>
                    <a:lnTo>
                      <a:pt x="374" y="458"/>
                    </a:lnTo>
                    <a:lnTo>
                      <a:pt x="338" y="472"/>
                    </a:lnTo>
                    <a:lnTo>
                      <a:pt x="298" y="481"/>
                    </a:lnTo>
                    <a:lnTo>
                      <a:pt x="257" y="484"/>
                    </a:lnTo>
                    <a:lnTo>
                      <a:pt x="215" y="481"/>
                    </a:lnTo>
                    <a:lnTo>
                      <a:pt x="176" y="472"/>
                    </a:lnTo>
                    <a:lnTo>
                      <a:pt x="138" y="458"/>
                    </a:lnTo>
                    <a:lnTo>
                      <a:pt x="105" y="437"/>
                    </a:lnTo>
                    <a:lnTo>
                      <a:pt x="75" y="413"/>
                    </a:lnTo>
                    <a:lnTo>
                      <a:pt x="50" y="385"/>
                    </a:lnTo>
                    <a:lnTo>
                      <a:pt x="28" y="354"/>
                    </a:lnTo>
                    <a:lnTo>
                      <a:pt x="13" y="318"/>
                    </a:lnTo>
                    <a:lnTo>
                      <a:pt x="4" y="281"/>
                    </a:lnTo>
                    <a:lnTo>
                      <a:pt x="0" y="242"/>
                    </a:lnTo>
                    <a:lnTo>
                      <a:pt x="4" y="203"/>
                    </a:lnTo>
                    <a:lnTo>
                      <a:pt x="13" y="165"/>
                    </a:lnTo>
                    <a:lnTo>
                      <a:pt x="28" y="131"/>
                    </a:lnTo>
                    <a:lnTo>
                      <a:pt x="50" y="99"/>
                    </a:lnTo>
                    <a:lnTo>
                      <a:pt x="75" y="71"/>
                    </a:lnTo>
                    <a:lnTo>
                      <a:pt x="105" y="46"/>
                    </a:lnTo>
                    <a:lnTo>
                      <a:pt x="138" y="27"/>
                    </a:lnTo>
                    <a:lnTo>
                      <a:pt x="176" y="12"/>
                    </a:lnTo>
                    <a:lnTo>
                      <a:pt x="215" y="3"/>
                    </a:lnTo>
                    <a:lnTo>
                      <a:pt x="25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91" name="Freeform 72"/>
              <p:cNvSpPr>
                <a:spLocks/>
              </p:cNvSpPr>
              <p:nvPr/>
            </p:nvSpPr>
            <p:spPr bwMode="auto">
              <a:xfrm>
                <a:off x="1150" y="2103"/>
                <a:ext cx="62" cy="106"/>
              </a:xfrm>
              <a:custGeom>
                <a:avLst/>
                <a:gdLst>
                  <a:gd name="T0" fmla="*/ 270 w 987"/>
                  <a:gd name="T1" fmla="*/ 2 h 1599"/>
                  <a:gd name="T2" fmla="*/ 294 w 987"/>
                  <a:gd name="T3" fmla="*/ 7 h 1599"/>
                  <a:gd name="T4" fmla="*/ 370 w 987"/>
                  <a:gd name="T5" fmla="*/ 37 h 1599"/>
                  <a:gd name="T6" fmla="*/ 434 w 987"/>
                  <a:gd name="T7" fmla="*/ 91 h 1599"/>
                  <a:gd name="T8" fmla="*/ 473 w 987"/>
                  <a:gd name="T9" fmla="*/ 170 h 1599"/>
                  <a:gd name="T10" fmla="*/ 511 w 987"/>
                  <a:gd name="T11" fmla="*/ 256 h 1599"/>
                  <a:gd name="T12" fmla="*/ 556 w 987"/>
                  <a:gd name="T13" fmla="*/ 324 h 1599"/>
                  <a:gd name="T14" fmla="*/ 617 w 987"/>
                  <a:gd name="T15" fmla="*/ 373 h 1599"/>
                  <a:gd name="T16" fmla="*/ 704 w 987"/>
                  <a:gd name="T17" fmla="*/ 402 h 1599"/>
                  <a:gd name="T18" fmla="*/ 829 w 987"/>
                  <a:gd name="T19" fmla="*/ 409 h 1599"/>
                  <a:gd name="T20" fmla="*/ 925 w 987"/>
                  <a:gd name="T21" fmla="*/ 413 h 1599"/>
                  <a:gd name="T22" fmla="*/ 973 w 987"/>
                  <a:gd name="T23" fmla="*/ 452 h 1599"/>
                  <a:gd name="T24" fmla="*/ 986 w 987"/>
                  <a:gd name="T25" fmla="*/ 515 h 1599"/>
                  <a:gd name="T26" fmla="*/ 955 w 987"/>
                  <a:gd name="T27" fmla="*/ 569 h 1599"/>
                  <a:gd name="T28" fmla="*/ 895 w 987"/>
                  <a:gd name="T29" fmla="*/ 593 h 1599"/>
                  <a:gd name="T30" fmla="*/ 725 w 987"/>
                  <a:gd name="T31" fmla="*/ 597 h 1599"/>
                  <a:gd name="T32" fmla="*/ 596 w 987"/>
                  <a:gd name="T33" fmla="*/ 580 h 1599"/>
                  <a:gd name="T34" fmla="*/ 499 w 987"/>
                  <a:gd name="T35" fmla="*/ 542 h 1599"/>
                  <a:gd name="T36" fmla="*/ 518 w 987"/>
                  <a:gd name="T37" fmla="*/ 685 h 1599"/>
                  <a:gd name="T38" fmla="*/ 622 w 987"/>
                  <a:gd name="T39" fmla="*/ 704 h 1599"/>
                  <a:gd name="T40" fmla="*/ 684 w 987"/>
                  <a:gd name="T41" fmla="*/ 730 h 1599"/>
                  <a:gd name="T42" fmla="*/ 717 w 987"/>
                  <a:gd name="T43" fmla="*/ 760 h 1599"/>
                  <a:gd name="T44" fmla="*/ 731 w 987"/>
                  <a:gd name="T45" fmla="*/ 783 h 1599"/>
                  <a:gd name="T46" fmla="*/ 739 w 987"/>
                  <a:gd name="T47" fmla="*/ 802 h 1599"/>
                  <a:gd name="T48" fmla="*/ 745 w 987"/>
                  <a:gd name="T49" fmla="*/ 831 h 1599"/>
                  <a:gd name="T50" fmla="*/ 750 w 987"/>
                  <a:gd name="T51" fmla="*/ 878 h 1599"/>
                  <a:gd name="T52" fmla="*/ 751 w 987"/>
                  <a:gd name="T53" fmla="*/ 952 h 1599"/>
                  <a:gd name="T54" fmla="*/ 747 w 987"/>
                  <a:gd name="T55" fmla="*/ 1061 h 1599"/>
                  <a:gd name="T56" fmla="*/ 739 w 987"/>
                  <a:gd name="T57" fmla="*/ 1211 h 1599"/>
                  <a:gd name="T58" fmla="*/ 722 w 987"/>
                  <a:gd name="T59" fmla="*/ 1413 h 1599"/>
                  <a:gd name="T60" fmla="*/ 699 w 987"/>
                  <a:gd name="T61" fmla="*/ 1540 h 1599"/>
                  <a:gd name="T62" fmla="*/ 643 w 987"/>
                  <a:gd name="T63" fmla="*/ 1589 h 1599"/>
                  <a:gd name="T64" fmla="*/ 580 w 987"/>
                  <a:gd name="T65" fmla="*/ 1599 h 1599"/>
                  <a:gd name="T66" fmla="*/ 512 w 987"/>
                  <a:gd name="T67" fmla="*/ 1573 h 1599"/>
                  <a:gd name="T68" fmla="*/ 472 w 987"/>
                  <a:gd name="T69" fmla="*/ 1518 h 1599"/>
                  <a:gd name="T70" fmla="*/ 477 w 987"/>
                  <a:gd name="T71" fmla="*/ 1364 h 1599"/>
                  <a:gd name="T72" fmla="*/ 508 w 987"/>
                  <a:gd name="T73" fmla="*/ 1069 h 1599"/>
                  <a:gd name="T74" fmla="*/ 501 w 987"/>
                  <a:gd name="T75" fmla="*/ 994 h 1599"/>
                  <a:gd name="T76" fmla="*/ 471 w 987"/>
                  <a:gd name="T77" fmla="*/ 947 h 1599"/>
                  <a:gd name="T78" fmla="*/ 430 w 987"/>
                  <a:gd name="T79" fmla="*/ 920 h 1599"/>
                  <a:gd name="T80" fmla="*/ 390 w 987"/>
                  <a:gd name="T81" fmla="*/ 908 h 1599"/>
                  <a:gd name="T82" fmla="*/ 362 w 987"/>
                  <a:gd name="T83" fmla="*/ 905 h 1599"/>
                  <a:gd name="T84" fmla="*/ 351 w 987"/>
                  <a:gd name="T85" fmla="*/ 905 h 1599"/>
                  <a:gd name="T86" fmla="*/ 309 w 987"/>
                  <a:gd name="T87" fmla="*/ 905 h 1599"/>
                  <a:gd name="T88" fmla="*/ 246 w 987"/>
                  <a:gd name="T89" fmla="*/ 905 h 1599"/>
                  <a:gd name="T90" fmla="*/ 201 w 987"/>
                  <a:gd name="T91" fmla="*/ 905 h 1599"/>
                  <a:gd name="T92" fmla="*/ 134 w 987"/>
                  <a:gd name="T93" fmla="*/ 898 h 1599"/>
                  <a:gd name="T94" fmla="*/ 56 w 987"/>
                  <a:gd name="T95" fmla="*/ 859 h 1599"/>
                  <a:gd name="T96" fmla="*/ 10 w 987"/>
                  <a:gd name="T97" fmla="*/ 790 h 1599"/>
                  <a:gd name="T98" fmla="*/ 0 w 987"/>
                  <a:gd name="T99" fmla="*/ 192 h 1599"/>
                  <a:gd name="T100" fmla="*/ 23 w 987"/>
                  <a:gd name="T101" fmla="*/ 112 h 1599"/>
                  <a:gd name="T102" fmla="*/ 79 w 987"/>
                  <a:gd name="T103" fmla="*/ 51 h 1599"/>
                  <a:gd name="T104" fmla="*/ 153 w 987"/>
                  <a:gd name="T105" fmla="*/ 14 h 1599"/>
                  <a:gd name="T106" fmla="*/ 182 w 987"/>
                  <a:gd name="T107" fmla="*/ 6 h 1599"/>
                  <a:gd name="T108" fmla="*/ 211 w 987"/>
                  <a:gd name="T109" fmla="*/ 2 h 1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87" h="1599">
                    <a:moveTo>
                      <a:pt x="238" y="0"/>
                    </a:moveTo>
                    <a:lnTo>
                      <a:pt x="255" y="0"/>
                    </a:lnTo>
                    <a:lnTo>
                      <a:pt x="270" y="2"/>
                    </a:lnTo>
                    <a:lnTo>
                      <a:pt x="282" y="4"/>
                    </a:lnTo>
                    <a:lnTo>
                      <a:pt x="291" y="6"/>
                    </a:lnTo>
                    <a:lnTo>
                      <a:pt x="294" y="7"/>
                    </a:lnTo>
                    <a:lnTo>
                      <a:pt x="319" y="14"/>
                    </a:lnTo>
                    <a:lnTo>
                      <a:pt x="345" y="24"/>
                    </a:lnTo>
                    <a:lnTo>
                      <a:pt x="370" y="37"/>
                    </a:lnTo>
                    <a:lnTo>
                      <a:pt x="393" y="52"/>
                    </a:lnTo>
                    <a:lnTo>
                      <a:pt x="414" y="70"/>
                    </a:lnTo>
                    <a:lnTo>
                      <a:pt x="434" y="91"/>
                    </a:lnTo>
                    <a:lnTo>
                      <a:pt x="448" y="114"/>
                    </a:lnTo>
                    <a:lnTo>
                      <a:pt x="460" y="138"/>
                    </a:lnTo>
                    <a:lnTo>
                      <a:pt x="473" y="170"/>
                    </a:lnTo>
                    <a:lnTo>
                      <a:pt x="486" y="201"/>
                    </a:lnTo>
                    <a:lnTo>
                      <a:pt x="499" y="230"/>
                    </a:lnTo>
                    <a:lnTo>
                      <a:pt x="511" y="256"/>
                    </a:lnTo>
                    <a:lnTo>
                      <a:pt x="525" y="281"/>
                    </a:lnTo>
                    <a:lnTo>
                      <a:pt x="540" y="303"/>
                    </a:lnTo>
                    <a:lnTo>
                      <a:pt x="556" y="324"/>
                    </a:lnTo>
                    <a:lnTo>
                      <a:pt x="574" y="342"/>
                    </a:lnTo>
                    <a:lnTo>
                      <a:pt x="595" y="359"/>
                    </a:lnTo>
                    <a:lnTo>
                      <a:pt x="617" y="373"/>
                    </a:lnTo>
                    <a:lnTo>
                      <a:pt x="643" y="385"/>
                    </a:lnTo>
                    <a:lnTo>
                      <a:pt x="672" y="394"/>
                    </a:lnTo>
                    <a:lnTo>
                      <a:pt x="704" y="402"/>
                    </a:lnTo>
                    <a:lnTo>
                      <a:pt x="742" y="406"/>
                    </a:lnTo>
                    <a:lnTo>
                      <a:pt x="783" y="409"/>
                    </a:lnTo>
                    <a:lnTo>
                      <a:pt x="829" y="409"/>
                    </a:lnTo>
                    <a:lnTo>
                      <a:pt x="880" y="406"/>
                    </a:lnTo>
                    <a:lnTo>
                      <a:pt x="903" y="407"/>
                    </a:lnTo>
                    <a:lnTo>
                      <a:pt x="925" y="413"/>
                    </a:lnTo>
                    <a:lnTo>
                      <a:pt x="944" y="422"/>
                    </a:lnTo>
                    <a:lnTo>
                      <a:pt x="960" y="436"/>
                    </a:lnTo>
                    <a:lnTo>
                      <a:pt x="973" y="452"/>
                    </a:lnTo>
                    <a:lnTo>
                      <a:pt x="983" y="471"/>
                    </a:lnTo>
                    <a:lnTo>
                      <a:pt x="987" y="493"/>
                    </a:lnTo>
                    <a:lnTo>
                      <a:pt x="986" y="515"/>
                    </a:lnTo>
                    <a:lnTo>
                      <a:pt x="980" y="535"/>
                    </a:lnTo>
                    <a:lnTo>
                      <a:pt x="970" y="553"/>
                    </a:lnTo>
                    <a:lnTo>
                      <a:pt x="955" y="569"/>
                    </a:lnTo>
                    <a:lnTo>
                      <a:pt x="938" y="581"/>
                    </a:lnTo>
                    <a:lnTo>
                      <a:pt x="918" y="589"/>
                    </a:lnTo>
                    <a:lnTo>
                      <a:pt x="895" y="593"/>
                    </a:lnTo>
                    <a:lnTo>
                      <a:pt x="832" y="597"/>
                    </a:lnTo>
                    <a:lnTo>
                      <a:pt x="776" y="598"/>
                    </a:lnTo>
                    <a:lnTo>
                      <a:pt x="725" y="597"/>
                    </a:lnTo>
                    <a:lnTo>
                      <a:pt x="678" y="593"/>
                    </a:lnTo>
                    <a:lnTo>
                      <a:pt x="635" y="588"/>
                    </a:lnTo>
                    <a:lnTo>
                      <a:pt x="596" y="580"/>
                    </a:lnTo>
                    <a:lnTo>
                      <a:pt x="560" y="570"/>
                    </a:lnTo>
                    <a:lnTo>
                      <a:pt x="527" y="557"/>
                    </a:lnTo>
                    <a:lnTo>
                      <a:pt x="499" y="542"/>
                    </a:lnTo>
                    <a:lnTo>
                      <a:pt x="471" y="524"/>
                    </a:lnTo>
                    <a:lnTo>
                      <a:pt x="471" y="681"/>
                    </a:lnTo>
                    <a:lnTo>
                      <a:pt x="518" y="685"/>
                    </a:lnTo>
                    <a:lnTo>
                      <a:pt x="558" y="690"/>
                    </a:lnTo>
                    <a:lnTo>
                      <a:pt x="592" y="697"/>
                    </a:lnTo>
                    <a:lnTo>
                      <a:pt x="622" y="704"/>
                    </a:lnTo>
                    <a:lnTo>
                      <a:pt x="647" y="712"/>
                    </a:lnTo>
                    <a:lnTo>
                      <a:pt x="668" y="721"/>
                    </a:lnTo>
                    <a:lnTo>
                      <a:pt x="684" y="730"/>
                    </a:lnTo>
                    <a:lnTo>
                      <a:pt x="698" y="740"/>
                    </a:lnTo>
                    <a:lnTo>
                      <a:pt x="709" y="750"/>
                    </a:lnTo>
                    <a:lnTo>
                      <a:pt x="717" y="760"/>
                    </a:lnTo>
                    <a:lnTo>
                      <a:pt x="724" y="769"/>
                    </a:lnTo>
                    <a:lnTo>
                      <a:pt x="729" y="778"/>
                    </a:lnTo>
                    <a:lnTo>
                      <a:pt x="731" y="783"/>
                    </a:lnTo>
                    <a:lnTo>
                      <a:pt x="734" y="789"/>
                    </a:lnTo>
                    <a:lnTo>
                      <a:pt x="736" y="795"/>
                    </a:lnTo>
                    <a:lnTo>
                      <a:pt x="739" y="802"/>
                    </a:lnTo>
                    <a:lnTo>
                      <a:pt x="741" y="810"/>
                    </a:lnTo>
                    <a:lnTo>
                      <a:pt x="744" y="819"/>
                    </a:lnTo>
                    <a:lnTo>
                      <a:pt x="745" y="831"/>
                    </a:lnTo>
                    <a:lnTo>
                      <a:pt x="747" y="844"/>
                    </a:lnTo>
                    <a:lnTo>
                      <a:pt x="748" y="860"/>
                    </a:lnTo>
                    <a:lnTo>
                      <a:pt x="750" y="878"/>
                    </a:lnTo>
                    <a:lnTo>
                      <a:pt x="750" y="900"/>
                    </a:lnTo>
                    <a:lnTo>
                      <a:pt x="751" y="924"/>
                    </a:lnTo>
                    <a:lnTo>
                      <a:pt x="751" y="952"/>
                    </a:lnTo>
                    <a:lnTo>
                      <a:pt x="750" y="984"/>
                    </a:lnTo>
                    <a:lnTo>
                      <a:pt x="749" y="1021"/>
                    </a:lnTo>
                    <a:lnTo>
                      <a:pt x="747" y="1061"/>
                    </a:lnTo>
                    <a:lnTo>
                      <a:pt x="745" y="1106"/>
                    </a:lnTo>
                    <a:lnTo>
                      <a:pt x="742" y="1156"/>
                    </a:lnTo>
                    <a:lnTo>
                      <a:pt x="739" y="1211"/>
                    </a:lnTo>
                    <a:lnTo>
                      <a:pt x="733" y="1272"/>
                    </a:lnTo>
                    <a:lnTo>
                      <a:pt x="728" y="1339"/>
                    </a:lnTo>
                    <a:lnTo>
                      <a:pt x="722" y="1413"/>
                    </a:lnTo>
                    <a:lnTo>
                      <a:pt x="715" y="1492"/>
                    </a:lnTo>
                    <a:lnTo>
                      <a:pt x="710" y="1517"/>
                    </a:lnTo>
                    <a:lnTo>
                      <a:pt x="699" y="1540"/>
                    </a:lnTo>
                    <a:lnTo>
                      <a:pt x="684" y="1560"/>
                    </a:lnTo>
                    <a:lnTo>
                      <a:pt x="665" y="1577"/>
                    </a:lnTo>
                    <a:lnTo>
                      <a:pt x="643" y="1589"/>
                    </a:lnTo>
                    <a:lnTo>
                      <a:pt x="618" y="1597"/>
                    </a:lnTo>
                    <a:lnTo>
                      <a:pt x="591" y="1599"/>
                    </a:lnTo>
                    <a:lnTo>
                      <a:pt x="580" y="1599"/>
                    </a:lnTo>
                    <a:lnTo>
                      <a:pt x="555" y="1595"/>
                    </a:lnTo>
                    <a:lnTo>
                      <a:pt x="533" y="1586"/>
                    </a:lnTo>
                    <a:lnTo>
                      <a:pt x="512" y="1573"/>
                    </a:lnTo>
                    <a:lnTo>
                      <a:pt x="495" y="1558"/>
                    </a:lnTo>
                    <a:lnTo>
                      <a:pt x="482" y="1538"/>
                    </a:lnTo>
                    <a:lnTo>
                      <a:pt x="472" y="1518"/>
                    </a:lnTo>
                    <a:lnTo>
                      <a:pt x="467" y="1495"/>
                    </a:lnTo>
                    <a:lnTo>
                      <a:pt x="467" y="1472"/>
                    </a:lnTo>
                    <a:lnTo>
                      <a:pt x="477" y="1364"/>
                    </a:lnTo>
                    <a:lnTo>
                      <a:pt x="488" y="1261"/>
                    </a:lnTo>
                    <a:lnTo>
                      <a:pt x="499" y="1163"/>
                    </a:lnTo>
                    <a:lnTo>
                      <a:pt x="508" y="1069"/>
                    </a:lnTo>
                    <a:lnTo>
                      <a:pt x="509" y="1041"/>
                    </a:lnTo>
                    <a:lnTo>
                      <a:pt x="506" y="1017"/>
                    </a:lnTo>
                    <a:lnTo>
                      <a:pt x="501" y="994"/>
                    </a:lnTo>
                    <a:lnTo>
                      <a:pt x="493" y="976"/>
                    </a:lnTo>
                    <a:lnTo>
                      <a:pt x="483" y="960"/>
                    </a:lnTo>
                    <a:lnTo>
                      <a:pt x="471" y="947"/>
                    </a:lnTo>
                    <a:lnTo>
                      <a:pt x="458" y="936"/>
                    </a:lnTo>
                    <a:lnTo>
                      <a:pt x="444" y="927"/>
                    </a:lnTo>
                    <a:lnTo>
                      <a:pt x="430" y="920"/>
                    </a:lnTo>
                    <a:lnTo>
                      <a:pt x="416" y="915"/>
                    </a:lnTo>
                    <a:lnTo>
                      <a:pt x="403" y="911"/>
                    </a:lnTo>
                    <a:lnTo>
                      <a:pt x="390" y="908"/>
                    </a:lnTo>
                    <a:lnTo>
                      <a:pt x="379" y="906"/>
                    </a:lnTo>
                    <a:lnTo>
                      <a:pt x="370" y="905"/>
                    </a:lnTo>
                    <a:lnTo>
                      <a:pt x="362" y="905"/>
                    </a:lnTo>
                    <a:lnTo>
                      <a:pt x="357" y="905"/>
                    </a:lnTo>
                    <a:lnTo>
                      <a:pt x="356" y="905"/>
                    </a:lnTo>
                    <a:lnTo>
                      <a:pt x="351" y="905"/>
                    </a:lnTo>
                    <a:lnTo>
                      <a:pt x="342" y="905"/>
                    </a:lnTo>
                    <a:lnTo>
                      <a:pt x="327" y="905"/>
                    </a:lnTo>
                    <a:lnTo>
                      <a:pt x="309" y="905"/>
                    </a:lnTo>
                    <a:lnTo>
                      <a:pt x="287" y="905"/>
                    </a:lnTo>
                    <a:lnTo>
                      <a:pt x="266" y="905"/>
                    </a:lnTo>
                    <a:lnTo>
                      <a:pt x="246" y="905"/>
                    </a:lnTo>
                    <a:lnTo>
                      <a:pt x="227" y="905"/>
                    </a:lnTo>
                    <a:lnTo>
                      <a:pt x="212" y="905"/>
                    </a:lnTo>
                    <a:lnTo>
                      <a:pt x="201" y="905"/>
                    </a:lnTo>
                    <a:lnTo>
                      <a:pt x="198" y="905"/>
                    </a:lnTo>
                    <a:lnTo>
                      <a:pt x="165" y="903"/>
                    </a:lnTo>
                    <a:lnTo>
                      <a:pt x="134" y="898"/>
                    </a:lnTo>
                    <a:lnTo>
                      <a:pt x="105" y="888"/>
                    </a:lnTo>
                    <a:lnTo>
                      <a:pt x="79" y="875"/>
                    </a:lnTo>
                    <a:lnTo>
                      <a:pt x="56" y="859"/>
                    </a:lnTo>
                    <a:lnTo>
                      <a:pt x="37" y="839"/>
                    </a:lnTo>
                    <a:lnTo>
                      <a:pt x="22" y="816"/>
                    </a:lnTo>
                    <a:lnTo>
                      <a:pt x="10" y="790"/>
                    </a:lnTo>
                    <a:lnTo>
                      <a:pt x="3" y="760"/>
                    </a:lnTo>
                    <a:lnTo>
                      <a:pt x="0" y="726"/>
                    </a:lnTo>
                    <a:lnTo>
                      <a:pt x="0" y="192"/>
                    </a:lnTo>
                    <a:lnTo>
                      <a:pt x="4" y="163"/>
                    </a:lnTo>
                    <a:lnTo>
                      <a:pt x="11" y="136"/>
                    </a:lnTo>
                    <a:lnTo>
                      <a:pt x="23" y="112"/>
                    </a:lnTo>
                    <a:lnTo>
                      <a:pt x="39" y="90"/>
                    </a:lnTo>
                    <a:lnTo>
                      <a:pt x="58" y="69"/>
                    </a:lnTo>
                    <a:lnTo>
                      <a:pt x="79" y="51"/>
                    </a:lnTo>
                    <a:lnTo>
                      <a:pt x="103" y="36"/>
                    </a:lnTo>
                    <a:lnTo>
                      <a:pt x="127" y="24"/>
                    </a:lnTo>
                    <a:lnTo>
                      <a:pt x="153" y="14"/>
                    </a:lnTo>
                    <a:lnTo>
                      <a:pt x="180" y="6"/>
                    </a:lnTo>
                    <a:lnTo>
                      <a:pt x="180" y="6"/>
                    </a:lnTo>
                    <a:lnTo>
                      <a:pt x="182" y="6"/>
                    </a:lnTo>
                    <a:lnTo>
                      <a:pt x="189" y="5"/>
                    </a:lnTo>
                    <a:lnTo>
                      <a:pt x="199" y="3"/>
                    </a:lnTo>
                    <a:lnTo>
                      <a:pt x="211" y="2"/>
                    </a:lnTo>
                    <a:lnTo>
                      <a:pt x="224" y="0"/>
                    </a:lnTo>
                    <a:lnTo>
                      <a:pt x="23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92" name="Freeform 73"/>
              <p:cNvSpPr>
                <a:spLocks/>
              </p:cNvSpPr>
              <p:nvPr/>
            </p:nvSpPr>
            <p:spPr bwMode="auto">
              <a:xfrm>
                <a:off x="1136" y="2114"/>
                <a:ext cx="43" cy="95"/>
              </a:xfrm>
              <a:custGeom>
                <a:avLst/>
                <a:gdLst>
                  <a:gd name="T0" fmla="*/ 96 w 693"/>
                  <a:gd name="T1" fmla="*/ 0 h 1426"/>
                  <a:gd name="T2" fmla="*/ 117 w 693"/>
                  <a:gd name="T3" fmla="*/ 2 h 1426"/>
                  <a:gd name="T4" fmla="*/ 138 w 693"/>
                  <a:gd name="T5" fmla="*/ 9 h 1426"/>
                  <a:gd name="T6" fmla="*/ 156 w 693"/>
                  <a:gd name="T7" fmla="*/ 20 h 1426"/>
                  <a:gd name="T8" fmla="*/ 171 w 693"/>
                  <a:gd name="T9" fmla="*/ 34 h 1426"/>
                  <a:gd name="T10" fmla="*/ 181 w 693"/>
                  <a:gd name="T11" fmla="*/ 50 h 1426"/>
                  <a:gd name="T12" fmla="*/ 189 w 693"/>
                  <a:gd name="T13" fmla="*/ 70 h 1426"/>
                  <a:gd name="T14" fmla="*/ 192 w 693"/>
                  <a:gd name="T15" fmla="*/ 91 h 1426"/>
                  <a:gd name="T16" fmla="*/ 192 w 693"/>
                  <a:gd name="T17" fmla="*/ 563 h 1426"/>
                  <a:gd name="T18" fmla="*/ 191 w 693"/>
                  <a:gd name="T19" fmla="*/ 564 h 1426"/>
                  <a:gd name="T20" fmla="*/ 191 w 693"/>
                  <a:gd name="T21" fmla="*/ 569 h 1426"/>
                  <a:gd name="T22" fmla="*/ 191 w 693"/>
                  <a:gd name="T23" fmla="*/ 576 h 1426"/>
                  <a:gd name="T24" fmla="*/ 191 w 693"/>
                  <a:gd name="T25" fmla="*/ 587 h 1426"/>
                  <a:gd name="T26" fmla="*/ 192 w 693"/>
                  <a:gd name="T27" fmla="*/ 598 h 1426"/>
                  <a:gd name="T28" fmla="*/ 193 w 693"/>
                  <a:gd name="T29" fmla="*/ 612 h 1426"/>
                  <a:gd name="T30" fmla="*/ 195 w 693"/>
                  <a:gd name="T31" fmla="*/ 626 h 1426"/>
                  <a:gd name="T32" fmla="*/ 199 w 693"/>
                  <a:gd name="T33" fmla="*/ 642 h 1426"/>
                  <a:gd name="T34" fmla="*/ 204 w 693"/>
                  <a:gd name="T35" fmla="*/ 658 h 1426"/>
                  <a:gd name="T36" fmla="*/ 211 w 693"/>
                  <a:gd name="T37" fmla="*/ 675 h 1426"/>
                  <a:gd name="T38" fmla="*/ 220 w 693"/>
                  <a:gd name="T39" fmla="*/ 692 h 1426"/>
                  <a:gd name="T40" fmla="*/ 231 w 693"/>
                  <a:gd name="T41" fmla="*/ 708 h 1426"/>
                  <a:gd name="T42" fmla="*/ 244 w 693"/>
                  <a:gd name="T43" fmla="*/ 725 h 1426"/>
                  <a:gd name="T44" fmla="*/ 261 w 693"/>
                  <a:gd name="T45" fmla="*/ 739 h 1426"/>
                  <a:gd name="T46" fmla="*/ 279 w 693"/>
                  <a:gd name="T47" fmla="*/ 752 h 1426"/>
                  <a:gd name="T48" fmla="*/ 302 w 693"/>
                  <a:gd name="T49" fmla="*/ 764 h 1426"/>
                  <a:gd name="T50" fmla="*/ 327 w 693"/>
                  <a:gd name="T51" fmla="*/ 774 h 1426"/>
                  <a:gd name="T52" fmla="*/ 357 w 693"/>
                  <a:gd name="T53" fmla="*/ 781 h 1426"/>
                  <a:gd name="T54" fmla="*/ 390 w 693"/>
                  <a:gd name="T55" fmla="*/ 786 h 1426"/>
                  <a:gd name="T56" fmla="*/ 428 w 693"/>
                  <a:gd name="T57" fmla="*/ 787 h 1426"/>
                  <a:gd name="T58" fmla="*/ 597 w 693"/>
                  <a:gd name="T59" fmla="*/ 787 h 1426"/>
                  <a:gd name="T60" fmla="*/ 620 w 693"/>
                  <a:gd name="T61" fmla="*/ 790 h 1426"/>
                  <a:gd name="T62" fmla="*/ 640 w 693"/>
                  <a:gd name="T63" fmla="*/ 796 h 1426"/>
                  <a:gd name="T64" fmla="*/ 657 w 693"/>
                  <a:gd name="T65" fmla="*/ 807 h 1426"/>
                  <a:gd name="T66" fmla="*/ 672 w 693"/>
                  <a:gd name="T67" fmla="*/ 821 h 1426"/>
                  <a:gd name="T68" fmla="*/ 684 w 693"/>
                  <a:gd name="T69" fmla="*/ 838 h 1426"/>
                  <a:gd name="T70" fmla="*/ 691 w 693"/>
                  <a:gd name="T71" fmla="*/ 857 h 1426"/>
                  <a:gd name="T72" fmla="*/ 693 w 693"/>
                  <a:gd name="T73" fmla="*/ 878 h 1426"/>
                  <a:gd name="T74" fmla="*/ 690 w 693"/>
                  <a:gd name="T75" fmla="*/ 900 h 1426"/>
                  <a:gd name="T76" fmla="*/ 683 w 693"/>
                  <a:gd name="T77" fmla="*/ 919 h 1426"/>
                  <a:gd name="T78" fmla="*/ 670 w 693"/>
                  <a:gd name="T79" fmla="*/ 936 h 1426"/>
                  <a:gd name="T80" fmla="*/ 654 w 693"/>
                  <a:gd name="T81" fmla="*/ 950 h 1426"/>
                  <a:gd name="T82" fmla="*/ 635 w 693"/>
                  <a:gd name="T83" fmla="*/ 961 h 1426"/>
                  <a:gd name="T84" fmla="*/ 613 w 693"/>
                  <a:gd name="T85" fmla="*/ 966 h 1426"/>
                  <a:gd name="T86" fmla="*/ 613 w 693"/>
                  <a:gd name="T87" fmla="*/ 1426 h 1426"/>
                  <a:gd name="T88" fmla="*/ 498 w 693"/>
                  <a:gd name="T89" fmla="*/ 1426 h 1426"/>
                  <a:gd name="T90" fmla="*/ 498 w 693"/>
                  <a:gd name="T91" fmla="*/ 968 h 1426"/>
                  <a:gd name="T92" fmla="*/ 154 w 693"/>
                  <a:gd name="T93" fmla="*/ 968 h 1426"/>
                  <a:gd name="T94" fmla="*/ 154 w 693"/>
                  <a:gd name="T95" fmla="*/ 1426 h 1426"/>
                  <a:gd name="T96" fmla="*/ 38 w 693"/>
                  <a:gd name="T97" fmla="*/ 1426 h 1426"/>
                  <a:gd name="T98" fmla="*/ 38 w 693"/>
                  <a:gd name="T99" fmla="*/ 949 h 1426"/>
                  <a:gd name="T100" fmla="*/ 22 w 693"/>
                  <a:gd name="T101" fmla="*/ 935 h 1426"/>
                  <a:gd name="T102" fmla="*/ 11 w 693"/>
                  <a:gd name="T103" fmla="*/ 919 h 1426"/>
                  <a:gd name="T104" fmla="*/ 3 w 693"/>
                  <a:gd name="T105" fmla="*/ 899 h 1426"/>
                  <a:gd name="T106" fmla="*/ 0 w 693"/>
                  <a:gd name="T107" fmla="*/ 878 h 1426"/>
                  <a:gd name="T108" fmla="*/ 0 w 693"/>
                  <a:gd name="T109" fmla="*/ 91 h 1426"/>
                  <a:gd name="T110" fmla="*/ 2 w 693"/>
                  <a:gd name="T111" fmla="*/ 70 h 1426"/>
                  <a:gd name="T112" fmla="*/ 10 w 693"/>
                  <a:gd name="T113" fmla="*/ 50 h 1426"/>
                  <a:gd name="T114" fmla="*/ 21 w 693"/>
                  <a:gd name="T115" fmla="*/ 34 h 1426"/>
                  <a:gd name="T116" fmla="*/ 36 w 693"/>
                  <a:gd name="T117" fmla="*/ 20 h 1426"/>
                  <a:gd name="T118" fmla="*/ 53 w 693"/>
                  <a:gd name="T119" fmla="*/ 9 h 1426"/>
                  <a:gd name="T120" fmla="*/ 74 w 693"/>
                  <a:gd name="T121" fmla="*/ 2 h 1426"/>
                  <a:gd name="T122" fmla="*/ 96 w 693"/>
                  <a:gd name="T123" fmla="*/ 0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93" h="1426">
                    <a:moveTo>
                      <a:pt x="96" y="0"/>
                    </a:moveTo>
                    <a:lnTo>
                      <a:pt x="117" y="2"/>
                    </a:lnTo>
                    <a:lnTo>
                      <a:pt x="138" y="9"/>
                    </a:lnTo>
                    <a:lnTo>
                      <a:pt x="156" y="20"/>
                    </a:lnTo>
                    <a:lnTo>
                      <a:pt x="171" y="34"/>
                    </a:lnTo>
                    <a:lnTo>
                      <a:pt x="181" y="50"/>
                    </a:lnTo>
                    <a:lnTo>
                      <a:pt x="189" y="70"/>
                    </a:lnTo>
                    <a:lnTo>
                      <a:pt x="192" y="91"/>
                    </a:lnTo>
                    <a:lnTo>
                      <a:pt x="192" y="563"/>
                    </a:lnTo>
                    <a:lnTo>
                      <a:pt x="191" y="564"/>
                    </a:lnTo>
                    <a:lnTo>
                      <a:pt x="191" y="569"/>
                    </a:lnTo>
                    <a:lnTo>
                      <a:pt x="191" y="576"/>
                    </a:lnTo>
                    <a:lnTo>
                      <a:pt x="191" y="587"/>
                    </a:lnTo>
                    <a:lnTo>
                      <a:pt x="192" y="598"/>
                    </a:lnTo>
                    <a:lnTo>
                      <a:pt x="193" y="612"/>
                    </a:lnTo>
                    <a:lnTo>
                      <a:pt x="195" y="626"/>
                    </a:lnTo>
                    <a:lnTo>
                      <a:pt x="199" y="642"/>
                    </a:lnTo>
                    <a:lnTo>
                      <a:pt x="204" y="658"/>
                    </a:lnTo>
                    <a:lnTo>
                      <a:pt x="211" y="675"/>
                    </a:lnTo>
                    <a:lnTo>
                      <a:pt x="220" y="692"/>
                    </a:lnTo>
                    <a:lnTo>
                      <a:pt x="231" y="708"/>
                    </a:lnTo>
                    <a:lnTo>
                      <a:pt x="244" y="725"/>
                    </a:lnTo>
                    <a:lnTo>
                      <a:pt x="261" y="739"/>
                    </a:lnTo>
                    <a:lnTo>
                      <a:pt x="279" y="752"/>
                    </a:lnTo>
                    <a:lnTo>
                      <a:pt x="302" y="764"/>
                    </a:lnTo>
                    <a:lnTo>
                      <a:pt x="327" y="774"/>
                    </a:lnTo>
                    <a:lnTo>
                      <a:pt x="357" y="781"/>
                    </a:lnTo>
                    <a:lnTo>
                      <a:pt x="390" y="786"/>
                    </a:lnTo>
                    <a:lnTo>
                      <a:pt x="428" y="787"/>
                    </a:lnTo>
                    <a:lnTo>
                      <a:pt x="597" y="787"/>
                    </a:lnTo>
                    <a:lnTo>
                      <a:pt x="620" y="790"/>
                    </a:lnTo>
                    <a:lnTo>
                      <a:pt x="640" y="796"/>
                    </a:lnTo>
                    <a:lnTo>
                      <a:pt x="657" y="807"/>
                    </a:lnTo>
                    <a:lnTo>
                      <a:pt x="672" y="821"/>
                    </a:lnTo>
                    <a:lnTo>
                      <a:pt x="684" y="838"/>
                    </a:lnTo>
                    <a:lnTo>
                      <a:pt x="691" y="857"/>
                    </a:lnTo>
                    <a:lnTo>
                      <a:pt x="693" y="878"/>
                    </a:lnTo>
                    <a:lnTo>
                      <a:pt x="690" y="900"/>
                    </a:lnTo>
                    <a:lnTo>
                      <a:pt x="683" y="919"/>
                    </a:lnTo>
                    <a:lnTo>
                      <a:pt x="670" y="936"/>
                    </a:lnTo>
                    <a:lnTo>
                      <a:pt x="654" y="950"/>
                    </a:lnTo>
                    <a:lnTo>
                      <a:pt x="635" y="961"/>
                    </a:lnTo>
                    <a:lnTo>
                      <a:pt x="613" y="966"/>
                    </a:lnTo>
                    <a:lnTo>
                      <a:pt x="613" y="1426"/>
                    </a:lnTo>
                    <a:lnTo>
                      <a:pt x="498" y="1426"/>
                    </a:lnTo>
                    <a:lnTo>
                      <a:pt x="498" y="968"/>
                    </a:lnTo>
                    <a:lnTo>
                      <a:pt x="154" y="968"/>
                    </a:lnTo>
                    <a:lnTo>
                      <a:pt x="154" y="1426"/>
                    </a:lnTo>
                    <a:lnTo>
                      <a:pt x="38" y="1426"/>
                    </a:lnTo>
                    <a:lnTo>
                      <a:pt x="38" y="949"/>
                    </a:lnTo>
                    <a:lnTo>
                      <a:pt x="22" y="935"/>
                    </a:lnTo>
                    <a:lnTo>
                      <a:pt x="11" y="919"/>
                    </a:lnTo>
                    <a:lnTo>
                      <a:pt x="3" y="899"/>
                    </a:lnTo>
                    <a:lnTo>
                      <a:pt x="0" y="878"/>
                    </a:lnTo>
                    <a:lnTo>
                      <a:pt x="0" y="91"/>
                    </a:lnTo>
                    <a:lnTo>
                      <a:pt x="2" y="70"/>
                    </a:lnTo>
                    <a:lnTo>
                      <a:pt x="10" y="50"/>
                    </a:lnTo>
                    <a:lnTo>
                      <a:pt x="21" y="34"/>
                    </a:lnTo>
                    <a:lnTo>
                      <a:pt x="36" y="20"/>
                    </a:lnTo>
                    <a:lnTo>
                      <a:pt x="53" y="9"/>
                    </a:lnTo>
                    <a:lnTo>
                      <a:pt x="74" y="2"/>
                    </a:lnTo>
                    <a:lnTo>
                      <a:pt x="9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93" name="Freeform 74"/>
              <p:cNvSpPr>
                <a:spLocks/>
              </p:cNvSpPr>
              <p:nvPr/>
            </p:nvSpPr>
            <p:spPr bwMode="auto">
              <a:xfrm>
                <a:off x="1307" y="2069"/>
                <a:ext cx="32" cy="33"/>
              </a:xfrm>
              <a:custGeom>
                <a:avLst/>
                <a:gdLst>
                  <a:gd name="T0" fmla="*/ 256 w 513"/>
                  <a:gd name="T1" fmla="*/ 0 h 484"/>
                  <a:gd name="T2" fmla="*/ 298 w 513"/>
                  <a:gd name="T3" fmla="*/ 3 h 484"/>
                  <a:gd name="T4" fmla="*/ 337 w 513"/>
                  <a:gd name="T5" fmla="*/ 12 h 484"/>
                  <a:gd name="T6" fmla="*/ 374 w 513"/>
                  <a:gd name="T7" fmla="*/ 27 h 484"/>
                  <a:gd name="T8" fmla="*/ 407 w 513"/>
                  <a:gd name="T9" fmla="*/ 46 h 484"/>
                  <a:gd name="T10" fmla="*/ 437 w 513"/>
                  <a:gd name="T11" fmla="*/ 71 h 484"/>
                  <a:gd name="T12" fmla="*/ 463 w 513"/>
                  <a:gd name="T13" fmla="*/ 99 h 484"/>
                  <a:gd name="T14" fmla="*/ 484 w 513"/>
                  <a:gd name="T15" fmla="*/ 131 h 484"/>
                  <a:gd name="T16" fmla="*/ 499 w 513"/>
                  <a:gd name="T17" fmla="*/ 165 h 484"/>
                  <a:gd name="T18" fmla="*/ 510 w 513"/>
                  <a:gd name="T19" fmla="*/ 203 h 484"/>
                  <a:gd name="T20" fmla="*/ 513 w 513"/>
                  <a:gd name="T21" fmla="*/ 242 h 484"/>
                  <a:gd name="T22" fmla="*/ 510 w 513"/>
                  <a:gd name="T23" fmla="*/ 281 h 484"/>
                  <a:gd name="T24" fmla="*/ 499 w 513"/>
                  <a:gd name="T25" fmla="*/ 318 h 484"/>
                  <a:gd name="T26" fmla="*/ 484 w 513"/>
                  <a:gd name="T27" fmla="*/ 354 h 484"/>
                  <a:gd name="T28" fmla="*/ 463 w 513"/>
                  <a:gd name="T29" fmla="*/ 385 h 484"/>
                  <a:gd name="T30" fmla="*/ 437 w 513"/>
                  <a:gd name="T31" fmla="*/ 413 h 484"/>
                  <a:gd name="T32" fmla="*/ 407 w 513"/>
                  <a:gd name="T33" fmla="*/ 437 h 484"/>
                  <a:gd name="T34" fmla="*/ 374 w 513"/>
                  <a:gd name="T35" fmla="*/ 458 h 484"/>
                  <a:gd name="T36" fmla="*/ 337 w 513"/>
                  <a:gd name="T37" fmla="*/ 472 h 484"/>
                  <a:gd name="T38" fmla="*/ 298 w 513"/>
                  <a:gd name="T39" fmla="*/ 481 h 484"/>
                  <a:gd name="T40" fmla="*/ 256 w 513"/>
                  <a:gd name="T41" fmla="*/ 484 h 484"/>
                  <a:gd name="T42" fmla="*/ 214 w 513"/>
                  <a:gd name="T43" fmla="*/ 481 h 484"/>
                  <a:gd name="T44" fmla="*/ 175 w 513"/>
                  <a:gd name="T45" fmla="*/ 472 h 484"/>
                  <a:gd name="T46" fmla="*/ 139 w 513"/>
                  <a:gd name="T47" fmla="*/ 458 h 484"/>
                  <a:gd name="T48" fmla="*/ 104 w 513"/>
                  <a:gd name="T49" fmla="*/ 437 h 484"/>
                  <a:gd name="T50" fmla="*/ 75 w 513"/>
                  <a:gd name="T51" fmla="*/ 413 h 484"/>
                  <a:gd name="T52" fmla="*/ 49 w 513"/>
                  <a:gd name="T53" fmla="*/ 385 h 484"/>
                  <a:gd name="T54" fmla="*/ 29 w 513"/>
                  <a:gd name="T55" fmla="*/ 354 h 484"/>
                  <a:gd name="T56" fmla="*/ 13 w 513"/>
                  <a:gd name="T57" fmla="*/ 318 h 484"/>
                  <a:gd name="T58" fmla="*/ 3 w 513"/>
                  <a:gd name="T59" fmla="*/ 281 h 484"/>
                  <a:gd name="T60" fmla="*/ 0 w 513"/>
                  <a:gd name="T61" fmla="*/ 242 h 484"/>
                  <a:gd name="T62" fmla="*/ 3 w 513"/>
                  <a:gd name="T63" fmla="*/ 203 h 484"/>
                  <a:gd name="T64" fmla="*/ 13 w 513"/>
                  <a:gd name="T65" fmla="*/ 165 h 484"/>
                  <a:gd name="T66" fmla="*/ 29 w 513"/>
                  <a:gd name="T67" fmla="*/ 131 h 484"/>
                  <a:gd name="T68" fmla="*/ 49 w 513"/>
                  <a:gd name="T69" fmla="*/ 99 h 484"/>
                  <a:gd name="T70" fmla="*/ 75 w 513"/>
                  <a:gd name="T71" fmla="*/ 71 h 484"/>
                  <a:gd name="T72" fmla="*/ 104 w 513"/>
                  <a:gd name="T73" fmla="*/ 46 h 484"/>
                  <a:gd name="T74" fmla="*/ 139 w 513"/>
                  <a:gd name="T75" fmla="*/ 27 h 484"/>
                  <a:gd name="T76" fmla="*/ 175 w 513"/>
                  <a:gd name="T77" fmla="*/ 12 h 484"/>
                  <a:gd name="T78" fmla="*/ 214 w 513"/>
                  <a:gd name="T79" fmla="*/ 3 h 484"/>
                  <a:gd name="T80" fmla="*/ 256 w 513"/>
                  <a:gd name="T81" fmla="*/ 0 h 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13" h="484">
                    <a:moveTo>
                      <a:pt x="256" y="0"/>
                    </a:moveTo>
                    <a:lnTo>
                      <a:pt x="298" y="3"/>
                    </a:lnTo>
                    <a:lnTo>
                      <a:pt x="337" y="12"/>
                    </a:lnTo>
                    <a:lnTo>
                      <a:pt x="374" y="27"/>
                    </a:lnTo>
                    <a:lnTo>
                      <a:pt x="407" y="46"/>
                    </a:lnTo>
                    <a:lnTo>
                      <a:pt x="437" y="71"/>
                    </a:lnTo>
                    <a:lnTo>
                      <a:pt x="463" y="99"/>
                    </a:lnTo>
                    <a:lnTo>
                      <a:pt x="484" y="131"/>
                    </a:lnTo>
                    <a:lnTo>
                      <a:pt x="499" y="165"/>
                    </a:lnTo>
                    <a:lnTo>
                      <a:pt x="510" y="203"/>
                    </a:lnTo>
                    <a:lnTo>
                      <a:pt x="513" y="242"/>
                    </a:lnTo>
                    <a:lnTo>
                      <a:pt x="510" y="281"/>
                    </a:lnTo>
                    <a:lnTo>
                      <a:pt x="499" y="318"/>
                    </a:lnTo>
                    <a:lnTo>
                      <a:pt x="484" y="354"/>
                    </a:lnTo>
                    <a:lnTo>
                      <a:pt x="463" y="385"/>
                    </a:lnTo>
                    <a:lnTo>
                      <a:pt x="437" y="413"/>
                    </a:lnTo>
                    <a:lnTo>
                      <a:pt x="407" y="437"/>
                    </a:lnTo>
                    <a:lnTo>
                      <a:pt x="374" y="458"/>
                    </a:lnTo>
                    <a:lnTo>
                      <a:pt x="337" y="472"/>
                    </a:lnTo>
                    <a:lnTo>
                      <a:pt x="298" y="481"/>
                    </a:lnTo>
                    <a:lnTo>
                      <a:pt x="256" y="484"/>
                    </a:lnTo>
                    <a:lnTo>
                      <a:pt x="214" y="481"/>
                    </a:lnTo>
                    <a:lnTo>
                      <a:pt x="175" y="472"/>
                    </a:lnTo>
                    <a:lnTo>
                      <a:pt x="139" y="458"/>
                    </a:lnTo>
                    <a:lnTo>
                      <a:pt x="104" y="437"/>
                    </a:lnTo>
                    <a:lnTo>
                      <a:pt x="75" y="413"/>
                    </a:lnTo>
                    <a:lnTo>
                      <a:pt x="49" y="385"/>
                    </a:lnTo>
                    <a:lnTo>
                      <a:pt x="29" y="354"/>
                    </a:lnTo>
                    <a:lnTo>
                      <a:pt x="13" y="318"/>
                    </a:lnTo>
                    <a:lnTo>
                      <a:pt x="3" y="281"/>
                    </a:lnTo>
                    <a:lnTo>
                      <a:pt x="0" y="242"/>
                    </a:lnTo>
                    <a:lnTo>
                      <a:pt x="3" y="203"/>
                    </a:lnTo>
                    <a:lnTo>
                      <a:pt x="13" y="165"/>
                    </a:lnTo>
                    <a:lnTo>
                      <a:pt x="29" y="131"/>
                    </a:lnTo>
                    <a:lnTo>
                      <a:pt x="49" y="99"/>
                    </a:lnTo>
                    <a:lnTo>
                      <a:pt x="75" y="71"/>
                    </a:lnTo>
                    <a:lnTo>
                      <a:pt x="104" y="46"/>
                    </a:lnTo>
                    <a:lnTo>
                      <a:pt x="139" y="27"/>
                    </a:lnTo>
                    <a:lnTo>
                      <a:pt x="175" y="12"/>
                    </a:lnTo>
                    <a:lnTo>
                      <a:pt x="214" y="3"/>
                    </a:lnTo>
                    <a:lnTo>
                      <a:pt x="25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94" name="Freeform 75"/>
              <p:cNvSpPr>
                <a:spLocks/>
              </p:cNvSpPr>
              <p:nvPr/>
            </p:nvSpPr>
            <p:spPr bwMode="auto">
              <a:xfrm>
                <a:off x="1279" y="2103"/>
                <a:ext cx="62" cy="106"/>
              </a:xfrm>
              <a:custGeom>
                <a:avLst/>
                <a:gdLst>
                  <a:gd name="T0" fmla="*/ 777 w 987"/>
                  <a:gd name="T1" fmla="*/ 2 h 1599"/>
                  <a:gd name="T2" fmla="*/ 806 w 987"/>
                  <a:gd name="T3" fmla="*/ 6 h 1599"/>
                  <a:gd name="T4" fmla="*/ 835 w 987"/>
                  <a:gd name="T5" fmla="*/ 14 h 1599"/>
                  <a:gd name="T6" fmla="*/ 908 w 987"/>
                  <a:gd name="T7" fmla="*/ 51 h 1599"/>
                  <a:gd name="T8" fmla="*/ 965 w 987"/>
                  <a:gd name="T9" fmla="*/ 112 h 1599"/>
                  <a:gd name="T10" fmla="*/ 987 w 987"/>
                  <a:gd name="T11" fmla="*/ 192 h 1599"/>
                  <a:gd name="T12" fmla="*/ 977 w 987"/>
                  <a:gd name="T13" fmla="*/ 790 h 1599"/>
                  <a:gd name="T14" fmla="*/ 932 w 987"/>
                  <a:gd name="T15" fmla="*/ 859 h 1599"/>
                  <a:gd name="T16" fmla="*/ 854 w 987"/>
                  <a:gd name="T17" fmla="*/ 898 h 1599"/>
                  <a:gd name="T18" fmla="*/ 787 w 987"/>
                  <a:gd name="T19" fmla="*/ 905 h 1599"/>
                  <a:gd name="T20" fmla="*/ 742 w 987"/>
                  <a:gd name="T21" fmla="*/ 905 h 1599"/>
                  <a:gd name="T22" fmla="*/ 679 w 987"/>
                  <a:gd name="T23" fmla="*/ 905 h 1599"/>
                  <a:gd name="T24" fmla="*/ 636 w 987"/>
                  <a:gd name="T25" fmla="*/ 905 h 1599"/>
                  <a:gd name="T26" fmla="*/ 625 w 987"/>
                  <a:gd name="T27" fmla="*/ 905 h 1599"/>
                  <a:gd name="T28" fmla="*/ 598 w 987"/>
                  <a:gd name="T29" fmla="*/ 908 h 1599"/>
                  <a:gd name="T30" fmla="*/ 557 w 987"/>
                  <a:gd name="T31" fmla="*/ 920 h 1599"/>
                  <a:gd name="T32" fmla="*/ 517 w 987"/>
                  <a:gd name="T33" fmla="*/ 947 h 1599"/>
                  <a:gd name="T34" fmla="*/ 487 w 987"/>
                  <a:gd name="T35" fmla="*/ 994 h 1599"/>
                  <a:gd name="T36" fmla="*/ 479 w 987"/>
                  <a:gd name="T37" fmla="*/ 1069 h 1599"/>
                  <a:gd name="T38" fmla="*/ 510 w 987"/>
                  <a:gd name="T39" fmla="*/ 1364 h 1599"/>
                  <a:gd name="T40" fmla="*/ 516 w 987"/>
                  <a:gd name="T41" fmla="*/ 1518 h 1599"/>
                  <a:gd name="T42" fmla="*/ 475 w 987"/>
                  <a:gd name="T43" fmla="*/ 1573 h 1599"/>
                  <a:gd name="T44" fmla="*/ 408 w 987"/>
                  <a:gd name="T45" fmla="*/ 1599 h 1599"/>
                  <a:gd name="T46" fmla="*/ 345 w 987"/>
                  <a:gd name="T47" fmla="*/ 1589 h 1599"/>
                  <a:gd name="T48" fmla="*/ 288 w 987"/>
                  <a:gd name="T49" fmla="*/ 1540 h 1599"/>
                  <a:gd name="T50" fmla="*/ 266 w 987"/>
                  <a:gd name="T51" fmla="*/ 1413 h 1599"/>
                  <a:gd name="T52" fmla="*/ 249 w 987"/>
                  <a:gd name="T53" fmla="*/ 1211 h 1599"/>
                  <a:gd name="T54" fmla="*/ 240 w 987"/>
                  <a:gd name="T55" fmla="*/ 1061 h 1599"/>
                  <a:gd name="T56" fmla="*/ 237 w 987"/>
                  <a:gd name="T57" fmla="*/ 952 h 1599"/>
                  <a:gd name="T58" fmla="*/ 238 w 987"/>
                  <a:gd name="T59" fmla="*/ 878 h 1599"/>
                  <a:gd name="T60" fmla="*/ 243 w 987"/>
                  <a:gd name="T61" fmla="*/ 830 h 1599"/>
                  <a:gd name="T62" fmla="*/ 249 w 987"/>
                  <a:gd name="T63" fmla="*/ 802 h 1599"/>
                  <a:gd name="T64" fmla="*/ 256 w 987"/>
                  <a:gd name="T65" fmla="*/ 783 h 1599"/>
                  <a:gd name="T66" fmla="*/ 270 w 987"/>
                  <a:gd name="T67" fmla="*/ 760 h 1599"/>
                  <a:gd name="T68" fmla="*/ 303 w 987"/>
                  <a:gd name="T69" fmla="*/ 730 h 1599"/>
                  <a:gd name="T70" fmla="*/ 365 w 987"/>
                  <a:gd name="T71" fmla="*/ 704 h 1599"/>
                  <a:gd name="T72" fmla="*/ 470 w 987"/>
                  <a:gd name="T73" fmla="*/ 685 h 1599"/>
                  <a:gd name="T74" fmla="*/ 490 w 987"/>
                  <a:gd name="T75" fmla="*/ 542 h 1599"/>
                  <a:gd name="T76" fmla="*/ 392 w 987"/>
                  <a:gd name="T77" fmla="*/ 580 h 1599"/>
                  <a:gd name="T78" fmla="*/ 263 w 987"/>
                  <a:gd name="T79" fmla="*/ 597 h 1599"/>
                  <a:gd name="T80" fmla="*/ 92 w 987"/>
                  <a:gd name="T81" fmla="*/ 593 h 1599"/>
                  <a:gd name="T82" fmla="*/ 32 w 987"/>
                  <a:gd name="T83" fmla="*/ 569 h 1599"/>
                  <a:gd name="T84" fmla="*/ 1 w 987"/>
                  <a:gd name="T85" fmla="*/ 515 h 1599"/>
                  <a:gd name="T86" fmla="*/ 14 w 987"/>
                  <a:gd name="T87" fmla="*/ 452 h 1599"/>
                  <a:gd name="T88" fmla="*/ 63 w 987"/>
                  <a:gd name="T89" fmla="*/ 413 h 1599"/>
                  <a:gd name="T90" fmla="*/ 158 w 987"/>
                  <a:gd name="T91" fmla="*/ 409 h 1599"/>
                  <a:gd name="T92" fmla="*/ 283 w 987"/>
                  <a:gd name="T93" fmla="*/ 402 h 1599"/>
                  <a:gd name="T94" fmla="*/ 371 w 987"/>
                  <a:gd name="T95" fmla="*/ 373 h 1599"/>
                  <a:gd name="T96" fmla="*/ 431 w 987"/>
                  <a:gd name="T97" fmla="*/ 324 h 1599"/>
                  <a:gd name="T98" fmla="*/ 476 w 987"/>
                  <a:gd name="T99" fmla="*/ 256 h 1599"/>
                  <a:gd name="T100" fmla="*/ 515 w 987"/>
                  <a:gd name="T101" fmla="*/ 170 h 1599"/>
                  <a:gd name="T102" fmla="*/ 554 w 987"/>
                  <a:gd name="T103" fmla="*/ 91 h 1599"/>
                  <a:gd name="T104" fmla="*/ 618 w 987"/>
                  <a:gd name="T105" fmla="*/ 37 h 1599"/>
                  <a:gd name="T106" fmla="*/ 694 w 987"/>
                  <a:gd name="T107" fmla="*/ 7 h 1599"/>
                  <a:gd name="T108" fmla="*/ 717 w 987"/>
                  <a:gd name="T109" fmla="*/ 2 h 1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87" h="1599">
                    <a:moveTo>
                      <a:pt x="749" y="0"/>
                    </a:moveTo>
                    <a:lnTo>
                      <a:pt x="763" y="0"/>
                    </a:lnTo>
                    <a:lnTo>
                      <a:pt x="777" y="2"/>
                    </a:lnTo>
                    <a:lnTo>
                      <a:pt x="789" y="3"/>
                    </a:lnTo>
                    <a:lnTo>
                      <a:pt x="798" y="5"/>
                    </a:lnTo>
                    <a:lnTo>
                      <a:pt x="806" y="6"/>
                    </a:lnTo>
                    <a:lnTo>
                      <a:pt x="808" y="6"/>
                    </a:lnTo>
                    <a:lnTo>
                      <a:pt x="809" y="6"/>
                    </a:lnTo>
                    <a:lnTo>
                      <a:pt x="835" y="14"/>
                    </a:lnTo>
                    <a:lnTo>
                      <a:pt x="860" y="24"/>
                    </a:lnTo>
                    <a:lnTo>
                      <a:pt x="885" y="36"/>
                    </a:lnTo>
                    <a:lnTo>
                      <a:pt x="908" y="51"/>
                    </a:lnTo>
                    <a:lnTo>
                      <a:pt x="929" y="69"/>
                    </a:lnTo>
                    <a:lnTo>
                      <a:pt x="949" y="90"/>
                    </a:lnTo>
                    <a:lnTo>
                      <a:pt x="965" y="112"/>
                    </a:lnTo>
                    <a:lnTo>
                      <a:pt x="976" y="136"/>
                    </a:lnTo>
                    <a:lnTo>
                      <a:pt x="984" y="163"/>
                    </a:lnTo>
                    <a:lnTo>
                      <a:pt x="987" y="192"/>
                    </a:lnTo>
                    <a:lnTo>
                      <a:pt x="987" y="726"/>
                    </a:lnTo>
                    <a:lnTo>
                      <a:pt x="985" y="760"/>
                    </a:lnTo>
                    <a:lnTo>
                      <a:pt x="977" y="790"/>
                    </a:lnTo>
                    <a:lnTo>
                      <a:pt x="966" y="816"/>
                    </a:lnTo>
                    <a:lnTo>
                      <a:pt x="951" y="839"/>
                    </a:lnTo>
                    <a:lnTo>
                      <a:pt x="932" y="859"/>
                    </a:lnTo>
                    <a:lnTo>
                      <a:pt x="908" y="875"/>
                    </a:lnTo>
                    <a:lnTo>
                      <a:pt x="883" y="888"/>
                    </a:lnTo>
                    <a:lnTo>
                      <a:pt x="854" y="898"/>
                    </a:lnTo>
                    <a:lnTo>
                      <a:pt x="823" y="903"/>
                    </a:lnTo>
                    <a:lnTo>
                      <a:pt x="791" y="905"/>
                    </a:lnTo>
                    <a:lnTo>
                      <a:pt x="787" y="905"/>
                    </a:lnTo>
                    <a:lnTo>
                      <a:pt x="776" y="905"/>
                    </a:lnTo>
                    <a:lnTo>
                      <a:pt x="761" y="905"/>
                    </a:lnTo>
                    <a:lnTo>
                      <a:pt x="742" y="905"/>
                    </a:lnTo>
                    <a:lnTo>
                      <a:pt x="721" y="905"/>
                    </a:lnTo>
                    <a:lnTo>
                      <a:pt x="700" y="905"/>
                    </a:lnTo>
                    <a:lnTo>
                      <a:pt x="679" y="905"/>
                    </a:lnTo>
                    <a:lnTo>
                      <a:pt x="661" y="905"/>
                    </a:lnTo>
                    <a:lnTo>
                      <a:pt x="646" y="905"/>
                    </a:lnTo>
                    <a:lnTo>
                      <a:pt x="636" y="905"/>
                    </a:lnTo>
                    <a:lnTo>
                      <a:pt x="632" y="905"/>
                    </a:lnTo>
                    <a:lnTo>
                      <a:pt x="631" y="905"/>
                    </a:lnTo>
                    <a:lnTo>
                      <a:pt x="625" y="905"/>
                    </a:lnTo>
                    <a:lnTo>
                      <a:pt x="618" y="905"/>
                    </a:lnTo>
                    <a:lnTo>
                      <a:pt x="608" y="906"/>
                    </a:lnTo>
                    <a:lnTo>
                      <a:pt x="598" y="908"/>
                    </a:lnTo>
                    <a:lnTo>
                      <a:pt x="585" y="911"/>
                    </a:lnTo>
                    <a:lnTo>
                      <a:pt x="571" y="915"/>
                    </a:lnTo>
                    <a:lnTo>
                      <a:pt x="557" y="920"/>
                    </a:lnTo>
                    <a:lnTo>
                      <a:pt x="543" y="927"/>
                    </a:lnTo>
                    <a:lnTo>
                      <a:pt x="529" y="936"/>
                    </a:lnTo>
                    <a:lnTo>
                      <a:pt x="517" y="947"/>
                    </a:lnTo>
                    <a:lnTo>
                      <a:pt x="505" y="960"/>
                    </a:lnTo>
                    <a:lnTo>
                      <a:pt x="494" y="976"/>
                    </a:lnTo>
                    <a:lnTo>
                      <a:pt x="487" y="994"/>
                    </a:lnTo>
                    <a:lnTo>
                      <a:pt x="481" y="1017"/>
                    </a:lnTo>
                    <a:lnTo>
                      <a:pt x="478" y="1041"/>
                    </a:lnTo>
                    <a:lnTo>
                      <a:pt x="479" y="1069"/>
                    </a:lnTo>
                    <a:lnTo>
                      <a:pt x="489" y="1163"/>
                    </a:lnTo>
                    <a:lnTo>
                      <a:pt x="500" y="1261"/>
                    </a:lnTo>
                    <a:lnTo>
                      <a:pt x="510" y="1364"/>
                    </a:lnTo>
                    <a:lnTo>
                      <a:pt x="521" y="1472"/>
                    </a:lnTo>
                    <a:lnTo>
                      <a:pt x="521" y="1495"/>
                    </a:lnTo>
                    <a:lnTo>
                      <a:pt x="516" y="1518"/>
                    </a:lnTo>
                    <a:lnTo>
                      <a:pt x="506" y="1538"/>
                    </a:lnTo>
                    <a:lnTo>
                      <a:pt x="492" y="1558"/>
                    </a:lnTo>
                    <a:lnTo>
                      <a:pt x="475" y="1573"/>
                    </a:lnTo>
                    <a:lnTo>
                      <a:pt x="455" y="1586"/>
                    </a:lnTo>
                    <a:lnTo>
                      <a:pt x="432" y="1595"/>
                    </a:lnTo>
                    <a:lnTo>
                      <a:pt x="408" y="1599"/>
                    </a:lnTo>
                    <a:lnTo>
                      <a:pt x="396" y="1599"/>
                    </a:lnTo>
                    <a:lnTo>
                      <a:pt x="369" y="1597"/>
                    </a:lnTo>
                    <a:lnTo>
                      <a:pt x="345" y="1589"/>
                    </a:lnTo>
                    <a:lnTo>
                      <a:pt x="323" y="1577"/>
                    </a:lnTo>
                    <a:lnTo>
                      <a:pt x="303" y="1560"/>
                    </a:lnTo>
                    <a:lnTo>
                      <a:pt x="288" y="1540"/>
                    </a:lnTo>
                    <a:lnTo>
                      <a:pt x="278" y="1517"/>
                    </a:lnTo>
                    <a:lnTo>
                      <a:pt x="272" y="1492"/>
                    </a:lnTo>
                    <a:lnTo>
                      <a:pt x="266" y="1413"/>
                    </a:lnTo>
                    <a:lnTo>
                      <a:pt x="260" y="1339"/>
                    </a:lnTo>
                    <a:lnTo>
                      <a:pt x="254" y="1272"/>
                    </a:lnTo>
                    <a:lnTo>
                      <a:pt x="249" y="1211"/>
                    </a:lnTo>
                    <a:lnTo>
                      <a:pt x="246" y="1156"/>
                    </a:lnTo>
                    <a:lnTo>
                      <a:pt x="243" y="1106"/>
                    </a:lnTo>
                    <a:lnTo>
                      <a:pt x="240" y="1061"/>
                    </a:lnTo>
                    <a:lnTo>
                      <a:pt x="238" y="1021"/>
                    </a:lnTo>
                    <a:lnTo>
                      <a:pt x="237" y="984"/>
                    </a:lnTo>
                    <a:lnTo>
                      <a:pt x="237" y="952"/>
                    </a:lnTo>
                    <a:lnTo>
                      <a:pt x="236" y="924"/>
                    </a:lnTo>
                    <a:lnTo>
                      <a:pt x="237" y="900"/>
                    </a:lnTo>
                    <a:lnTo>
                      <a:pt x="238" y="878"/>
                    </a:lnTo>
                    <a:lnTo>
                      <a:pt x="239" y="859"/>
                    </a:lnTo>
                    <a:lnTo>
                      <a:pt x="240" y="844"/>
                    </a:lnTo>
                    <a:lnTo>
                      <a:pt x="243" y="830"/>
                    </a:lnTo>
                    <a:lnTo>
                      <a:pt x="245" y="819"/>
                    </a:lnTo>
                    <a:lnTo>
                      <a:pt x="247" y="810"/>
                    </a:lnTo>
                    <a:lnTo>
                      <a:pt x="249" y="802"/>
                    </a:lnTo>
                    <a:lnTo>
                      <a:pt x="251" y="795"/>
                    </a:lnTo>
                    <a:lnTo>
                      <a:pt x="253" y="789"/>
                    </a:lnTo>
                    <a:lnTo>
                      <a:pt x="256" y="783"/>
                    </a:lnTo>
                    <a:lnTo>
                      <a:pt x="259" y="778"/>
                    </a:lnTo>
                    <a:lnTo>
                      <a:pt x="264" y="769"/>
                    </a:lnTo>
                    <a:lnTo>
                      <a:pt x="270" y="760"/>
                    </a:lnTo>
                    <a:lnTo>
                      <a:pt x="279" y="750"/>
                    </a:lnTo>
                    <a:lnTo>
                      <a:pt x="289" y="740"/>
                    </a:lnTo>
                    <a:lnTo>
                      <a:pt x="303" y="730"/>
                    </a:lnTo>
                    <a:lnTo>
                      <a:pt x="320" y="721"/>
                    </a:lnTo>
                    <a:lnTo>
                      <a:pt x="341" y="712"/>
                    </a:lnTo>
                    <a:lnTo>
                      <a:pt x="365" y="704"/>
                    </a:lnTo>
                    <a:lnTo>
                      <a:pt x="395" y="697"/>
                    </a:lnTo>
                    <a:lnTo>
                      <a:pt x="429" y="690"/>
                    </a:lnTo>
                    <a:lnTo>
                      <a:pt x="470" y="685"/>
                    </a:lnTo>
                    <a:lnTo>
                      <a:pt x="517" y="681"/>
                    </a:lnTo>
                    <a:lnTo>
                      <a:pt x="517" y="524"/>
                    </a:lnTo>
                    <a:lnTo>
                      <a:pt x="490" y="542"/>
                    </a:lnTo>
                    <a:lnTo>
                      <a:pt x="460" y="557"/>
                    </a:lnTo>
                    <a:lnTo>
                      <a:pt x="427" y="570"/>
                    </a:lnTo>
                    <a:lnTo>
                      <a:pt x="392" y="580"/>
                    </a:lnTo>
                    <a:lnTo>
                      <a:pt x="352" y="588"/>
                    </a:lnTo>
                    <a:lnTo>
                      <a:pt x="310" y="593"/>
                    </a:lnTo>
                    <a:lnTo>
                      <a:pt x="263" y="597"/>
                    </a:lnTo>
                    <a:lnTo>
                      <a:pt x="212" y="598"/>
                    </a:lnTo>
                    <a:lnTo>
                      <a:pt x="155" y="597"/>
                    </a:lnTo>
                    <a:lnTo>
                      <a:pt x="92" y="593"/>
                    </a:lnTo>
                    <a:lnTo>
                      <a:pt x="70" y="589"/>
                    </a:lnTo>
                    <a:lnTo>
                      <a:pt x="49" y="581"/>
                    </a:lnTo>
                    <a:lnTo>
                      <a:pt x="32" y="569"/>
                    </a:lnTo>
                    <a:lnTo>
                      <a:pt x="17" y="553"/>
                    </a:lnTo>
                    <a:lnTo>
                      <a:pt x="8" y="535"/>
                    </a:lnTo>
                    <a:lnTo>
                      <a:pt x="1" y="515"/>
                    </a:lnTo>
                    <a:lnTo>
                      <a:pt x="0" y="493"/>
                    </a:lnTo>
                    <a:lnTo>
                      <a:pt x="5" y="471"/>
                    </a:lnTo>
                    <a:lnTo>
                      <a:pt x="14" y="452"/>
                    </a:lnTo>
                    <a:lnTo>
                      <a:pt x="27" y="436"/>
                    </a:lnTo>
                    <a:lnTo>
                      <a:pt x="43" y="422"/>
                    </a:lnTo>
                    <a:lnTo>
                      <a:pt x="63" y="413"/>
                    </a:lnTo>
                    <a:lnTo>
                      <a:pt x="85" y="407"/>
                    </a:lnTo>
                    <a:lnTo>
                      <a:pt x="107" y="406"/>
                    </a:lnTo>
                    <a:lnTo>
                      <a:pt x="158" y="409"/>
                    </a:lnTo>
                    <a:lnTo>
                      <a:pt x="204" y="409"/>
                    </a:lnTo>
                    <a:lnTo>
                      <a:pt x="246" y="406"/>
                    </a:lnTo>
                    <a:lnTo>
                      <a:pt x="283" y="402"/>
                    </a:lnTo>
                    <a:lnTo>
                      <a:pt x="315" y="394"/>
                    </a:lnTo>
                    <a:lnTo>
                      <a:pt x="345" y="385"/>
                    </a:lnTo>
                    <a:lnTo>
                      <a:pt x="371" y="373"/>
                    </a:lnTo>
                    <a:lnTo>
                      <a:pt x="393" y="359"/>
                    </a:lnTo>
                    <a:lnTo>
                      <a:pt x="413" y="342"/>
                    </a:lnTo>
                    <a:lnTo>
                      <a:pt x="431" y="324"/>
                    </a:lnTo>
                    <a:lnTo>
                      <a:pt x="448" y="303"/>
                    </a:lnTo>
                    <a:lnTo>
                      <a:pt x="462" y="281"/>
                    </a:lnTo>
                    <a:lnTo>
                      <a:pt x="476" y="256"/>
                    </a:lnTo>
                    <a:lnTo>
                      <a:pt x="489" y="230"/>
                    </a:lnTo>
                    <a:lnTo>
                      <a:pt x="502" y="201"/>
                    </a:lnTo>
                    <a:lnTo>
                      <a:pt x="515" y="170"/>
                    </a:lnTo>
                    <a:lnTo>
                      <a:pt x="527" y="138"/>
                    </a:lnTo>
                    <a:lnTo>
                      <a:pt x="539" y="114"/>
                    </a:lnTo>
                    <a:lnTo>
                      <a:pt x="554" y="91"/>
                    </a:lnTo>
                    <a:lnTo>
                      <a:pt x="573" y="70"/>
                    </a:lnTo>
                    <a:lnTo>
                      <a:pt x="595" y="52"/>
                    </a:lnTo>
                    <a:lnTo>
                      <a:pt x="618" y="37"/>
                    </a:lnTo>
                    <a:lnTo>
                      <a:pt x="643" y="24"/>
                    </a:lnTo>
                    <a:lnTo>
                      <a:pt x="668" y="14"/>
                    </a:lnTo>
                    <a:lnTo>
                      <a:pt x="694" y="7"/>
                    </a:lnTo>
                    <a:lnTo>
                      <a:pt x="697" y="6"/>
                    </a:lnTo>
                    <a:lnTo>
                      <a:pt x="705" y="4"/>
                    </a:lnTo>
                    <a:lnTo>
                      <a:pt x="717" y="2"/>
                    </a:lnTo>
                    <a:lnTo>
                      <a:pt x="733" y="0"/>
                    </a:lnTo>
                    <a:lnTo>
                      <a:pt x="74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95" name="Freeform 76"/>
              <p:cNvSpPr>
                <a:spLocks/>
              </p:cNvSpPr>
              <p:nvPr/>
            </p:nvSpPr>
            <p:spPr bwMode="auto">
              <a:xfrm>
                <a:off x="1312" y="2114"/>
                <a:ext cx="44" cy="95"/>
              </a:xfrm>
              <a:custGeom>
                <a:avLst/>
                <a:gdLst>
                  <a:gd name="T0" fmla="*/ 598 w 694"/>
                  <a:gd name="T1" fmla="*/ 0 h 1426"/>
                  <a:gd name="T2" fmla="*/ 620 w 694"/>
                  <a:gd name="T3" fmla="*/ 2 h 1426"/>
                  <a:gd name="T4" fmla="*/ 640 w 694"/>
                  <a:gd name="T5" fmla="*/ 9 h 1426"/>
                  <a:gd name="T6" fmla="*/ 657 w 694"/>
                  <a:gd name="T7" fmla="*/ 20 h 1426"/>
                  <a:gd name="T8" fmla="*/ 672 w 694"/>
                  <a:gd name="T9" fmla="*/ 34 h 1426"/>
                  <a:gd name="T10" fmla="*/ 684 w 694"/>
                  <a:gd name="T11" fmla="*/ 50 h 1426"/>
                  <a:gd name="T12" fmla="*/ 691 w 694"/>
                  <a:gd name="T13" fmla="*/ 70 h 1426"/>
                  <a:gd name="T14" fmla="*/ 694 w 694"/>
                  <a:gd name="T15" fmla="*/ 91 h 1426"/>
                  <a:gd name="T16" fmla="*/ 694 w 694"/>
                  <a:gd name="T17" fmla="*/ 878 h 1426"/>
                  <a:gd name="T18" fmla="*/ 690 w 694"/>
                  <a:gd name="T19" fmla="*/ 899 h 1426"/>
                  <a:gd name="T20" fmla="*/ 683 w 694"/>
                  <a:gd name="T21" fmla="*/ 919 h 1426"/>
                  <a:gd name="T22" fmla="*/ 671 w 694"/>
                  <a:gd name="T23" fmla="*/ 936 h 1426"/>
                  <a:gd name="T24" fmla="*/ 655 w 694"/>
                  <a:gd name="T25" fmla="*/ 949 h 1426"/>
                  <a:gd name="T26" fmla="*/ 655 w 694"/>
                  <a:gd name="T27" fmla="*/ 1426 h 1426"/>
                  <a:gd name="T28" fmla="*/ 540 w 694"/>
                  <a:gd name="T29" fmla="*/ 1426 h 1426"/>
                  <a:gd name="T30" fmla="*/ 540 w 694"/>
                  <a:gd name="T31" fmla="*/ 968 h 1426"/>
                  <a:gd name="T32" fmla="*/ 195 w 694"/>
                  <a:gd name="T33" fmla="*/ 968 h 1426"/>
                  <a:gd name="T34" fmla="*/ 195 w 694"/>
                  <a:gd name="T35" fmla="*/ 1426 h 1426"/>
                  <a:gd name="T36" fmla="*/ 80 w 694"/>
                  <a:gd name="T37" fmla="*/ 1426 h 1426"/>
                  <a:gd name="T38" fmla="*/ 80 w 694"/>
                  <a:gd name="T39" fmla="*/ 966 h 1426"/>
                  <a:gd name="T40" fmla="*/ 59 w 694"/>
                  <a:gd name="T41" fmla="*/ 961 h 1426"/>
                  <a:gd name="T42" fmla="*/ 40 w 694"/>
                  <a:gd name="T43" fmla="*/ 950 h 1426"/>
                  <a:gd name="T44" fmla="*/ 24 w 694"/>
                  <a:gd name="T45" fmla="*/ 936 h 1426"/>
                  <a:gd name="T46" fmla="*/ 11 w 694"/>
                  <a:gd name="T47" fmla="*/ 919 h 1426"/>
                  <a:gd name="T48" fmla="*/ 3 w 694"/>
                  <a:gd name="T49" fmla="*/ 900 h 1426"/>
                  <a:gd name="T50" fmla="*/ 0 w 694"/>
                  <a:gd name="T51" fmla="*/ 878 h 1426"/>
                  <a:gd name="T52" fmla="*/ 3 w 694"/>
                  <a:gd name="T53" fmla="*/ 857 h 1426"/>
                  <a:gd name="T54" fmla="*/ 10 w 694"/>
                  <a:gd name="T55" fmla="*/ 838 h 1426"/>
                  <a:gd name="T56" fmla="*/ 22 w 694"/>
                  <a:gd name="T57" fmla="*/ 821 h 1426"/>
                  <a:gd name="T58" fmla="*/ 36 w 694"/>
                  <a:gd name="T59" fmla="*/ 807 h 1426"/>
                  <a:gd name="T60" fmla="*/ 54 w 694"/>
                  <a:gd name="T61" fmla="*/ 796 h 1426"/>
                  <a:gd name="T62" fmla="*/ 74 w 694"/>
                  <a:gd name="T63" fmla="*/ 790 h 1426"/>
                  <a:gd name="T64" fmla="*/ 96 w 694"/>
                  <a:gd name="T65" fmla="*/ 787 h 1426"/>
                  <a:gd name="T66" fmla="*/ 266 w 694"/>
                  <a:gd name="T67" fmla="*/ 787 h 1426"/>
                  <a:gd name="T68" fmla="*/ 303 w 694"/>
                  <a:gd name="T69" fmla="*/ 786 h 1426"/>
                  <a:gd name="T70" fmla="*/ 336 w 694"/>
                  <a:gd name="T71" fmla="*/ 781 h 1426"/>
                  <a:gd name="T72" fmla="*/ 366 w 694"/>
                  <a:gd name="T73" fmla="*/ 774 h 1426"/>
                  <a:gd name="T74" fmla="*/ 392 w 694"/>
                  <a:gd name="T75" fmla="*/ 764 h 1426"/>
                  <a:gd name="T76" fmla="*/ 414 w 694"/>
                  <a:gd name="T77" fmla="*/ 752 h 1426"/>
                  <a:gd name="T78" fmla="*/ 433 w 694"/>
                  <a:gd name="T79" fmla="*/ 739 h 1426"/>
                  <a:gd name="T80" fmla="*/ 449 w 694"/>
                  <a:gd name="T81" fmla="*/ 725 h 1426"/>
                  <a:gd name="T82" fmla="*/ 462 w 694"/>
                  <a:gd name="T83" fmla="*/ 708 h 1426"/>
                  <a:gd name="T84" fmla="*/ 474 w 694"/>
                  <a:gd name="T85" fmla="*/ 692 h 1426"/>
                  <a:gd name="T86" fmla="*/ 482 w 694"/>
                  <a:gd name="T87" fmla="*/ 675 h 1426"/>
                  <a:gd name="T88" fmla="*/ 490 w 694"/>
                  <a:gd name="T89" fmla="*/ 658 h 1426"/>
                  <a:gd name="T90" fmla="*/ 494 w 694"/>
                  <a:gd name="T91" fmla="*/ 642 h 1426"/>
                  <a:gd name="T92" fmla="*/ 498 w 694"/>
                  <a:gd name="T93" fmla="*/ 626 h 1426"/>
                  <a:gd name="T94" fmla="*/ 500 w 694"/>
                  <a:gd name="T95" fmla="*/ 612 h 1426"/>
                  <a:gd name="T96" fmla="*/ 503 w 694"/>
                  <a:gd name="T97" fmla="*/ 598 h 1426"/>
                  <a:gd name="T98" fmla="*/ 503 w 694"/>
                  <a:gd name="T99" fmla="*/ 587 h 1426"/>
                  <a:gd name="T100" fmla="*/ 503 w 694"/>
                  <a:gd name="T101" fmla="*/ 576 h 1426"/>
                  <a:gd name="T102" fmla="*/ 503 w 694"/>
                  <a:gd name="T103" fmla="*/ 569 h 1426"/>
                  <a:gd name="T104" fmla="*/ 503 w 694"/>
                  <a:gd name="T105" fmla="*/ 564 h 1426"/>
                  <a:gd name="T106" fmla="*/ 502 w 694"/>
                  <a:gd name="T107" fmla="*/ 563 h 1426"/>
                  <a:gd name="T108" fmla="*/ 502 w 694"/>
                  <a:gd name="T109" fmla="*/ 91 h 1426"/>
                  <a:gd name="T110" fmla="*/ 505 w 694"/>
                  <a:gd name="T111" fmla="*/ 70 h 1426"/>
                  <a:gd name="T112" fmla="*/ 512 w 694"/>
                  <a:gd name="T113" fmla="*/ 50 h 1426"/>
                  <a:gd name="T114" fmla="*/ 523 w 694"/>
                  <a:gd name="T115" fmla="*/ 34 h 1426"/>
                  <a:gd name="T116" fmla="*/ 538 w 694"/>
                  <a:gd name="T117" fmla="*/ 20 h 1426"/>
                  <a:gd name="T118" fmla="*/ 556 w 694"/>
                  <a:gd name="T119" fmla="*/ 9 h 1426"/>
                  <a:gd name="T120" fmla="*/ 576 w 694"/>
                  <a:gd name="T121" fmla="*/ 2 h 1426"/>
                  <a:gd name="T122" fmla="*/ 598 w 694"/>
                  <a:gd name="T123" fmla="*/ 0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94" h="1426">
                    <a:moveTo>
                      <a:pt x="598" y="0"/>
                    </a:moveTo>
                    <a:lnTo>
                      <a:pt x="620" y="2"/>
                    </a:lnTo>
                    <a:lnTo>
                      <a:pt x="640" y="9"/>
                    </a:lnTo>
                    <a:lnTo>
                      <a:pt x="657" y="20"/>
                    </a:lnTo>
                    <a:lnTo>
                      <a:pt x="672" y="34"/>
                    </a:lnTo>
                    <a:lnTo>
                      <a:pt x="684" y="50"/>
                    </a:lnTo>
                    <a:lnTo>
                      <a:pt x="691" y="70"/>
                    </a:lnTo>
                    <a:lnTo>
                      <a:pt x="694" y="91"/>
                    </a:lnTo>
                    <a:lnTo>
                      <a:pt x="694" y="878"/>
                    </a:lnTo>
                    <a:lnTo>
                      <a:pt x="690" y="899"/>
                    </a:lnTo>
                    <a:lnTo>
                      <a:pt x="683" y="919"/>
                    </a:lnTo>
                    <a:lnTo>
                      <a:pt x="671" y="936"/>
                    </a:lnTo>
                    <a:lnTo>
                      <a:pt x="655" y="949"/>
                    </a:lnTo>
                    <a:lnTo>
                      <a:pt x="655" y="1426"/>
                    </a:lnTo>
                    <a:lnTo>
                      <a:pt x="540" y="1426"/>
                    </a:lnTo>
                    <a:lnTo>
                      <a:pt x="540" y="968"/>
                    </a:lnTo>
                    <a:lnTo>
                      <a:pt x="195" y="968"/>
                    </a:lnTo>
                    <a:lnTo>
                      <a:pt x="195" y="1426"/>
                    </a:lnTo>
                    <a:lnTo>
                      <a:pt x="80" y="1426"/>
                    </a:lnTo>
                    <a:lnTo>
                      <a:pt x="80" y="966"/>
                    </a:lnTo>
                    <a:lnTo>
                      <a:pt x="59" y="961"/>
                    </a:lnTo>
                    <a:lnTo>
                      <a:pt x="40" y="950"/>
                    </a:lnTo>
                    <a:lnTo>
                      <a:pt x="24" y="936"/>
                    </a:lnTo>
                    <a:lnTo>
                      <a:pt x="11" y="919"/>
                    </a:lnTo>
                    <a:lnTo>
                      <a:pt x="3" y="900"/>
                    </a:lnTo>
                    <a:lnTo>
                      <a:pt x="0" y="878"/>
                    </a:lnTo>
                    <a:lnTo>
                      <a:pt x="3" y="857"/>
                    </a:lnTo>
                    <a:lnTo>
                      <a:pt x="10" y="838"/>
                    </a:lnTo>
                    <a:lnTo>
                      <a:pt x="22" y="821"/>
                    </a:lnTo>
                    <a:lnTo>
                      <a:pt x="36" y="807"/>
                    </a:lnTo>
                    <a:lnTo>
                      <a:pt x="54" y="796"/>
                    </a:lnTo>
                    <a:lnTo>
                      <a:pt x="74" y="790"/>
                    </a:lnTo>
                    <a:lnTo>
                      <a:pt x="96" y="787"/>
                    </a:lnTo>
                    <a:lnTo>
                      <a:pt x="266" y="787"/>
                    </a:lnTo>
                    <a:lnTo>
                      <a:pt x="303" y="786"/>
                    </a:lnTo>
                    <a:lnTo>
                      <a:pt x="336" y="781"/>
                    </a:lnTo>
                    <a:lnTo>
                      <a:pt x="366" y="774"/>
                    </a:lnTo>
                    <a:lnTo>
                      <a:pt x="392" y="764"/>
                    </a:lnTo>
                    <a:lnTo>
                      <a:pt x="414" y="752"/>
                    </a:lnTo>
                    <a:lnTo>
                      <a:pt x="433" y="739"/>
                    </a:lnTo>
                    <a:lnTo>
                      <a:pt x="449" y="725"/>
                    </a:lnTo>
                    <a:lnTo>
                      <a:pt x="462" y="708"/>
                    </a:lnTo>
                    <a:lnTo>
                      <a:pt x="474" y="692"/>
                    </a:lnTo>
                    <a:lnTo>
                      <a:pt x="482" y="675"/>
                    </a:lnTo>
                    <a:lnTo>
                      <a:pt x="490" y="658"/>
                    </a:lnTo>
                    <a:lnTo>
                      <a:pt x="494" y="642"/>
                    </a:lnTo>
                    <a:lnTo>
                      <a:pt x="498" y="626"/>
                    </a:lnTo>
                    <a:lnTo>
                      <a:pt x="500" y="612"/>
                    </a:lnTo>
                    <a:lnTo>
                      <a:pt x="503" y="598"/>
                    </a:lnTo>
                    <a:lnTo>
                      <a:pt x="503" y="587"/>
                    </a:lnTo>
                    <a:lnTo>
                      <a:pt x="503" y="576"/>
                    </a:lnTo>
                    <a:lnTo>
                      <a:pt x="503" y="569"/>
                    </a:lnTo>
                    <a:lnTo>
                      <a:pt x="503" y="564"/>
                    </a:lnTo>
                    <a:lnTo>
                      <a:pt x="502" y="563"/>
                    </a:lnTo>
                    <a:lnTo>
                      <a:pt x="502" y="91"/>
                    </a:lnTo>
                    <a:lnTo>
                      <a:pt x="505" y="70"/>
                    </a:lnTo>
                    <a:lnTo>
                      <a:pt x="512" y="50"/>
                    </a:lnTo>
                    <a:lnTo>
                      <a:pt x="523" y="34"/>
                    </a:lnTo>
                    <a:lnTo>
                      <a:pt x="538" y="20"/>
                    </a:lnTo>
                    <a:lnTo>
                      <a:pt x="556" y="9"/>
                    </a:lnTo>
                    <a:lnTo>
                      <a:pt x="576" y="2"/>
                    </a:lnTo>
                    <a:lnTo>
                      <a:pt x="59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</p:grpSp>
      </p:grpSp>
      <p:sp>
        <p:nvSpPr>
          <p:cNvPr id="31" name="Rectangle 30"/>
          <p:cNvSpPr/>
          <p:nvPr/>
        </p:nvSpPr>
        <p:spPr>
          <a:xfrm>
            <a:off x="9766134" y="2560562"/>
            <a:ext cx="1803733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+mj-lt"/>
                <a:cs typeface="Arial" panose="020B0604020202020204" pitchFamily="34" charset="0"/>
              </a:rPr>
              <a:t>International Investment Advisor</a:t>
            </a:r>
          </a:p>
        </p:txBody>
      </p:sp>
      <p:sp>
        <p:nvSpPr>
          <p:cNvPr id="96" name="Rectangle 95"/>
          <p:cNvSpPr/>
          <p:nvPr/>
        </p:nvSpPr>
        <p:spPr>
          <a:xfrm>
            <a:off x="9683373" y="6255557"/>
            <a:ext cx="1969254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+mj-lt"/>
                <a:cs typeface="Arial" panose="020B0604020202020204" pitchFamily="34" charset="0"/>
              </a:rPr>
              <a:t>Business Succession Specialists</a:t>
            </a:r>
          </a:p>
        </p:txBody>
      </p:sp>
      <p:sp>
        <p:nvSpPr>
          <p:cNvPr id="32" name="Freeform 33"/>
          <p:cNvSpPr>
            <a:spLocks noEditPoints="1"/>
          </p:cNvSpPr>
          <p:nvPr/>
        </p:nvSpPr>
        <p:spPr bwMode="auto">
          <a:xfrm>
            <a:off x="10394517" y="1948870"/>
            <a:ext cx="546966" cy="561398"/>
          </a:xfrm>
          <a:custGeom>
            <a:avLst/>
            <a:gdLst>
              <a:gd name="T0" fmla="*/ 2394 w 3408"/>
              <a:gd name="T1" fmla="*/ 2929 h 3503"/>
              <a:gd name="T2" fmla="*/ 2052 w 3408"/>
              <a:gd name="T3" fmla="*/ 2255 h 3503"/>
              <a:gd name="T4" fmla="*/ 2045 w 3408"/>
              <a:gd name="T5" fmla="*/ 1598 h 3503"/>
              <a:gd name="T6" fmla="*/ 2329 w 3408"/>
              <a:gd name="T7" fmla="*/ 1380 h 3503"/>
              <a:gd name="T8" fmla="*/ 2721 w 3408"/>
              <a:gd name="T9" fmla="*/ 1483 h 3503"/>
              <a:gd name="T10" fmla="*/ 2826 w 3408"/>
              <a:gd name="T11" fmla="*/ 2175 h 3503"/>
              <a:gd name="T12" fmla="*/ 2749 w 3408"/>
              <a:gd name="T13" fmla="*/ 2697 h 3503"/>
              <a:gd name="T14" fmla="*/ 2837 w 3408"/>
              <a:gd name="T15" fmla="*/ 2743 h 3503"/>
              <a:gd name="T16" fmla="*/ 3148 w 3408"/>
              <a:gd name="T17" fmla="*/ 2933 h 3503"/>
              <a:gd name="T18" fmla="*/ 3398 w 3408"/>
              <a:gd name="T19" fmla="*/ 3170 h 3503"/>
              <a:gd name="T20" fmla="*/ 2125 w 3408"/>
              <a:gd name="T21" fmla="*/ 2916 h 3503"/>
              <a:gd name="T22" fmla="*/ 1742 w 3408"/>
              <a:gd name="T23" fmla="*/ 2665 h 3503"/>
              <a:gd name="T24" fmla="*/ 1546 w 3408"/>
              <a:gd name="T25" fmla="*/ 2558 h 3503"/>
              <a:gd name="T26" fmla="*/ 1632 w 3408"/>
              <a:gd name="T27" fmla="*/ 1941 h 3503"/>
              <a:gd name="T28" fmla="*/ 1527 w 3408"/>
              <a:gd name="T29" fmla="*/ 1143 h 3503"/>
              <a:gd name="T30" fmla="*/ 1106 w 3408"/>
              <a:gd name="T31" fmla="*/ 999 h 3503"/>
              <a:gd name="T32" fmla="*/ 755 w 3408"/>
              <a:gd name="T33" fmla="*/ 1183 h 3503"/>
              <a:gd name="T34" fmla="*/ 691 w 3408"/>
              <a:gd name="T35" fmla="*/ 1974 h 3503"/>
              <a:gd name="T36" fmla="*/ 762 w 3408"/>
              <a:gd name="T37" fmla="*/ 2559 h 3503"/>
              <a:gd name="T38" fmla="*/ 530 w 3408"/>
              <a:gd name="T39" fmla="*/ 2685 h 3503"/>
              <a:gd name="T40" fmla="*/ 136 w 3408"/>
              <a:gd name="T41" fmla="*/ 2953 h 3503"/>
              <a:gd name="T42" fmla="*/ 0 w 3408"/>
              <a:gd name="T43" fmla="*/ 3499 h 3503"/>
              <a:gd name="T44" fmla="*/ 1023 w 3408"/>
              <a:gd name="T45" fmla="*/ 2867 h 3503"/>
              <a:gd name="T46" fmla="*/ 1077 w 3408"/>
              <a:gd name="T47" fmla="*/ 2766 h 3503"/>
              <a:gd name="T48" fmla="*/ 1161 w 3408"/>
              <a:gd name="T49" fmla="*/ 2748 h 3503"/>
              <a:gd name="T50" fmla="*/ 1243 w 3408"/>
              <a:gd name="T51" fmla="*/ 2766 h 3503"/>
              <a:gd name="T52" fmla="*/ 1297 w 3408"/>
              <a:gd name="T53" fmla="*/ 2867 h 3503"/>
              <a:gd name="T54" fmla="*/ 2321 w 3408"/>
              <a:gd name="T55" fmla="*/ 3499 h 3503"/>
              <a:gd name="T56" fmla="*/ 1882 w 3408"/>
              <a:gd name="T57" fmla="*/ 981 h 3503"/>
              <a:gd name="T58" fmla="*/ 1729 w 3408"/>
              <a:gd name="T59" fmla="*/ 625 h 3503"/>
              <a:gd name="T60" fmla="*/ 1861 w 3408"/>
              <a:gd name="T61" fmla="*/ 214 h 3503"/>
              <a:gd name="T62" fmla="*/ 2236 w 3408"/>
              <a:gd name="T63" fmla="*/ 6 h 3503"/>
              <a:gd name="T64" fmla="*/ 2644 w 3408"/>
              <a:gd name="T65" fmla="*/ 100 h 3503"/>
              <a:gd name="T66" fmla="*/ 2886 w 3408"/>
              <a:gd name="T67" fmla="*/ 456 h 3503"/>
              <a:gd name="T68" fmla="*/ 2830 w 3408"/>
              <a:gd name="T69" fmla="*/ 869 h 3503"/>
              <a:gd name="T70" fmla="*/ 2493 w 3408"/>
              <a:gd name="T71" fmla="*/ 1147 h 3503"/>
              <a:gd name="T72" fmla="*/ 2066 w 3408"/>
              <a:gd name="T73" fmla="*/ 1119 h 3503"/>
              <a:gd name="T74" fmla="*/ 1766 w 3408"/>
              <a:gd name="T75" fmla="*/ 1162 h 3503"/>
              <a:gd name="T76" fmla="*/ 1813 w 3408"/>
              <a:gd name="T77" fmla="*/ 1079 h 3503"/>
              <a:gd name="T78" fmla="*/ 2241 w 3408"/>
              <a:gd name="T79" fmla="*/ 868 h 3503"/>
              <a:gd name="T80" fmla="*/ 2272 w 3408"/>
              <a:gd name="T81" fmla="*/ 954 h 3503"/>
              <a:gd name="T82" fmla="*/ 2360 w 3408"/>
              <a:gd name="T83" fmla="*/ 894 h 3503"/>
              <a:gd name="T84" fmla="*/ 2473 w 3408"/>
              <a:gd name="T85" fmla="*/ 807 h 3503"/>
              <a:gd name="T86" fmla="*/ 2466 w 3408"/>
              <a:gd name="T87" fmla="*/ 596 h 3503"/>
              <a:gd name="T88" fmla="*/ 2277 w 3408"/>
              <a:gd name="T89" fmla="*/ 487 h 3503"/>
              <a:gd name="T90" fmla="*/ 2299 w 3408"/>
              <a:gd name="T91" fmla="*/ 408 h 3503"/>
              <a:gd name="T92" fmla="*/ 2449 w 3408"/>
              <a:gd name="T93" fmla="*/ 430 h 3503"/>
              <a:gd name="T94" fmla="*/ 2479 w 3408"/>
              <a:gd name="T95" fmla="*/ 332 h 3503"/>
              <a:gd name="T96" fmla="*/ 2364 w 3408"/>
              <a:gd name="T97" fmla="*/ 291 h 3503"/>
              <a:gd name="T98" fmla="*/ 2333 w 3408"/>
              <a:gd name="T99" fmla="*/ 212 h 3503"/>
              <a:gd name="T100" fmla="*/ 2266 w 3408"/>
              <a:gd name="T101" fmla="*/ 278 h 3503"/>
              <a:gd name="T102" fmla="*/ 2165 w 3408"/>
              <a:gd name="T103" fmla="*/ 350 h 3503"/>
              <a:gd name="T104" fmla="*/ 2148 w 3408"/>
              <a:gd name="T105" fmla="*/ 544 h 3503"/>
              <a:gd name="T106" fmla="*/ 2337 w 3408"/>
              <a:gd name="T107" fmla="*/ 650 h 3503"/>
              <a:gd name="T108" fmla="*/ 2345 w 3408"/>
              <a:gd name="T109" fmla="*/ 752 h 3503"/>
              <a:gd name="T110" fmla="*/ 2158 w 3408"/>
              <a:gd name="T111" fmla="*/ 725 h 3503"/>
              <a:gd name="T112" fmla="*/ 2127 w 3408"/>
              <a:gd name="T113" fmla="*/ 830 h 35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08" h="3503">
                <a:moveTo>
                  <a:pt x="2476" y="3499"/>
                </a:moveTo>
                <a:lnTo>
                  <a:pt x="2476" y="3172"/>
                </a:lnTo>
                <a:lnTo>
                  <a:pt x="2474" y="3127"/>
                </a:lnTo>
                <a:lnTo>
                  <a:pt x="2466" y="3085"/>
                </a:lnTo>
                <a:lnTo>
                  <a:pt x="2455" y="3042"/>
                </a:lnTo>
                <a:lnTo>
                  <a:pt x="2439" y="3002"/>
                </a:lnTo>
                <a:lnTo>
                  <a:pt x="2419" y="2965"/>
                </a:lnTo>
                <a:lnTo>
                  <a:pt x="2394" y="2929"/>
                </a:lnTo>
                <a:lnTo>
                  <a:pt x="2364" y="2897"/>
                </a:lnTo>
                <a:lnTo>
                  <a:pt x="2332" y="2868"/>
                </a:lnTo>
                <a:lnTo>
                  <a:pt x="2252" y="2805"/>
                </a:lnTo>
                <a:lnTo>
                  <a:pt x="2173" y="2747"/>
                </a:lnTo>
                <a:lnTo>
                  <a:pt x="2096" y="2693"/>
                </a:lnTo>
                <a:lnTo>
                  <a:pt x="2096" y="2295"/>
                </a:lnTo>
                <a:lnTo>
                  <a:pt x="2072" y="2277"/>
                </a:lnTo>
                <a:lnTo>
                  <a:pt x="2052" y="2255"/>
                </a:lnTo>
                <a:lnTo>
                  <a:pt x="2037" y="2231"/>
                </a:lnTo>
                <a:lnTo>
                  <a:pt x="2025" y="2203"/>
                </a:lnTo>
                <a:lnTo>
                  <a:pt x="2018" y="2173"/>
                </a:lnTo>
                <a:lnTo>
                  <a:pt x="2016" y="2141"/>
                </a:lnTo>
                <a:lnTo>
                  <a:pt x="2016" y="1739"/>
                </a:lnTo>
                <a:lnTo>
                  <a:pt x="2019" y="1690"/>
                </a:lnTo>
                <a:lnTo>
                  <a:pt x="2029" y="1643"/>
                </a:lnTo>
                <a:lnTo>
                  <a:pt x="2045" y="1598"/>
                </a:lnTo>
                <a:lnTo>
                  <a:pt x="2066" y="1556"/>
                </a:lnTo>
                <a:lnTo>
                  <a:pt x="2091" y="1518"/>
                </a:lnTo>
                <a:lnTo>
                  <a:pt x="2122" y="1483"/>
                </a:lnTo>
                <a:lnTo>
                  <a:pt x="2157" y="1452"/>
                </a:lnTo>
                <a:lnTo>
                  <a:pt x="2195" y="1426"/>
                </a:lnTo>
                <a:lnTo>
                  <a:pt x="2238" y="1405"/>
                </a:lnTo>
                <a:lnTo>
                  <a:pt x="2283" y="1389"/>
                </a:lnTo>
                <a:lnTo>
                  <a:pt x="2329" y="1380"/>
                </a:lnTo>
                <a:lnTo>
                  <a:pt x="2378" y="1377"/>
                </a:lnTo>
                <a:lnTo>
                  <a:pt x="2465" y="1377"/>
                </a:lnTo>
                <a:lnTo>
                  <a:pt x="2514" y="1380"/>
                </a:lnTo>
                <a:lnTo>
                  <a:pt x="2561" y="1389"/>
                </a:lnTo>
                <a:lnTo>
                  <a:pt x="2606" y="1405"/>
                </a:lnTo>
                <a:lnTo>
                  <a:pt x="2648" y="1426"/>
                </a:lnTo>
                <a:lnTo>
                  <a:pt x="2686" y="1452"/>
                </a:lnTo>
                <a:lnTo>
                  <a:pt x="2721" y="1483"/>
                </a:lnTo>
                <a:lnTo>
                  <a:pt x="2752" y="1518"/>
                </a:lnTo>
                <a:lnTo>
                  <a:pt x="2778" y="1556"/>
                </a:lnTo>
                <a:lnTo>
                  <a:pt x="2799" y="1598"/>
                </a:lnTo>
                <a:lnTo>
                  <a:pt x="2815" y="1643"/>
                </a:lnTo>
                <a:lnTo>
                  <a:pt x="2825" y="1690"/>
                </a:lnTo>
                <a:lnTo>
                  <a:pt x="2828" y="1739"/>
                </a:lnTo>
                <a:lnTo>
                  <a:pt x="2828" y="2146"/>
                </a:lnTo>
                <a:lnTo>
                  <a:pt x="2826" y="2175"/>
                </a:lnTo>
                <a:lnTo>
                  <a:pt x="2818" y="2205"/>
                </a:lnTo>
                <a:lnTo>
                  <a:pt x="2805" y="2233"/>
                </a:lnTo>
                <a:lnTo>
                  <a:pt x="2789" y="2257"/>
                </a:lnTo>
                <a:lnTo>
                  <a:pt x="2770" y="2280"/>
                </a:lnTo>
                <a:lnTo>
                  <a:pt x="2748" y="2298"/>
                </a:lnTo>
                <a:lnTo>
                  <a:pt x="2748" y="2690"/>
                </a:lnTo>
                <a:lnTo>
                  <a:pt x="2748" y="2693"/>
                </a:lnTo>
                <a:lnTo>
                  <a:pt x="2749" y="2697"/>
                </a:lnTo>
                <a:lnTo>
                  <a:pt x="2751" y="2700"/>
                </a:lnTo>
                <a:lnTo>
                  <a:pt x="2753" y="2702"/>
                </a:lnTo>
                <a:lnTo>
                  <a:pt x="2755" y="2704"/>
                </a:lnTo>
                <a:lnTo>
                  <a:pt x="2759" y="2704"/>
                </a:lnTo>
                <a:lnTo>
                  <a:pt x="2771" y="2710"/>
                </a:lnTo>
                <a:lnTo>
                  <a:pt x="2789" y="2719"/>
                </a:lnTo>
                <a:lnTo>
                  <a:pt x="2811" y="2731"/>
                </a:lnTo>
                <a:lnTo>
                  <a:pt x="2837" y="2743"/>
                </a:lnTo>
                <a:lnTo>
                  <a:pt x="2866" y="2759"/>
                </a:lnTo>
                <a:lnTo>
                  <a:pt x="2899" y="2779"/>
                </a:lnTo>
                <a:lnTo>
                  <a:pt x="2935" y="2799"/>
                </a:lnTo>
                <a:lnTo>
                  <a:pt x="2973" y="2821"/>
                </a:lnTo>
                <a:lnTo>
                  <a:pt x="3015" y="2847"/>
                </a:lnTo>
                <a:lnTo>
                  <a:pt x="3057" y="2873"/>
                </a:lnTo>
                <a:lnTo>
                  <a:pt x="3102" y="2902"/>
                </a:lnTo>
                <a:lnTo>
                  <a:pt x="3148" y="2933"/>
                </a:lnTo>
                <a:lnTo>
                  <a:pt x="3194" y="2966"/>
                </a:lnTo>
                <a:lnTo>
                  <a:pt x="3241" y="3000"/>
                </a:lnTo>
                <a:lnTo>
                  <a:pt x="3288" y="3037"/>
                </a:lnTo>
                <a:lnTo>
                  <a:pt x="3336" y="3074"/>
                </a:lnTo>
                <a:lnTo>
                  <a:pt x="3356" y="3094"/>
                </a:lnTo>
                <a:lnTo>
                  <a:pt x="3374" y="3117"/>
                </a:lnTo>
                <a:lnTo>
                  <a:pt x="3388" y="3142"/>
                </a:lnTo>
                <a:lnTo>
                  <a:pt x="3398" y="3170"/>
                </a:lnTo>
                <a:lnTo>
                  <a:pt x="3406" y="3198"/>
                </a:lnTo>
                <a:lnTo>
                  <a:pt x="3408" y="3226"/>
                </a:lnTo>
                <a:lnTo>
                  <a:pt x="3408" y="3503"/>
                </a:lnTo>
                <a:lnTo>
                  <a:pt x="2476" y="3503"/>
                </a:lnTo>
                <a:lnTo>
                  <a:pt x="2476" y="3499"/>
                </a:lnTo>
                <a:close/>
                <a:moveTo>
                  <a:pt x="2229" y="2999"/>
                </a:moveTo>
                <a:lnTo>
                  <a:pt x="2177" y="2956"/>
                </a:lnTo>
                <a:lnTo>
                  <a:pt x="2125" y="2916"/>
                </a:lnTo>
                <a:lnTo>
                  <a:pt x="2073" y="2877"/>
                </a:lnTo>
                <a:lnTo>
                  <a:pt x="2022" y="2841"/>
                </a:lnTo>
                <a:lnTo>
                  <a:pt x="1971" y="2806"/>
                </a:lnTo>
                <a:lnTo>
                  <a:pt x="1921" y="2774"/>
                </a:lnTo>
                <a:lnTo>
                  <a:pt x="1874" y="2743"/>
                </a:lnTo>
                <a:lnTo>
                  <a:pt x="1828" y="2715"/>
                </a:lnTo>
                <a:lnTo>
                  <a:pt x="1783" y="2689"/>
                </a:lnTo>
                <a:lnTo>
                  <a:pt x="1742" y="2665"/>
                </a:lnTo>
                <a:lnTo>
                  <a:pt x="1704" y="2643"/>
                </a:lnTo>
                <a:lnTo>
                  <a:pt x="1668" y="2623"/>
                </a:lnTo>
                <a:lnTo>
                  <a:pt x="1637" y="2606"/>
                </a:lnTo>
                <a:lnTo>
                  <a:pt x="1609" y="2591"/>
                </a:lnTo>
                <a:lnTo>
                  <a:pt x="1586" y="2580"/>
                </a:lnTo>
                <a:lnTo>
                  <a:pt x="1566" y="2570"/>
                </a:lnTo>
                <a:lnTo>
                  <a:pt x="1552" y="2563"/>
                </a:lnTo>
                <a:lnTo>
                  <a:pt x="1546" y="2558"/>
                </a:lnTo>
                <a:lnTo>
                  <a:pt x="1542" y="2552"/>
                </a:lnTo>
                <a:lnTo>
                  <a:pt x="1541" y="2545"/>
                </a:lnTo>
                <a:lnTo>
                  <a:pt x="1541" y="2084"/>
                </a:lnTo>
                <a:lnTo>
                  <a:pt x="1569" y="2062"/>
                </a:lnTo>
                <a:lnTo>
                  <a:pt x="1591" y="2036"/>
                </a:lnTo>
                <a:lnTo>
                  <a:pt x="1610" y="2007"/>
                </a:lnTo>
                <a:lnTo>
                  <a:pt x="1624" y="1975"/>
                </a:lnTo>
                <a:lnTo>
                  <a:pt x="1632" y="1941"/>
                </a:lnTo>
                <a:lnTo>
                  <a:pt x="1635" y="1906"/>
                </a:lnTo>
                <a:lnTo>
                  <a:pt x="1635" y="1427"/>
                </a:lnTo>
                <a:lnTo>
                  <a:pt x="1632" y="1373"/>
                </a:lnTo>
                <a:lnTo>
                  <a:pt x="1622" y="1321"/>
                </a:lnTo>
                <a:lnTo>
                  <a:pt x="1607" y="1272"/>
                </a:lnTo>
                <a:lnTo>
                  <a:pt x="1586" y="1226"/>
                </a:lnTo>
                <a:lnTo>
                  <a:pt x="1559" y="1183"/>
                </a:lnTo>
                <a:lnTo>
                  <a:pt x="1527" y="1143"/>
                </a:lnTo>
                <a:lnTo>
                  <a:pt x="1491" y="1108"/>
                </a:lnTo>
                <a:lnTo>
                  <a:pt x="1452" y="1076"/>
                </a:lnTo>
                <a:lnTo>
                  <a:pt x="1408" y="1049"/>
                </a:lnTo>
                <a:lnTo>
                  <a:pt x="1362" y="1028"/>
                </a:lnTo>
                <a:lnTo>
                  <a:pt x="1312" y="1012"/>
                </a:lnTo>
                <a:lnTo>
                  <a:pt x="1261" y="1002"/>
                </a:lnTo>
                <a:lnTo>
                  <a:pt x="1207" y="999"/>
                </a:lnTo>
                <a:lnTo>
                  <a:pt x="1106" y="999"/>
                </a:lnTo>
                <a:lnTo>
                  <a:pt x="1052" y="1002"/>
                </a:lnTo>
                <a:lnTo>
                  <a:pt x="1001" y="1012"/>
                </a:lnTo>
                <a:lnTo>
                  <a:pt x="951" y="1028"/>
                </a:lnTo>
                <a:lnTo>
                  <a:pt x="905" y="1049"/>
                </a:lnTo>
                <a:lnTo>
                  <a:pt x="862" y="1076"/>
                </a:lnTo>
                <a:lnTo>
                  <a:pt x="823" y="1108"/>
                </a:lnTo>
                <a:lnTo>
                  <a:pt x="786" y="1143"/>
                </a:lnTo>
                <a:lnTo>
                  <a:pt x="755" y="1183"/>
                </a:lnTo>
                <a:lnTo>
                  <a:pt x="728" y="1226"/>
                </a:lnTo>
                <a:lnTo>
                  <a:pt x="707" y="1272"/>
                </a:lnTo>
                <a:lnTo>
                  <a:pt x="692" y="1321"/>
                </a:lnTo>
                <a:lnTo>
                  <a:pt x="681" y="1373"/>
                </a:lnTo>
                <a:lnTo>
                  <a:pt x="678" y="1427"/>
                </a:lnTo>
                <a:lnTo>
                  <a:pt x="678" y="1902"/>
                </a:lnTo>
                <a:lnTo>
                  <a:pt x="681" y="1939"/>
                </a:lnTo>
                <a:lnTo>
                  <a:pt x="691" y="1974"/>
                </a:lnTo>
                <a:lnTo>
                  <a:pt x="705" y="2006"/>
                </a:lnTo>
                <a:lnTo>
                  <a:pt x="724" y="2035"/>
                </a:lnTo>
                <a:lnTo>
                  <a:pt x="747" y="2060"/>
                </a:lnTo>
                <a:lnTo>
                  <a:pt x="773" y="2080"/>
                </a:lnTo>
                <a:lnTo>
                  <a:pt x="773" y="2541"/>
                </a:lnTo>
                <a:lnTo>
                  <a:pt x="772" y="2548"/>
                </a:lnTo>
                <a:lnTo>
                  <a:pt x="767" y="2554"/>
                </a:lnTo>
                <a:lnTo>
                  <a:pt x="762" y="2559"/>
                </a:lnTo>
                <a:lnTo>
                  <a:pt x="747" y="2566"/>
                </a:lnTo>
                <a:lnTo>
                  <a:pt x="728" y="2575"/>
                </a:lnTo>
                <a:lnTo>
                  <a:pt x="705" y="2588"/>
                </a:lnTo>
                <a:lnTo>
                  <a:pt x="677" y="2603"/>
                </a:lnTo>
                <a:lnTo>
                  <a:pt x="645" y="2620"/>
                </a:lnTo>
                <a:lnTo>
                  <a:pt x="610" y="2639"/>
                </a:lnTo>
                <a:lnTo>
                  <a:pt x="572" y="2662"/>
                </a:lnTo>
                <a:lnTo>
                  <a:pt x="530" y="2685"/>
                </a:lnTo>
                <a:lnTo>
                  <a:pt x="486" y="2712"/>
                </a:lnTo>
                <a:lnTo>
                  <a:pt x="440" y="2740"/>
                </a:lnTo>
                <a:lnTo>
                  <a:pt x="392" y="2770"/>
                </a:lnTo>
                <a:lnTo>
                  <a:pt x="342" y="2803"/>
                </a:lnTo>
                <a:lnTo>
                  <a:pt x="291" y="2837"/>
                </a:lnTo>
                <a:lnTo>
                  <a:pt x="240" y="2874"/>
                </a:lnTo>
                <a:lnTo>
                  <a:pt x="188" y="2913"/>
                </a:lnTo>
                <a:lnTo>
                  <a:pt x="136" y="2953"/>
                </a:lnTo>
                <a:lnTo>
                  <a:pt x="84" y="2994"/>
                </a:lnTo>
                <a:lnTo>
                  <a:pt x="59" y="3018"/>
                </a:lnTo>
                <a:lnTo>
                  <a:pt x="38" y="3044"/>
                </a:lnTo>
                <a:lnTo>
                  <a:pt x="21" y="3074"/>
                </a:lnTo>
                <a:lnTo>
                  <a:pt x="10" y="3105"/>
                </a:lnTo>
                <a:lnTo>
                  <a:pt x="2" y="3138"/>
                </a:lnTo>
                <a:lnTo>
                  <a:pt x="0" y="3172"/>
                </a:lnTo>
                <a:lnTo>
                  <a:pt x="0" y="3499"/>
                </a:lnTo>
                <a:lnTo>
                  <a:pt x="1009" y="3499"/>
                </a:lnTo>
                <a:lnTo>
                  <a:pt x="1106" y="3041"/>
                </a:lnTo>
                <a:lnTo>
                  <a:pt x="1082" y="3005"/>
                </a:lnTo>
                <a:lnTo>
                  <a:pt x="1062" y="2972"/>
                </a:lnTo>
                <a:lnTo>
                  <a:pt x="1046" y="2941"/>
                </a:lnTo>
                <a:lnTo>
                  <a:pt x="1035" y="2914"/>
                </a:lnTo>
                <a:lnTo>
                  <a:pt x="1028" y="2889"/>
                </a:lnTo>
                <a:lnTo>
                  <a:pt x="1023" y="2867"/>
                </a:lnTo>
                <a:lnTo>
                  <a:pt x="1022" y="2848"/>
                </a:lnTo>
                <a:lnTo>
                  <a:pt x="1024" y="2830"/>
                </a:lnTo>
                <a:lnTo>
                  <a:pt x="1029" y="2815"/>
                </a:lnTo>
                <a:lnTo>
                  <a:pt x="1035" y="2802"/>
                </a:lnTo>
                <a:lnTo>
                  <a:pt x="1044" y="2790"/>
                </a:lnTo>
                <a:lnTo>
                  <a:pt x="1053" y="2781"/>
                </a:lnTo>
                <a:lnTo>
                  <a:pt x="1064" y="2772"/>
                </a:lnTo>
                <a:lnTo>
                  <a:pt x="1077" y="2766"/>
                </a:lnTo>
                <a:lnTo>
                  <a:pt x="1088" y="2760"/>
                </a:lnTo>
                <a:lnTo>
                  <a:pt x="1101" y="2756"/>
                </a:lnTo>
                <a:lnTo>
                  <a:pt x="1113" y="2753"/>
                </a:lnTo>
                <a:lnTo>
                  <a:pt x="1125" y="2751"/>
                </a:lnTo>
                <a:lnTo>
                  <a:pt x="1136" y="2750"/>
                </a:lnTo>
                <a:lnTo>
                  <a:pt x="1146" y="2749"/>
                </a:lnTo>
                <a:lnTo>
                  <a:pt x="1154" y="2748"/>
                </a:lnTo>
                <a:lnTo>
                  <a:pt x="1161" y="2748"/>
                </a:lnTo>
                <a:lnTo>
                  <a:pt x="1167" y="2748"/>
                </a:lnTo>
                <a:lnTo>
                  <a:pt x="1174" y="2749"/>
                </a:lnTo>
                <a:lnTo>
                  <a:pt x="1184" y="2750"/>
                </a:lnTo>
                <a:lnTo>
                  <a:pt x="1195" y="2751"/>
                </a:lnTo>
                <a:lnTo>
                  <a:pt x="1206" y="2753"/>
                </a:lnTo>
                <a:lnTo>
                  <a:pt x="1218" y="2756"/>
                </a:lnTo>
                <a:lnTo>
                  <a:pt x="1231" y="2760"/>
                </a:lnTo>
                <a:lnTo>
                  <a:pt x="1243" y="2766"/>
                </a:lnTo>
                <a:lnTo>
                  <a:pt x="1255" y="2772"/>
                </a:lnTo>
                <a:lnTo>
                  <a:pt x="1266" y="2781"/>
                </a:lnTo>
                <a:lnTo>
                  <a:pt x="1276" y="2790"/>
                </a:lnTo>
                <a:lnTo>
                  <a:pt x="1285" y="2802"/>
                </a:lnTo>
                <a:lnTo>
                  <a:pt x="1291" y="2815"/>
                </a:lnTo>
                <a:lnTo>
                  <a:pt x="1295" y="2830"/>
                </a:lnTo>
                <a:lnTo>
                  <a:pt x="1298" y="2848"/>
                </a:lnTo>
                <a:lnTo>
                  <a:pt x="1297" y="2867"/>
                </a:lnTo>
                <a:lnTo>
                  <a:pt x="1293" y="2889"/>
                </a:lnTo>
                <a:lnTo>
                  <a:pt x="1286" y="2914"/>
                </a:lnTo>
                <a:lnTo>
                  <a:pt x="1274" y="2941"/>
                </a:lnTo>
                <a:lnTo>
                  <a:pt x="1259" y="2972"/>
                </a:lnTo>
                <a:lnTo>
                  <a:pt x="1239" y="3005"/>
                </a:lnTo>
                <a:lnTo>
                  <a:pt x="1215" y="3041"/>
                </a:lnTo>
                <a:lnTo>
                  <a:pt x="1312" y="3499"/>
                </a:lnTo>
                <a:lnTo>
                  <a:pt x="2321" y="3499"/>
                </a:lnTo>
                <a:lnTo>
                  <a:pt x="2321" y="3172"/>
                </a:lnTo>
                <a:lnTo>
                  <a:pt x="2315" y="3140"/>
                </a:lnTo>
                <a:lnTo>
                  <a:pt x="2305" y="3108"/>
                </a:lnTo>
                <a:lnTo>
                  <a:pt x="2291" y="3077"/>
                </a:lnTo>
                <a:lnTo>
                  <a:pt x="2274" y="3049"/>
                </a:lnTo>
                <a:lnTo>
                  <a:pt x="2254" y="3022"/>
                </a:lnTo>
                <a:lnTo>
                  <a:pt x="2229" y="2999"/>
                </a:lnTo>
                <a:close/>
                <a:moveTo>
                  <a:pt x="1882" y="981"/>
                </a:moveTo>
                <a:lnTo>
                  <a:pt x="1875" y="977"/>
                </a:lnTo>
                <a:lnTo>
                  <a:pt x="1838" y="932"/>
                </a:lnTo>
                <a:lnTo>
                  <a:pt x="1809" y="885"/>
                </a:lnTo>
                <a:lnTo>
                  <a:pt x="1782" y="835"/>
                </a:lnTo>
                <a:lnTo>
                  <a:pt x="1762" y="784"/>
                </a:lnTo>
                <a:lnTo>
                  <a:pt x="1746" y="732"/>
                </a:lnTo>
                <a:lnTo>
                  <a:pt x="1735" y="679"/>
                </a:lnTo>
                <a:lnTo>
                  <a:pt x="1729" y="625"/>
                </a:lnTo>
                <a:lnTo>
                  <a:pt x="1728" y="570"/>
                </a:lnTo>
                <a:lnTo>
                  <a:pt x="1732" y="516"/>
                </a:lnTo>
                <a:lnTo>
                  <a:pt x="1741" y="463"/>
                </a:lnTo>
                <a:lnTo>
                  <a:pt x="1756" y="410"/>
                </a:lnTo>
                <a:lnTo>
                  <a:pt x="1774" y="358"/>
                </a:lnTo>
                <a:lnTo>
                  <a:pt x="1798" y="308"/>
                </a:lnTo>
                <a:lnTo>
                  <a:pt x="1827" y="260"/>
                </a:lnTo>
                <a:lnTo>
                  <a:pt x="1861" y="214"/>
                </a:lnTo>
                <a:lnTo>
                  <a:pt x="1900" y="172"/>
                </a:lnTo>
                <a:lnTo>
                  <a:pt x="1942" y="133"/>
                </a:lnTo>
                <a:lnTo>
                  <a:pt x="1986" y="100"/>
                </a:lnTo>
                <a:lnTo>
                  <a:pt x="2033" y="72"/>
                </a:lnTo>
                <a:lnTo>
                  <a:pt x="2082" y="48"/>
                </a:lnTo>
                <a:lnTo>
                  <a:pt x="2132" y="29"/>
                </a:lnTo>
                <a:lnTo>
                  <a:pt x="2183" y="15"/>
                </a:lnTo>
                <a:lnTo>
                  <a:pt x="2236" y="6"/>
                </a:lnTo>
                <a:lnTo>
                  <a:pt x="2288" y="0"/>
                </a:lnTo>
                <a:lnTo>
                  <a:pt x="2341" y="0"/>
                </a:lnTo>
                <a:lnTo>
                  <a:pt x="2394" y="6"/>
                </a:lnTo>
                <a:lnTo>
                  <a:pt x="2447" y="15"/>
                </a:lnTo>
                <a:lnTo>
                  <a:pt x="2498" y="29"/>
                </a:lnTo>
                <a:lnTo>
                  <a:pt x="2548" y="48"/>
                </a:lnTo>
                <a:lnTo>
                  <a:pt x="2597" y="72"/>
                </a:lnTo>
                <a:lnTo>
                  <a:pt x="2644" y="100"/>
                </a:lnTo>
                <a:lnTo>
                  <a:pt x="2689" y="133"/>
                </a:lnTo>
                <a:lnTo>
                  <a:pt x="2730" y="172"/>
                </a:lnTo>
                <a:lnTo>
                  <a:pt x="2768" y="213"/>
                </a:lnTo>
                <a:lnTo>
                  <a:pt x="2801" y="258"/>
                </a:lnTo>
                <a:lnTo>
                  <a:pt x="2830" y="305"/>
                </a:lnTo>
                <a:lnTo>
                  <a:pt x="2853" y="353"/>
                </a:lnTo>
                <a:lnTo>
                  <a:pt x="2872" y="403"/>
                </a:lnTo>
                <a:lnTo>
                  <a:pt x="2886" y="456"/>
                </a:lnTo>
                <a:lnTo>
                  <a:pt x="2896" y="508"/>
                </a:lnTo>
                <a:lnTo>
                  <a:pt x="2901" y="561"/>
                </a:lnTo>
                <a:lnTo>
                  <a:pt x="2901" y="614"/>
                </a:lnTo>
                <a:lnTo>
                  <a:pt x="2896" y="666"/>
                </a:lnTo>
                <a:lnTo>
                  <a:pt x="2886" y="719"/>
                </a:lnTo>
                <a:lnTo>
                  <a:pt x="2872" y="770"/>
                </a:lnTo>
                <a:lnTo>
                  <a:pt x="2853" y="820"/>
                </a:lnTo>
                <a:lnTo>
                  <a:pt x="2830" y="869"/>
                </a:lnTo>
                <a:lnTo>
                  <a:pt x="2801" y="916"/>
                </a:lnTo>
                <a:lnTo>
                  <a:pt x="2768" y="961"/>
                </a:lnTo>
                <a:lnTo>
                  <a:pt x="2730" y="1002"/>
                </a:lnTo>
                <a:lnTo>
                  <a:pt x="2687" y="1042"/>
                </a:lnTo>
                <a:lnTo>
                  <a:pt x="2642" y="1076"/>
                </a:lnTo>
                <a:lnTo>
                  <a:pt x="2594" y="1104"/>
                </a:lnTo>
                <a:lnTo>
                  <a:pt x="2544" y="1128"/>
                </a:lnTo>
                <a:lnTo>
                  <a:pt x="2493" y="1147"/>
                </a:lnTo>
                <a:lnTo>
                  <a:pt x="2440" y="1161"/>
                </a:lnTo>
                <a:lnTo>
                  <a:pt x="2387" y="1170"/>
                </a:lnTo>
                <a:lnTo>
                  <a:pt x="2333" y="1175"/>
                </a:lnTo>
                <a:lnTo>
                  <a:pt x="2278" y="1174"/>
                </a:lnTo>
                <a:lnTo>
                  <a:pt x="2224" y="1167"/>
                </a:lnTo>
                <a:lnTo>
                  <a:pt x="2170" y="1156"/>
                </a:lnTo>
                <a:lnTo>
                  <a:pt x="2117" y="1141"/>
                </a:lnTo>
                <a:lnTo>
                  <a:pt x="2066" y="1119"/>
                </a:lnTo>
                <a:lnTo>
                  <a:pt x="2016" y="1094"/>
                </a:lnTo>
                <a:lnTo>
                  <a:pt x="1978" y="1118"/>
                </a:lnTo>
                <a:lnTo>
                  <a:pt x="1939" y="1137"/>
                </a:lnTo>
                <a:lnTo>
                  <a:pt x="1901" y="1151"/>
                </a:lnTo>
                <a:lnTo>
                  <a:pt x="1864" y="1160"/>
                </a:lnTo>
                <a:lnTo>
                  <a:pt x="1829" y="1165"/>
                </a:lnTo>
                <a:lnTo>
                  <a:pt x="1796" y="1165"/>
                </a:lnTo>
                <a:lnTo>
                  <a:pt x="1766" y="1162"/>
                </a:lnTo>
                <a:lnTo>
                  <a:pt x="1757" y="1159"/>
                </a:lnTo>
                <a:lnTo>
                  <a:pt x="1750" y="1151"/>
                </a:lnTo>
                <a:lnTo>
                  <a:pt x="1747" y="1143"/>
                </a:lnTo>
                <a:lnTo>
                  <a:pt x="1747" y="1134"/>
                </a:lnTo>
                <a:lnTo>
                  <a:pt x="1751" y="1126"/>
                </a:lnTo>
                <a:lnTo>
                  <a:pt x="1759" y="1118"/>
                </a:lnTo>
                <a:lnTo>
                  <a:pt x="1787" y="1100"/>
                </a:lnTo>
                <a:lnTo>
                  <a:pt x="1813" y="1079"/>
                </a:lnTo>
                <a:lnTo>
                  <a:pt x="1835" y="1055"/>
                </a:lnTo>
                <a:lnTo>
                  <a:pt x="1854" y="1030"/>
                </a:lnTo>
                <a:lnTo>
                  <a:pt x="1869" y="1005"/>
                </a:lnTo>
                <a:lnTo>
                  <a:pt x="1882" y="981"/>
                </a:lnTo>
                <a:close/>
                <a:moveTo>
                  <a:pt x="2147" y="843"/>
                </a:moveTo>
                <a:lnTo>
                  <a:pt x="2176" y="855"/>
                </a:lnTo>
                <a:lnTo>
                  <a:pt x="2208" y="863"/>
                </a:lnTo>
                <a:lnTo>
                  <a:pt x="2241" y="868"/>
                </a:lnTo>
                <a:lnTo>
                  <a:pt x="2253" y="870"/>
                </a:lnTo>
                <a:lnTo>
                  <a:pt x="2260" y="873"/>
                </a:lnTo>
                <a:lnTo>
                  <a:pt x="2265" y="878"/>
                </a:lnTo>
                <a:lnTo>
                  <a:pt x="2266" y="886"/>
                </a:lnTo>
                <a:lnTo>
                  <a:pt x="2266" y="901"/>
                </a:lnTo>
                <a:lnTo>
                  <a:pt x="2266" y="937"/>
                </a:lnTo>
                <a:lnTo>
                  <a:pt x="2268" y="947"/>
                </a:lnTo>
                <a:lnTo>
                  <a:pt x="2272" y="954"/>
                </a:lnTo>
                <a:lnTo>
                  <a:pt x="2278" y="959"/>
                </a:lnTo>
                <a:lnTo>
                  <a:pt x="2288" y="963"/>
                </a:lnTo>
                <a:lnTo>
                  <a:pt x="2339" y="963"/>
                </a:lnTo>
                <a:lnTo>
                  <a:pt x="2349" y="961"/>
                </a:lnTo>
                <a:lnTo>
                  <a:pt x="2355" y="958"/>
                </a:lnTo>
                <a:lnTo>
                  <a:pt x="2359" y="950"/>
                </a:lnTo>
                <a:lnTo>
                  <a:pt x="2360" y="941"/>
                </a:lnTo>
                <a:lnTo>
                  <a:pt x="2360" y="894"/>
                </a:lnTo>
                <a:lnTo>
                  <a:pt x="2361" y="882"/>
                </a:lnTo>
                <a:lnTo>
                  <a:pt x="2366" y="874"/>
                </a:lnTo>
                <a:lnTo>
                  <a:pt x="2373" y="868"/>
                </a:lnTo>
                <a:lnTo>
                  <a:pt x="2383" y="865"/>
                </a:lnTo>
                <a:lnTo>
                  <a:pt x="2408" y="855"/>
                </a:lnTo>
                <a:lnTo>
                  <a:pt x="2432" y="843"/>
                </a:lnTo>
                <a:lnTo>
                  <a:pt x="2455" y="827"/>
                </a:lnTo>
                <a:lnTo>
                  <a:pt x="2473" y="807"/>
                </a:lnTo>
                <a:lnTo>
                  <a:pt x="2490" y="782"/>
                </a:lnTo>
                <a:lnTo>
                  <a:pt x="2502" y="756"/>
                </a:lnTo>
                <a:lnTo>
                  <a:pt x="2508" y="728"/>
                </a:lnTo>
                <a:lnTo>
                  <a:pt x="2509" y="699"/>
                </a:lnTo>
                <a:lnTo>
                  <a:pt x="2506" y="671"/>
                </a:lnTo>
                <a:lnTo>
                  <a:pt x="2497" y="645"/>
                </a:lnTo>
                <a:lnTo>
                  <a:pt x="2483" y="619"/>
                </a:lnTo>
                <a:lnTo>
                  <a:pt x="2466" y="596"/>
                </a:lnTo>
                <a:lnTo>
                  <a:pt x="2444" y="575"/>
                </a:lnTo>
                <a:lnTo>
                  <a:pt x="2419" y="557"/>
                </a:lnTo>
                <a:lnTo>
                  <a:pt x="2389" y="542"/>
                </a:lnTo>
                <a:lnTo>
                  <a:pt x="2358" y="528"/>
                </a:lnTo>
                <a:lnTo>
                  <a:pt x="2327" y="516"/>
                </a:lnTo>
                <a:lnTo>
                  <a:pt x="2309" y="509"/>
                </a:lnTo>
                <a:lnTo>
                  <a:pt x="2292" y="499"/>
                </a:lnTo>
                <a:lnTo>
                  <a:pt x="2277" y="487"/>
                </a:lnTo>
                <a:lnTo>
                  <a:pt x="2267" y="476"/>
                </a:lnTo>
                <a:lnTo>
                  <a:pt x="2260" y="464"/>
                </a:lnTo>
                <a:lnTo>
                  <a:pt x="2257" y="451"/>
                </a:lnTo>
                <a:lnTo>
                  <a:pt x="2259" y="440"/>
                </a:lnTo>
                <a:lnTo>
                  <a:pt x="2265" y="428"/>
                </a:lnTo>
                <a:lnTo>
                  <a:pt x="2274" y="418"/>
                </a:lnTo>
                <a:lnTo>
                  <a:pt x="2288" y="411"/>
                </a:lnTo>
                <a:lnTo>
                  <a:pt x="2299" y="408"/>
                </a:lnTo>
                <a:lnTo>
                  <a:pt x="2308" y="405"/>
                </a:lnTo>
                <a:lnTo>
                  <a:pt x="2317" y="403"/>
                </a:lnTo>
                <a:lnTo>
                  <a:pt x="2346" y="403"/>
                </a:lnTo>
                <a:lnTo>
                  <a:pt x="2376" y="407"/>
                </a:lnTo>
                <a:lnTo>
                  <a:pt x="2405" y="414"/>
                </a:lnTo>
                <a:lnTo>
                  <a:pt x="2432" y="426"/>
                </a:lnTo>
                <a:lnTo>
                  <a:pt x="2442" y="429"/>
                </a:lnTo>
                <a:lnTo>
                  <a:pt x="2449" y="430"/>
                </a:lnTo>
                <a:lnTo>
                  <a:pt x="2455" y="428"/>
                </a:lnTo>
                <a:lnTo>
                  <a:pt x="2459" y="422"/>
                </a:lnTo>
                <a:lnTo>
                  <a:pt x="2462" y="411"/>
                </a:lnTo>
                <a:lnTo>
                  <a:pt x="2469" y="391"/>
                </a:lnTo>
                <a:lnTo>
                  <a:pt x="2474" y="370"/>
                </a:lnTo>
                <a:lnTo>
                  <a:pt x="2480" y="349"/>
                </a:lnTo>
                <a:lnTo>
                  <a:pt x="2481" y="340"/>
                </a:lnTo>
                <a:lnTo>
                  <a:pt x="2479" y="332"/>
                </a:lnTo>
                <a:lnTo>
                  <a:pt x="2474" y="326"/>
                </a:lnTo>
                <a:lnTo>
                  <a:pt x="2465" y="320"/>
                </a:lnTo>
                <a:lnTo>
                  <a:pt x="2443" y="311"/>
                </a:lnTo>
                <a:lnTo>
                  <a:pt x="2419" y="303"/>
                </a:lnTo>
                <a:lnTo>
                  <a:pt x="2393" y="298"/>
                </a:lnTo>
                <a:lnTo>
                  <a:pt x="2379" y="297"/>
                </a:lnTo>
                <a:lnTo>
                  <a:pt x="2370" y="295"/>
                </a:lnTo>
                <a:lnTo>
                  <a:pt x="2364" y="291"/>
                </a:lnTo>
                <a:lnTo>
                  <a:pt x="2361" y="284"/>
                </a:lnTo>
                <a:lnTo>
                  <a:pt x="2360" y="274"/>
                </a:lnTo>
                <a:lnTo>
                  <a:pt x="2360" y="259"/>
                </a:lnTo>
                <a:lnTo>
                  <a:pt x="2360" y="239"/>
                </a:lnTo>
                <a:lnTo>
                  <a:pt x="2358" y="226"/>
                </a:lnTo>
                <a:lnTo>
                  <a:pt x="2355" y="217"/>
                </a:lnTo>
                <a:lnTo>
                  <a:pt x="2346" y="213"/>
                </a:lnTo>
                <a:lnTo>
                  <a:pt x="2333" y="212"/>
                </a:lnTo>
                <a:lnTo>
                  <a:pt x="2313" y="212"/>
                </a:lnTo>
                <a:lnTo>
                  <a:pt x="2291" y="212"/>
                </a:lnTo>
                <a:lnTo>
                  <a:pt x="2278" y="212"/>
                </a:lnTo>
                <a:lnTo>
                  <a:pt x="2271" y="216"/>
                </a:lnTo>
                <a:lnTo>
                  <a:pt x="2267" y="224"/>
                </a:lnTo>
                <a:lnTo>
                  <a:pt x="2266" y="236"/>
                </a:lnTo>
                <a:lnTo>
                  <a:pt x="2266" y="266"/>
                </a:lnTo>
                <a:lnTo>
                  <a:pt x="2266" y="278"/>
                </a:lnTo>
                <a:lnTo>
                  <a:pt x="2265" y="286"/>
                </a:lnTo>
                <a:lnTo>
                  <a:pt x="2262" y="293"/>
                </a:lnTo>
                <a:lnTo>
                  <a:pt x="2257" y="297"/>
                </a:lnTo>
                <a:lnTo>
                  <a:pt x="2250" y="301"/>
                </a:lnTo>
                <a:lnTo>
                  <a:pt x="2237" y="306"/>
                </a:lnTo>
                <a:lnTo>
                  <a:pt x="2209" y="318"/>
                </a:lnTo>
                <a:lnTo>
                  <a:pt x="2185" y="333"/>
                </a:lnTo>
                <a:lnTo>
                  <a:pt x="2165" y="350"/>
                </a:lnTo>
                <a:lnTo>
                  <a:pt x="2148" y="372"/>
                </a:lnTo>
                <a:lnTo>
                  <a:pt x="2135" y="395"/>
                </a:lnTo>
                <a:lnTo>
                  <a:pt x="2126" y="422"/>
                </a:lnTo>
                <a:lnTo>
                  <a:pt x="2121" y="451"/>
                </a:lnTo>
                <a:lnTo>
                  <a:pt x="2122" y="478"/>
                </a:lnTo>
                <a:lnTo>
                  <a:pt x="2126" y="502"/>
                </a:lnTo>
                <a:lnTo>
                  <a:pt x="2135" y="524"/>
                </a:lnTo>
                <a:lnTo>
                  <a:pt x="2148" y="544"/>
                </a:lnTo>
                <a:lnTo>
                  <a:pt x="2164" y="562"/>
                </a:lnTo>
                <a:lnTo>
                  <a:pt x="2183" y="578"/>
                </a:lnTo>
                <a:lnTo>
                  <a:pt x="2204" y="593"/>
                </a:lnTo>
                <a:lnTo>
                  <a:pt x="2234" y="607"/>
                </a:lnTo>
                <a:lnTo>
                  <a:pt x="2262" y="618"/>
                </a:lnTo>
                <a:lnTo>
                  <a:pt x="2290" y="629"/>
                </a:lnTo>
                <a:lnTo>
                  <a:pt x="2317" y="640"/>
                </a:lnTo>
                <a:lnTo>
                  <a:pt x="2337" y="650"/>
                </a:lnTo>
                <a:lnTo>
                  <a:pt x="2357" y="662"/>
                </a:lnTo>
                <a:lnTo>
                  <a:pt x="2369" y="675"/>
                </a:lnTo>
                <a:lnTo>
                  <a:pt x="2376" y="690"/>
                </a:lnTo>
                <a:lnTo>
                  <a:pt x="2378" y="704"/>
                </a:lnTo>
                <a:lnTo>
                  <a:pt x="2377" y="719"/>
                </a:lnTo>
                <a:lnTo>
                  <a:pt x="2371" y="733"/>
                </a:lnTo>
                <a:lnTo>
                  <a:pt x="2360" y="744"/>
                </a:lnTo>
                <a:lnTo>
                  <a:pt x="2345" y="752"/>
                </a:lnTo>
                <a:lnTo>
                  <a:pt x="2324" y="760"/>
                </a:lnTo>
                <a:lnTo>
                  <a:pt x="2302" y="762"/>
                </a:lnTo>
                <a:lnTo>
                  <a:pt x="2277" y="760"/>
                </a:lnTo>
                <a:lnTo>
                  <a:pt x="2242" y="753"/>
                </a:lnTo>
                <a:lnTo>
                  <a:pt x="2208" y="744"/>
                </a:lnTo>
                <a:lnTo>
                  <a:pt x="2175" y="730"/>
                </a:lnTo>
                <a:lnTo>
                  <a:pt x="2166" y="726"/>
                </a:lnTo>
                <a:lnTo>
                  <a:pt x="2158" y="725"/>
                </a:lnTo>
                <a:lnTo>
                  <a:pt x="2152" y="727"/>
                </a:lnTo>
                <a:lnTo>
                  <a:pt x="2148" y="734"/>
                </a:lnTo>
                <a:lnTo>
                  <a:pt x="2142" y="745"/>
                </a:lnTo>
                <a:lnTo>
                  <a:pt x="2134" y="773"/>
                </a:lnTo>
                <a:lnTo>
                  <a:pt x="2129" y="799"/>
                </a:lnTo>
                <a:lnTo>
                  <a:pt x="2125" y="813"/>
                </a:lnTo>
                <a:lnTo>
                  <a:pt x="2124" y="823"/>
                </a:lnTo>
                <a:lnTo>
                  <a:pt x="2127" y="830"/>
                </a:lnTo>
                <a:lnTo>
                  <a:pt x="2134" y="836"/>
                </a:lnTo>
                <a:lnTo>
                  <a:pt x="2147" y="843"/>
                </a:lnTo>
                <a:close/>
              </a:path>
            </a:pathLst>
          </a:custGeom>
          <a:solidFill>
            <a:srgbClr val="33B3A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Calibri Light" panose="020F0302020204030204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9897017" y="3858446"/>
            <a:ext cx="1541966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+mj-lt"/>
                <a:cs typeface="Arial" panose="020B0604020202020204" pitchFamily="34" charset="0"/>
              </a:rPr>
              <a:t>Forensic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+mj-lt"/>
                <a:cs typeface="Arial" panose="020B0604020202020204" pitchFamily="34" charset="0"/>
              </a:rPr>
              <a:t>Experts</a:t>
            </a:r>
          </a:p>
        </p:txBody>
      </p:sp>
      <p:grpSp>
        <p:nvGrpSpPr>
          <p:cNvPr id="59" name="Group 58"/>
          <p:cNvGrpSpPr>
            <a:grpSpLocks noChangeAspect="1"/>
          </p:cNvGrpSpPr>
          <p:nvPr/>
        </p:nvGrpSpPr>
        <p:grpSpPr bwMode="auto">
          <a:xfrm>
            <a:off x="10446930" y="3259171"/>
            <a:ext cx="442141" cy="438203"/>
            <a:chOff x="2479" y="3367"/>
            <a:chExt cx="337" cy="334"/>
          </a:xfrm>
          <a:solidFill>
            <a:srgbClr val="26867C"/>
          </a:solidFill>
        </p:grpSpPr>
        <p:sp>
          <p:nvSpPr>
            <p:cNvPr id="60" name="Freeform 59"/>
            <p:cNvSpPr>
              <a:spLocks/>
            </p:cNvSpPr>
            <p:nvPr/>
          </p:nvSpPr>
          <p:spPr bwMode="auto">
            <a:xfrm>
              <a:off x="2479" y="3566"/>
              <a:ext cx="222" cy="135"/>
            </a:xfrm>
            <a:custGeom>
              <a:avLst/>
              <a:gdLst>
                <a:gd name="T0" fmla="*/ 1749 w 2217"/>
                <a:gd name="T1" fmla="*/ 3 h 1350"/>
                <a:gd name="T2" fmla="*/ 1788 w 2217"/>
                <a:gd name="T3" fmla="*/ 24 h 1350"/>
                <a:gd name="T4" fmla="*/ 2124 w 2217"/>
                <a:gd name="T5" fmla="*/ 228 h 1350"/>
                <a:gd name="T6" fmla="*/ 2126 w 2217"/>
                <a:gd name="T7" fmla="*/ 332 h 1350"/>
                <a:gd name="T8" fmla="*/ 2149 w 2217"/>
                <a:gd name="T9" fmla="*/ 448 h 1350"/>
                <a:gd name="T10" fmla="*/ 2190 w 2217"/>
                <a:gd name="T11" fmla="*/ 559 h 1350"/>
                <a:gd name="T12" fmla="*/ 2183 w 2217"/>
                <a:gd name="T13" fmla="*/ 628 h 1350"/>
                <a:gd name="T14" fmla="*/ 2119 w 2217"/>
                <a:gd name="T15" fmla="*/ 674 h 1350"/>
                <a:gd name="T16" fmla="*/ 1856 w 2217"/>
                <a:gd name="T17" fmla="*/ 1004 h 1350"/>
                <a:gd name="T18" fmla="*/ 1817 w 2217"/>
                <a:gd name="T19" fmla="*/ 1069 h 1350"/>
                <a:gd name="T20" fmla="*/ 1797 w 2217"/>
                <a:gd name="T21" fmla="*/ 1142 h 1350"/>
                <a:gd name="T22" fmla="*/ 1795 w 2217"/>
                <a:gd name="T23" fmla="*/ 1218 h 1350"/>
                <a:gd name="T24" fmla="*/ 1813 w 2217"/>
                <a:gd name="T25" fmla="*/ 1287 h 1350"/>
                <a:gd name="T26" fmla="*/ 1846 w 2217"/>
                <a:gd name="T27" fmla="*/ 1350 h 1350"/>
                <a:gd name="T28" fmla="*/ 2 w 2217"/>
                <a:gd name="T29" fmla="*/ 1340 h 1350"/>
                <a:gd name="T30" fmla="*/ 6 w 2217"/>
                <a:gd name="T31" fmla="*/ 1301 h 1350"/>
                <a:gd name="T32" fmla="*/ 10 w 2217"/>
                <a:gd name="T33" fmla="*/ 1242 h 1350"/>
                <a:gd name="T34" fmla="*/ 15 w 2217"/>
                <a:gd name="T35" fmla="*/ 1168 h 1350"/>
                <a:gd name="T36" fmla="*/ 23 w 2217"/>
                <a:gd name="T37" fmla="*/ 1083 h 1350"/>
                <a:gd name="T38" fmla="*/ 32 w 2217"/>
                <a:gd name="T39" fmla="*/ 990 h 1350"/>
                <a:gd name="T40" fmla="*/ 43 w 2217"/>
                <a:gd name="T41" fmla="*/ 894 h 1350"/>
                <a:gd name="T42" fmla="*/ 58 w 2217"/>
                <a:gd name="T43" fmla="*/ 797 h 1350"/>
                <a:gd name="T44" fmla="*/ 78 w 2217"/>
                <a:gd name="T45" fmla="*/ 703 h 1350"/>
                <a:gd name="T46" fmla="*/ 102 w 2217"/>
                <a:gd name="T47" fmla="*/ 616 h 1350"/>
                <a:gd name="T48" fmla="*/ 132 w 2217"/>
                <a:gd name="T49" fmla="*/ 542 h 1350"/>
                <a:gd name="T50" fmla="*/ 169 w 2217"/>
                <a:gd name="T51" fmla="*/ 480 h 1350"/>
                <a:gd name="T52" fmla="*/ 211 w 2217"/>
                <a:gd name="T53" fmla="*/ 438 h 1350"/>
                <a:gd name="T54" fmla="*/ 909 w 2217"/>
                <a:gd name="T55" fmla="*/ 157 h 1350"/>
                <a:gd name="T56" fmla="*/ 1085 w 2217"/>
                <a:gd name="T57" fmla="*/ 11 h 1350"/>
                <a:gd name="T58" fmla="*/ 1128 w 2217"/>
                <a:gd name="T59" fmla="*/ 0 h 1350"/>
                <a:gd name="T60" fmla="*/ 1171 w 2217"/>
                <a:gd name="T61" fmla="*/ 6 h 1350"/>
                <a:gd name="T62" fmla="*/ 1208 w 2217"/>
                <a:gd name="T63" fmla="*/ 29 h 1350"/>
                <a:gd name="T64" fmla="*/ 1647 w 2217"/>
                <a:gd name="T65" fmla="*/ 30 h 1350"/>
                <a:gd name="T66" fmla="*/ 1685 w 2217"/>
                <a:gd name="T67" fmla="*/ 6 h 1350"/>
                <a:gd name="T68" fmla="*/ 1728 w 2217"/>
                <a:gd name="T69" fmla="*/ 0 h 1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17" h="1350">
                  <a:moveTo>
                    <a:pt x="1728" y="0"/>
                  </a:moveTo>
                  <a:lnTo>
                    <a:pt x="1749" y="3"/>
                  </a:lnTo>
                  <a:lnTo>
                    <a:pt x="1770" y="11"/>
                  </a:lnTo>
                  <a:lnTo>
                    <a:pt x="1788" y="24"/>
                  </a:lnTo>
                  <a:lnTo>
                    <a:pt x="1946" y="157"/>
                  </a:lnTo>
                  <a:lnTo>
                    <a:pt x="2124" y="228"/>
                  </a:lnTo>
                  <a:lnTo>
                    <a:pt x="2123" y="271"/>
                  </a:lnTo>
                  <a:lnTo>
                    <a:pt x="2126" y="332"/>
                  </a:lnTo>
                  <a:lnTo>
                    <a:pt x="2136" y="390"/>
                  </a:lnTo>
                  <a:lnTo>
                    <a:pt x="2149" y="448"/>
                  </a:lnTo>
                  <a:lnTo>
                    <a:pt x="2167" y="505"/>
                  </a:lnTo>
                  <a:lnTo>
                    <a:pt x="2190" y="559"/>
                  </a:lnTo>
                  <a:lnTo>
                    <a:pt x="2217" y="611"/>
                  </a:lnTo>
                  <a:lnTo>
                    <a:pt x="2183" y="628"/>
                  </a:lnTo>
                  <a:lnTo>
                    <a:pt x="2150" y="648"/>
                  </a:lnTo>
                  <a:lnTo>
                    <a:pt x="2119" y="674"/>
                  </a:lnTo>
                  <a:lnTo>
                    <a:pt x="2094" y="702"/>
                  </a:lnTo>
                  <a:lnTo>
                    <a:pt x="1856" y="1004"/>
                  </a:lnTo>
                  <a:lnTo>
                    <a:pt x="1834" y="1035"/>
                  </a:lnTo>
                  <a:lnTo>
                    <a:pt x="1817" y="1069"/>
                  </a:lnTo>
                  <a:lnTo>
                    <a:pt x="1805" y="1105"/>
                  </a:lnTo>
                  <a:lnTo>
                    <a:pt x="1797" y="1142"/>
                  </a:lnTo>
                  <a:lnTo>
                    <a:pt x="1793" y="1180"/>
                  </a:lnTo>
                  <a:lnTo>
                    <a:pt x="1795" y="1218"/>
                  </a:lnTo>
                  <a:lnTo>
                    <a:pt x="1802" y="1253"/>
                  </a:lnTo>
                  <a:lnTo>
                    <a:pt x="1813" y="1287"/>
                  </a:lnTo>
                  <a:lnTo>
                    <a:pt x="1827" y="1320"/>
                  </a:lnTo>
                  <a:lnTo>
                    <a:pt x="1846" y="1350"/>
                  </a:lnTo>
                  <a:lnTo>
                    <a:pt x="0" y="1350"/>
                  </a:lnTo>
                  <a:lnTo>
                    <a:pt x="2" y="1340"/>
                  </a:lnTo>
                  <a:lnTo>
                    <a:pt x="4" y="1322"/>
                  </a:lnTo>
                  <a:lnTo>
                    <a:pt x="6" y="1301"/>
                  </a:lnTo>
                  <a:lnTo>
                    <a:pt x="8" y="1273"/>
                  </a:lnTo>
                  <a:lnTo>
                    <a:pt x="10" y="1242"/>
                  </a:lnTo>
                  <a:lnTo>
                    <a:pt x="12" y="1207"/>
                  </a:lnTo>
                  <a:lnTo>
                    <a:pt x="15" y="1168"/>
                  </a:lnTo>
                  <a:lnTo>
                    <a:pt x="18" y="1127"/>
                  </a:lnTo>
                  <a:lnTo>
                    <a:pt x="23" y="1083"/>
                  </a:lnTo>
                  <a:lnTo>
                    <a:pt x="27" y="1038"/>
                  </a:lnTo>
                  <a:lnTo>
                    <a:pt x="32" y="990"/>
                  </a:lnTo>
                  <a:lnTo>
                    <a:pt x="37" y="942"/>
                  </a:lnTo>
                  <a:lnTo>
                    <a:pt x="43" y="894"/>
                  </a:lnTo>
                  <a:lnTo>
                    <a:pt x="50" y="845"/>
                  </a:lnTo>
                  <a:lnTo>
                    <a:pt x="58" y="797"/>
                  </a:lnTo>
                  <a:lnTo>
                    <a:pt x="68" y="749"/>
                  </a:lnTo>
                  <a:lnTo>
                    <a:pt x="78" y="703"/>
                  </a:lnTo>
                  <a:lnTo>
                    <a:pt x="90" y="658"/>
                  </a:lnTo>
                  <a:lnTo>
                    <a:pt x="102" y="616"/>
                  </a:lnTo>
                  <a:lnTo>
                    <a:pt x="117" y="577"/>
                  </a:lnTo>
                  <a:lnTo>
                    <a:pt x="132" y="542"/>
                  </a:lnTo>
                  <a:lnTo>
                    <a:pt x="150" y="509"/>
                  </a:lnTo>
                  <a:lnTo>
                    <a:pt x="169" y="480"/>
                  </a:lnTo>
                  <a:lnTo>
                    <a:pt x="188" y="456"/>
                  </a:lnTo>
                  <a:lnTo>
                    <a:pt x="211" y="438"/>
                  </a:lnTo>
                  <a:lnTo>
                    <a:pt x="236" y="426"/>
                  </a:lnTo>
                  <a:lnTo>
                    <a:pt x="909" y="157"/>
                  </a:lnTo>
                  <a:lnTo>
                    <a:pt x="1066" y="24"/>
                  </a:lnTo>
                  <a:lnTo>
                    <a:pt x="1085" y="11"/>
                  </a:lnTo>
                  <a:lnTo>
                    <a:pt x="1106" y="3"/>
                  </a:lnTo>
                  <a:lnTo>
                    <a:pt x="1128" y="0"/>
                  </a:lnTo>
                  <a:lnTo>
                    <a:pt x="1149" y="1"/>
                  </a:lnTo>
                  <a:lnTo>
                    <a:pt x="1171" y="6"/>
                  </a:lnTo>
                  <a:lnTo>
                    <a:pt x="1190" y="16"/>
                  </a:lnTo>
                  <a:lnTo>
                    <a:pt x="1208" y="29"/>
                  </a:lnTo>
                  <a:lnTo>
                    <a:pt x="1428" y="248"/>
                  </a:lnTo>
                  <a:lnTo>
                    <a:pt x="1647" y="30"/>
                  </a:lnTo>
                  <a:lnTo>
                    <a:pt x="1664" y="16"/>
                  </a:lnTo>
                  <a:lnTo>
                    <a:pt x="1685" y="6"/>
                  </a:lnTo>
                  <a:lnTo>
                    <a:pt x="1705" y="1"/>
                  </a:lnTo>
                  <a:lnTo>
                    <a:pt x="17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 Light" panose="020F0302020204030204"/>
              </a:endParaRPr>
            </a:p>
          </p:txBody>
        </p:sp>
        <p:sp>
          <p:nvSpPr>
            <p:cNvPr id="61" name="Freeform 60"/>
            <p:cNvSpPr>
              <a:spLocks/>
            </p:cNvSpPr>
            <p:nvPr/>
          </p:nvSpPr>
          <p:spPr bwMode="auto">
            <a:xfrm>
              <a:off x="2711" y="3658"/>
              <a:ext cx="54" cy="43"/>
            </a:xfrm>
            <a:custGeom>
              <a:avLst/>
              <a:gdLst>
                <a:gd name="T0" fmla="*/ 287 w 533"/>
                <a:gd name="T1" fmla="*/ 0 h 429"/>
                <a:gd name="T2" fmla="*/ 336 w 533"/>
                <a:gd name="T3" fmla="*/ 13 h 429"/>
                <a:gd name="T4" fmla="*/ 385 w 533"/>
                <a:gd name="T5" fmla="*/ 22 h 429"/>
                <a:gd name="T6" fmla="*/ 435 w 533"/>
                <a:gd name="T7" fmla="*/ 27 h 429"/>
                <a:gd name="T8" fmla="*/ 486 w 533"/>
                <a:gd name="T9" fmla="*/ 29 h 429"/>
                <a:gd name="T10" fmla="*/ 486 w 533"/>
                <a:gd name="T11" fmla="*/ 29 h 429"/>
                <a:gd name="T12" fmla="*/ 496 w 533"/>
                <a:gd name="T13" fmla="*/ 29 h 429"/>
                <a:gd name="T14" fmla="*/ 502 w 533"/>
                <a:gd name="T15" fmla="*/ 80 h 429"/>
                <a:gd name="T16" fmla="*/ 507 w 533"/>
                <a:gd name="T17" fmla="*/ 131 h 429"/>
                <a:gd name="T18" fmla="*/ 511 w 533"/>
                <a:gd name="T19" fmla="*/ 180 h 429"/>
                <a:gd name="T20" fmla="*/ 515 w 533"/>
                <a:gd name="T21" fmla="*/ 226 h 429"/>
                <a:gd name="T22" fmla="*/ 518 w 533"/>
                <a:gd name="T23" fmla="*/ 269 h 429"/>
                <a:gd name="T24" fmla="*/ 521 w 533"/>
                <a:gd name="T25" fmla="*/ 308 h 429"/>
                <a:gd name="T26" fmla="*/ 523 w 533"/>
                <a:gd name="T27" fmla="*/ 343 h 429"/>
                <a:gd name="T28" fmla="*/ 525 w 533"/>
                <a:gd name="T29" fmla="*/ 373 h 429"/>
                <a:gd name="T30" fmla="*/ 527 w 533"/>
                <a:gd name="T31" fmla="*/ 398 h 429"/>
                <a:gd name="T32" fmla="*/ 531 w 533"/>
                <a:gd name="T33" fmla="*/ 417 h 429"/>
                <a:gd name="T34" fmla="*/ 533 w 533"/>
                <a:gd name="T35" fmla="*/ 429 h 429"/>
                <a:gd name="T36" fmla="*/ 0 w 533"/>
                <a:gd name="T37" fmla="*/ 429 h 429"/>
                <a:gd name="T38" fmla="*/ 226 w 533"/>
                <a:gd name="T39" fmla="*/ 142 h 429"/>
                <a:gd name="T40" fmla="*/ 249 w 533"/>
                <a:gd name="T41" fmla="*/ 109 h 429"/>
                <a:gd name="T42" fmla="*/ 266 w 533"/>
                <a:gd name="T43" fmla="*/ 74 h 429"/>
                <a:gd name="T44" fmla="*/ 280 w 533"/>
                <a:gd name="T45" fmla="*/ 37 h 429"/>
                <a:gd name="T46" fmla="*/ 287 w 533"/>
                <a:gd name="T47" fmla="*/ 0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3" h="429">
                  <a:moveTo>
                    <a:pt x="287" y="0"/>
                  </a:moveTo>
                  <a:lnTo>
                    <a:pt x="336" y="13"/>
                  </a:lnTo>
                  <a:lnTo>
                    <a:pt x="385" y="22"/>
                  </a:lnTo>
                  <a:lnTo>
                    <a:pt x="435" y="27"/>
                  </a:lnTo>
                  <a:lnTo>
                    <a:pt x="486" y="29"/>
                  </a:lnTo>
                  <a:lnTo>
                    <a:pt x="486" y="29"/>
                  </a:lnTo>
                  <a:lnTo>
                    <a:pt x="496" y="29"/>
                  </a:lnTo>
                  <a:lnTo>
                    <a:pt x="502" y="80"/>
                  </a:lnTo>
                  <a:lnTo>
                    <a:pt x="507" y="131"/>
                  </a:lnTo>
                  <a:lnTo>
                    <a:pt x="511" y="180"/>
                  </a:lnTo>
                  <a:lnTo>
                    <a:pt x="515" y="226"/>
                  </a:lnTo>
                  <a:lnTo>
                    <a:pt x="518" y="269"/>
                  </a:lnTo>
                  <a:lnTo>
                    <a:pt x="521" y="308"/>
                  </a:lnTo>
                  <a:lnTo>
                    <a:pt x="523" y="343"/>
                  </a:lnTo>
                  <a:lnTo>
                    <a:pt x="525" y="373"/>
                  </a:lnTo>
                  <a:lnTo>
                    <a:pt x="527" y="398"/>
                  </a:lnTo>
                  <a:lnTo>
                    <a:pt x="531" y="417"/>
                  </a:lnTo>
                  <a:lnTo>
                    <a:pt x="533" y="429"/>
                  </a:lnTo>
                  <a:lnTo>
                    <a:pt x="0" y="429"/>
                  </a:lnTo>
                  <a:lnTo>
                    <a:pt x="226" y="142"/>
                  </a:lnTo>
                  <a:lnTo>
                    <a:pt x="249" y="109"/>
                  </a:lnTo>
                  <a:lnTo>
                    <a:pt x="266" y="74"/>
                  </a:lnTo>
                  <a:lnTo>
                    <a:pt x="280" y="37"/>
                  </a:lnTo>
                  <a:lnTo>
                    <a:pt x="28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 Light" panose="020F0302020204030204"/>
              </a:endParaRPr>
            </a:p>
          </p:txBody>
        </p:sp>
        <p:sp>
          <p:nvSpPr>
            <p:cNvPr id="62" name="Freeform 61"/>
            <p:cNvSpPr>
              <a:spLocks/>
            </p:cNvSpPr>
            <p:nvPr/>
          </p:nvSpPr>
          <p:spPr bwMode="auto">
            <a:xfrm>
              <a:off x="2559" y="3367"/>
              <a:ext cx="125" cy="76"/>
            </a:xfrm>
            <a:custGeom>
              <a:avLst/>
              <a:gdLst>
                <a:gd name="T0" fmla="*/ 298 w 1253"/>
                <a:gd name="T1" fmla="*/ 1 h 764"/>
                <a:gd name="T2" fmla="*/ 342 w 1253"/>
                <a:gd name="T3" fmla="*/ 7 h 764"/>
                <a:gd name="T4" fmla="*/ 385 w 1253"/>
                <a:gd name="T5" fmla="*/ 21 h 764"/>
                <a:gd name="T6" fmla="*/ 428 w 1253"/>
                <a:gd name="T7" fmla="*/ 38 h 764"/>
                <a:gd name="T8" fmla="*/ 468 w 1253"/>
                <a:gd name="T9" fmla="*/ 60 h 764"/>
                <a:gd name="T10" fmla="*/ 506 w 1253"/>
                <a:gd name="T11" fmla="*/ 81 h 764"/>
                <a:gd name="T12" fmla="*/ 541 w 1253"/>
                <a:gd name="T13" fmla="*/ 103 h 764"/>
                <a:gd name="T14" fmla="*/ 571 w 1253"/>
                <a:gd name="T15" fmla="*/ 122 h 764"/>
                <a:gd name="T16" fmla="*/ 598 w 1253"/>
                <a:gd name="T17" fmla="*/ 136 h 764"/>
                <a:gd name="T18" fmla="*/ 619 w 1253"/>
                <a:gd name="T19" fmla="*/ 144 h 764"/>
                <a:gd name="T20" fmla="*/ 635 w 1253"/>
                <a:gd name="T21" fmla="*/ 144 h 764"/>
                <a:gd name="T22" fmla="*/ 655 w 1253"/>
                <a:gd name="T23" fmla="*/ 136 h 764"/>
                <a:gd name="T24" fmla="*/ 682 w 1253"/>
                <a:gd name="T25" fmla="*/ 122 h 764"/>
                <a:gd name="T26" fmla="*/ 713 w 1253"/>
                <a:gd name="T27" fmla="*/ 103 h 764"/>
                <a:gd name="T28" fmla="*/ 748 w 1253"/>
                <a:gd name="T29" fmla="*/ 81 h 764"/>
                <a:gd name="T30" fmla="*/ 786 w 1253"/>
                <a:gd name="T31" fmla="*/ 60 h 764"/>
                <a:gd name="T32" fmla="*/ 825 w 1253"/>
                <a:gd name="T33" fmla="*/ 38 h 764"/>
                <a:gd name="T34" fmla="*/ 869 w 1253"/>
                <a:gd name="T35" fmla="*/ 21 h 764"/>
                <a:gd name="T36" fmla="*/ 912 w 1253"/>
                <a:gd name="T37" fmla="*/ 7 h 764"/>
                <a:gd name="T38" fmla="*/ 956 w 1253"/>
                <a:gd name="T39" fmla="*/ 1 h 764"/>
                <a:gd name="T40" fmla="*/ 999 w 1253"/>
                <a:gd name="T41" fmla="*/ 2 h 764"/>
                <a:gd name="T42" fmla="*/ 1042 w 1253"/>
                <a:gd name="T43" fmla="*/ 15 h 764"/>
                <a:gd name="T44" fmla="*/ 1083 w 1253"/>
                <a:gd name="T45" fmla="*/ 39 h 764"/>
                <a:gd name="T46" fmla="*/ 1120 w 1253"/>
                <a:gd name="T47" fmla="*/ 78 h 764"/>
                <a:gd name="T48" fmla="*/ 1155 w 1253"/>
                <a:gd name="T49" fmla="*/ 132 h 764"/>
                <a:gd name="T50" fmla="*/ 1187 w 1253"/>
                <a:gd name="T51" fmla="*/ 204 h 764"/>
                <a:gd name="T52" fmla="*/ 1214 w 1253"/>
                <a:gd name="T53" fmla="*/ 296 h 764"/>
                <a:gd name="T54" fmla="*/ 1235 w 1253"/>
                <a:gd name="T55" fmla="*/ 409 h 764"/>
                <a:gd name="T56" fmla="*/ 1251 w 1253"/>
                <a:gd name="T57" fmla="*/ 545 h 764"/>
                <a:gd name="T58" fmla="*/ 1234 w 1253"/>
                <a:gd name="T59" fmla="*/ 574 h 764"/>
                <a:gd name="T60" fmla="*/ 1178 w 1253"/>
                <a:gd name="T61" fmla="*/ 625 h 764"/>
                <a:gd name="T62" fmla="*/ 1097 w 1253"/>
                <a:gd name="T63" fmla="*/ 672 h 764"/>
                <a:gd name="T64" fmla="*/ 996 w 1253"/>
                <a:gd name="T65" fmla="*/ 712 h 764"/>
                <a:gd name="T66" fmla="*/ 882 w 1253"/>
                <a:gd name="T67" fmla="*/ 741 h 764"/>
                <a:gd name="T68" fmla="*/ 758 w 1253"/>
                <a:gd name="T69" fmla="*/ 758 h 764"/>
                <a:gd name="T70" fmla="*/ 627 w 1253"/>
                <a:gd name="T71" fmla="*/ 764 h 764"/>
                <a:gd name="T72" fmla="*/ 496 w 1253"/>
                <a:gd name="T73" fmla="*/ 758 h 764"/>
                <a:gd name="T74" fmla="*/ 372 w 1253"/>
                <a:gd name="T75" fmla="*/ 741 h 764"/>
                <a:gd name="T76" fmla="*/ 258 w 1253"/>
                <a:gd name="T77" fmla="*/ 712 h 764"/>
                <a:gd name="T78" fmla="*/ 157 w 1253"/>
                <a:gd name="T79" fmla="*/ 672 h 764"/>
                <a:gd name="T80" fmla="*/ 76 w 1253"/>
                <a:gd name="T81" fmla="*/ 625 h 764"/>
                <a:gd name="T82" fmla="*/ 19 w 1253"/>
                <a:gd name="T83" fmla="*/ 574 h 764"/>
                <a:gd name="T84" fmla="*/ 3 w 1253"/>
                <a:gd name="T85" fmla="*/ 545 h 764"/>
                <a:gd name="T86" fmla="*/ 18 w 1253"/>
                <a:gd name="T87" fmla="*/ 409 h 764"/>
                <a:gd name="T88" fmla="*/ 40 w 1253"/>
                <a:gd name="T89" fmla="*/ 296 h 764"/>
                <a:gd name="T90" fmla="*/ 67 w 1253"/>
                <a:gd name="T91" fmla="*/ 204 h 764"/>
                <a:gd name="T92" fmla="*/ 97 w 1253"/>
                <a:gd name="T93" fmla="*/ 132 h 764"/>
                <a:gd name="T94" fmla="*/ 133 w 1253"/>
                <a:gd name="T95" fmla="*/ 78 h 764"/>
                <a:gd name="T96" fmla="*/ 171 w 1253"/>
                <a:gd name="T97" fmla="*/ 39 h 764"/>
                <a:gd name="T98" fmla="*/ 212 w 1253"/>
                <a:gd name="T99" fmla="*/ 15 h 764"/>
                <a:gd name="T100" fmla="*/ 254 w 1253"/>
                <a:gd name="T101" fmla="*/ 2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253" h="764">
                  <a:moveTo>
                    <a:pt x="277" y="0"/>
                  </a:moveTo>
                  <a:lnTo>
                    <a:pt x="298" y="1"/>
                  </a:lnTo>
                  <a:lnTo>
                    <a:pt x="320" y="3"/>
                  </a:lnTo>
                  <a:lnTo>
                    <a:pt x="342" y="7"/>
                  </a:lnTo>
                  <a:lnTo>
                    <a:pt x="364" y="13"/>
                  </a:lnTo>
                  <a:lnTo>
                    <a:pt x="385" y="21"/>
                  </a:lnTo>
                  <a:lnTo>
                    <a:pt x="407" y="29"/>
                  </a:lnTo>
                  <a:lnTo>
                    <a:pt x="428" y="38"/>
                  </a:lnTo>
                  <a:lnTo>
                    <a:pt x="449" y="48"/>
                  </a:lnTo>
                  <a:lnTo>
                    <a:pt x="468" y="60"/>
                  </a:lnTo>
                  <a:lnTo>
                    <a:pt x="487" y="71"/>
                  </a:lnTo>
                  <a:lnTo>
                    <a:pt x="506" y="81"/>
                  </a:lnTo>
                  <a:lnTo>
                    <a:pt x="524" y="92"/>
                  </a:lnTo>
                  <a:lnTo>
                    <a:pt x="541" y="103"/>
                  </a:lnTo>
                  <a:lnTo>
                    <a:pt x="557" y="113"/>
                  </a:lnTo>
                  <a:lnTo>
                    <a:pt x="571" y="122"/>
                  </a:lnTo>
                  <a:lnTo>
                    <a:pt x="586" y="129"/>
                  </a:lnTo>
                  <a:lnTo>
                    <a:pt x="598" y="136"/>
                  </a:lnTo>
                  <a:lnTo>
                    <a:pt x="608" y="141"/>
                  </a:lnTo>
                  <a:lnTo>
                    <a:pt x="619" y="144"/>
                  </a:lnTo>
                  <a:lnTo>
                    <a:pt x="627" y="145"/>
                  </a:lnTo>
                  <a:lnTo>
                    <a:pt x="635" y="144"/>
                  </a:lnTo>
                  <a:lnTo>
                    <a:pt x="644" y="141"/>
                  </a:lnTo>
                  <a:lnTo>
                    <a:pt x="655" y="136"/>
                  </a:lnTo>
                  <a:lnTo>
                    <a:pt x="668" y="129"/>
                  </a:lnTo>
                  <a:lnTo>
                    <a:pt x="682" y="122"/>
                  </a:lnTo>
                  <a:lnTo>
                    <a:pt x="696" y="113"/>
                  </a:lnTo>
                  <a:lnTo>
                    <a:pt x="713" y="103"/>
                  </a:lnTo>
                  <a:lnTo>
                    <a:pt x="729" y="92"/>
                  </a:lnTo>
                  <a:lnTo>
                    <a:pt x="748" y="81"/>
                  </a:lnTo>
                  <a:lnTo>
                    <a:pt x="766" y="71"/>
                  </a:lnTo>
                  <a:lnTo>
                    <a:pt x="786" y="60"/>
                  </a:lnTo>
                  <a:lnTo>
                    <a:pt x="805" y="48"/>
                  </a:lnTo>
                  <a:lnTo>
                    <a:pt x="825" y="38"/>
                  </a:lnTo>
                  <a:lnTo>
                    <a:pt x="847" y="29"/>
                  </a:lnTo>
                  <a:lnTo>
                    <a:pt x="869" y="21"/>
                  </a:lnTo>
                  <a:lnTo>
                    <a:pt x="890" y="13"/>
                  </a:lnTo>
                  <a:lnTo>
                    <a:pt x="912" y="7"/>
                  </a:lnTo>
                  <a:lnTo>
                    <a:pt x="933" y="3"/>
                  </a:lnTo>
                  <a:lnTo>
                    <a:pt x="956" y="1"/>
                  </a:lnTo>
                  <a:lnTo>
                    <a:pt x="977" y="0"/>
                  </a:lnTo>
                  <a:lnTo>
                    <a:pt x="999" y="2"/>
                  </a:lnTo>
                  <a:lnTo>
                    <a:pt x="1020" y="7"/>
                  </a:lnTo>
                  <a:lnTo>
                    <a:pt x="1042" y="15"/>
                  </a:lnTo>
                  <a:lnTo>
                    <a:pt x="1062" y="26"/>
                  </a:lnTo>
                  <a:lnTo>
                    <a:pt x="1083" y="39"/>
                  </a:lnTo>
                  <a:lnTo>
                    <a:pt x="1102" y="57"/>
                  </a:lnTo>
                  <a:lnTo>
                    <a:pt x="1120" y="78"/>
                  </a:lnTo>
                  <a:lnTo>
                    <a:pt x="1139" y="103"/>
                  </a:lnTo>
                  <a:lnTo>
                    <a:pt x="1155" y="132"/>
                  </a:lnTo>
                  <a:lnTo>
                    <a:pt x="1172" y="166"/>
                  </a:lnTo>
                  <a:lnTo>
                    <a:pt x="1187" y="204"/>
                  </a:lnTo>
                  <a:lnTo>
                    <a:pt x="1201" y="248"/>
                  </a:lnTo>
                  <a:lnTo>
                    <a:pt x="1214" y="296"/>
                  </a:lnTo>
                  <a:lnTo>
                    <a:pt x="1225" y="349"/>
                  </a:lnTo>
                  <a:lnTo>
                    <a:pt x="1235" y="409"/>
                  </a:lnTo>
                  <a:lnTo>
                    <a:pt x="1243" y="474"/>
                  </a:lnTo>
                  <a:lnTo>
                    <a:pt x="1251" y="545"/>
                  </a:lnTo>
                  <a:lnTo>
                    <a:pt x="1253" y="546"/>
                  </a:lnTo>
                  <a:lnTo>
                    <a:pt x="1234" y="574"/>
                  </a:lnTo>
                  <a:lnTo>
                    <a:pt x="1209" y="600"/>
                  </a:lnTo>
                  <a:lnTo>
                    <a:pt x="1178" y="625"/>
                  </a:lnTo>
                  <a:lnTo>
                    <a:pt x="1140" y="650"/>
                  </a:lnTo>
                  <a:lnTo>
                    <a:pt x="1097" y="672"/>
                  </a:lnTo>
                  <a:lnTo>
                    <a:pt x="1048" y="694"/>
                  </a:lnTo>
                  <a:lnTo>
                    <a:pt x="996" y="712"/>
                  </a:lnTo>
                  <a:lnTo>
                    <a:pt x="940" y="727"/>
                  </a:lnTo>
                  <a:lnTo>
                    <a:pt x="882" y="741"/>
                  </a:lnTo>
                  <a:lnTo>
                    <a:pt x="820" y="751"/>
                  </a:lnTo>
                  <a:lnTo>
                    <a:pt x="758" y="758"/>
                  </a:lnTo>
                  <a:lnTo>
                    <a:pt x="693" y="763"/>
                  </a:lnTo>
                  <a:lnTo>
                    <a:pt x="627" y="764"/>
                  </a:lnTo>
                  <a:lnTo>
                    <a:pt x="560" y="763"/>
                  </a:lnTo>
                  <a:lnTo>
                    <a:pt x="496" y="758"/>
                  </a:lnTo>
                  <a:lnTo>
                    <a:pt x="432" y="751"/>
                  </a:lnTo>
                  <a:lnTo>
                    <a:pt x="372" y="741"/>
                  </a:lnTo>
                  <a:lnTo>
                    <a:pt x="313" y="727"/>
                  </a:lnTo>
                  <a:lnTo>
                    <a:pt x="258" y="712"/>
                  </a:lnTo>
                  <a:lnTo>
                    <a:pt x="206" y="694"/>
                  </a:lnTo>
                  <a:lnTo>
                    <a:pt x="157" y="672"/>
                  </a:lnTo>
                  <a:lnTo>
                    <a:pt x="114" y="650"/>
                  </a:lnTo>
                  <a:lnTo>
                    <a:pt x="76" y="625"/>
                  </a:lnTo>
                  <a:lnTo>
                    <a:pt x="44" y="600"/>
                  </a:lnTo>
                  <a:lnTo>
                    <a:pt x="19" y="574"/>
                  </a:lnTo>
                  <a:lnTo>
                    <a:pt x="0" y="546"/>
                  </a:lnTo>
                  <a:lnTo>
                    <a:pt x="3" y="545"/>
                  </a:lnTo>
                  <a:lnTo>
                    <a:pt x="9" y="474"/>
                  </a:lnTo>
                  <a:lnTo>
                    <a:pt x="18" y="409"/>
                  </a:lnTo>
                  <a:lnTo>
                    <a:pt x="29" y="349"/>
                  </a:lnTo>
                  <a:lnTo>
                    <a:pt x="40" y="296"/>
                  </a:lnTo>
                  <a:lnTo>
                    <a:pt x="52" y="248"/>
                  </a:lnTo>
                  <a:lnTo>
                    <a:pt x="67" y="204"/>
                  </a:lnTo>
                  <a:lnTo>
                    <a:pt x="82" y="166"/>
                  </a:lnTo>
                  <a:lnTo>
                    <a:pt x="97" y="132"/>
                  </a:lnTo>
                  <a:lnTo>
                    <a:pt x="115" y="103"/>
                  </a:lnTo>
                  <a:lnTo>
                    <a:pt x="133" y="78"/>
                  </a:lnTo>
                  <a:lnTo>
                    <a:pt x="152" y="57"/>
                  </a:lnTo>
                  <a:lnTo>
                    <a:pt x="171" y="39"/>
                  </a:lnTo>
                  <a:lnTo>
                    <a:pt x="191" y="26"/>
                  </a:lnTo>
                  <a:lnTo>
                    <a:pt x="212" y="15"/>
                  </a:lnTo>
                  <a:lnTo>
                    <a:pt x="233" y="7"/>
                  </a:lnTo>
                  <a:lnTo>
                    <a:pt x="254" y="2"/>
                  </a:lnTo>
                  <a:lnTo>
                    <a:pt x="27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 Light" panose="020F0302020204030204"/>
              </a:endParaRPr>
            </a:p>
          </p:txBody>
        </p:sp>
        <p:sp>
          <p:nvSpPr>
            <p:cNvPr id="63" name="Freeform 62"/>
            <p:cNvSpPr>
              <a:spLocks/>
            </p:cNvSpPr>
            <p:nvPr/>
          </p:nvSpPr>
          <p:spPr bwMode="auto">
            <a:xfrm>
              <a:off x="2527" y="3425"/>
              <a:ext cx="190" cy="138"/>
            </a:xfrm>
            <a:custGeom>
              <a:avLst/>
              <a:gdLst>
                <a:gd name="T0" fmla="*/ 246 w 1905"/>
                <a:gd name="T1" fmla="*/ 34 h 1378"/>
                <a:gd name="T2" fmla="*/ 305 w 1905"/>
                <a:gd name="T3" fmla="*/ 100 h 1378"/>
                <a:gd name="T4" fmla="*/ 387 w 1905"/>
                <a:gd name="T5" fmla="*/ 157 h 1378"/>
                <a:gd name="T6" fmla="*/ 491 w 1905"/>
                <a:gd name="T7" fmla="*/ 206 h 1378"/>
                <a:gd name="T8" fmla="*/ 610 w 1905"/>
                <a:gd name="T9" fmla="*/ 244 h 1378"/>
                <a:gd name="T10" fmla="*/ 741 w 1905"/>
                <a:gd name="T11" fmla="*/ 270 h 1378"/>
                <a:gd name="T12" fmla="*/ 880 w 1905"/>
                <a:gd name="T13" fmla="*/ 283 h 1378"/>
                <a:gd name="T14" fmla="*/ 1024 w 1905"/>
                <a:gd name="T15" fmla="*/ 283 h 1378"/>
                <a:gd name="T16" fmla="*/ 1165 w 1905"/>
                <a:gd name="T17" fmla="*/ 270 h 1378"/>
                <a:gd name="T18" fmla="*/ 1296 w 1905"/>
                <a:gd name="T19" fmla="*/ 244 h 1378"/>
                <a:gd name="T20" fmla="*/ 1415 w 1905"/>
                <a:gd name="T21" fmla="*/ 206 h 1378"/>
                <a:gd name="T22" fmla="*/ 1518 w 1905"/>
                <a:gd name="T23" fmla="*/ 157 h 1378"/>
                <a:gd name="T24" fmla="*/ 1600 w 1905"/>
                <a:gd name="T25" fmla="*/ 100 h 1378"/>
                <a:gd name="T26" fmla="*/ 1658 w 1905"/>
                <a:gd name="T27" fmla="*/ 34 h 1378"/>
                <a:gd name="T28" fmla="*/ 1724 w 1905"/>
                <a:gd name="T29" fmla="*/ 23 h 1378"/>
                <a:gd name="T30" fmla="*/ 1800 w 1905"/>
                <a:gd name="T31" fmla="*/ 72 h 1378"/>
                <a:gd name="T32" fmla="*/ 1857 w 1905"/>
                <a:gd name="T33" fmla="*/ 126 h 1378"/>
                <a:gd name="T34" fmla="*/ 1893 w 1905"/>
                <a:gd name="T35" fmla="*/ 184 h 1378"/>
                <a:gd name="T36" fmla="*/ 1905 w 1905"/>
                <a:gd name="T37" fmla="*/ 245 h 1378"/>
                <a:gd name="T38" fmla="*/ 1892 w 1905"/>
                <a:gd name="T39" fmla="*/ 306 h 1378"/>
                <a:gd name="T40" fmla="*/ 1856 w 1905"/>
                <a:gd name="T41" fmla="*/ 365 h 1378"/>
                <a:gd name="T42" fmla="*/ 1798 w 1905"/>
                <a:gd name="T43" fmla="*/ 420 h 1378"/>
                <a:gd name="T44" fmla="*/ 1720 w 1905"/>
                <a:gd name="T45" fmla="*/ 469 h 1378"/>
                <a:gd name="T46" fmla="*/ 1624 w 1905"/>
                <a:gd name="T47" fmla="*/ 514 h 1378"/>
                <a:gd name="T48" fmla="*/ 1606 w 1905"/>
                <a:gd name="T49" fmla="*/ 678 h 1378"/>
                <a:gd name="T50" fmla="*/ 1572 w 1905"/>
                <a:gd name="T51" fmla="*/ 827 h 1378"/>
                <a:gd name="T52" fmla="*/ 1525 w 1905"/>
                <a:gd name="T53" fmla="*/ 959 h 1378"/>
                <a:gd name="T54" fmla="*/ 1465 w 1905"/>
                <a:gd name="T55" fmla="*/ 1075 h 1378"/>
                <a:gd name="T56" fmla="*/ 1392 w 1905"/>
                <a:gd name="T57" fmla="*/ 1173 h 1378"/>
                <a:gd name="T58" fmla="*/ 1309 w 1905"/>
                <a:gd name="T59" fmla="*/ 1253 h 1378"/>
                <a:gd name="T60" fmla="*/ 1217 w 1905"/>
                <a:gd name="T61" fmla="*/ 1313 h 1378"/>
                <a:gd name="T62" fmla="*/ 1116 w 1905"/>
                <a:gd name="T63" fmla="*/ 1354 h 1378"/>
                <a:gd name="T64" fmla="*/ 1008 w 1905"/>
                <a:gd name="T65" fmla="*/ 1376 h 1378"/>
                <a:gd name="T66" fmla="*/ 896 w 1905"/>
                <a:gd name="T67" fmla="*/ 1376 h 1378"/>
                <a:gd name="T68" fmla="*/ 789 w 1905"/>
                <a:gd name="T69" fmla="*/ 1354 h 1378"/>
                <a:gd name="T70" fmla="*/ 689 w 1905"/>
                <a:gd name="T71" fmla="*/ 1313 h 1378"/>
                <a:gd name="T72" fmla="*/ 596 w 1905"/>
                <a:gd name="T73" fmla="*/ 1252 h 1378"/>
                <a:gd name="T74" fmla="*/ 512 w 1905"/>
                <a:gd name="T75" fmla="*/ 1173 h 1378"/>
                <a:gd name="T76" fmla="*/ 441 w 1905"/>
                <a:gd name="T77" fmla="*/ 1075 h 1378"/>
                <a:gd name="T78" fmla="*/ 379 w 1905"/>
                <a:gd name="T79" fmla="*/ 959 h 1378"/>
                <a:gd name="T80" fmla="*/ 332 w 1905"/>
                <a:gd name="T81" fmla="*/ 827 h 1378"/>
                <a:gd name="T82" fmla="*/ 299 w 1905"/>
                <a:gd name="T83" fmla="*/ 678 h 1378"/>
                <a:gd name="T84" fmla="*/ 281 w 1905"/>
                <a:gd name="T85" fmla="*/ 513 h 1378"/>
                <a:gd name="T86" fmla="*/ 186 w 1905"/>
                <a:gd name="T87" fmla="*/ 469 h 1378"/>
                <a:gd name="T88" fmla="*/ 108 w 1905"/>
                <a:gd name="T89" fmla="*/ 420 h 1378"/>
                <a:gd name="T90" fmla="*/ 49 w 1905"/>
                <a:gd name="T91" fmla="*/ 365 h 1378"/>
                <a:gd name="T92" fmla="*/ 13 w 1905"/>
                <a:gd name="T93" fmla="*/ 306 h 1378"/>
                <a:gd name="T94" fmla="*/ 0 w 1905"/>
                <a:gd name="T95" fmla="*/ 245 h 1378"/>
                <a:gd name="T96" fmla="*/ 13 w 1905"/>
                <a:gd name="T97" fmla="*/ 184 h 1378"/>
                <a:gd name="T98" fmla="*/ 48 w 1905"/>
                <a:gd name="T99" fmla="*/ 126 h 1378"/>
                <a:gd name="T100" fmla="*/ 105 w 1905"/>
                <a:gd name="T101" fmla="*/ 72 h 1378"/>
                <a:gd name="T102" fmla="*/ 182 w 1905"/>
                <a:gd name="T103" fmla="*/ 23 h 1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905" h="1378">
                  <a:moveTo>
                    <a:pt x="226" y="0"/>
                  </a:moveTo>
                  <a:lnTo>
                    <a:pt x="246" y="34"/>
                  </a:lnTo>
                  <a:lnTo>
                    <a:pt x="273" y="68"/>
                  </a:lnTo>
                  <a:lnTo>
                    <a:pt x="305" y="100"/>
                  </a:lnTo>
                  <a:lnTo>
                    <a:pt x="343" y="129"/>
                  </a:lnTo>
                  <a:lnTo>
                    <a:pt x="387" y="157"/>
                  </a:lnTo>
                  <a:lnTo>
                    <a:pt x="437" y="182"/>
                  </a:lnTo>
                  <a:lnTo>
                    <a:pt x="491" y="206"/>
                  </a:lnTo>
                  <a:lnTo>
                    <a:pt x="548" y="227"/>
                  </a:lnTo>
                  <a:lnTo>
                    <a:pt x="610" y="244"/>
                  </a:lnTo>
                  <a:lnTo>
                    <a:pt x="674" y="258"/>
                  </a:lnTo>
                  <a:lnTo>
                    <a:pt x="741" y="270"/>
                  </a:lnTo>
                  <a:lnTo>
                    <a:pt x="809" y="278"/>
                  </a:lnTo>
                  <a:lnTo>
                    <a:pt x="880" y="283"/>
                  </a:lnTo>
                  <a:lnTo>
                    <a:pt x="953" y="285"/>
                  </a:lnTo>
                  <a:lnTo>
                    <a:pt x="1024" y="283"/>
                  </a:lnTo>
                  <a:lnTo>
                    <a:pt x="1095" y="278"/>
                  </a:lnTo>
                  <a:lnTo>
                    <a:pt x="1165" y="270"/>
                  </a:lnTo>
                  <a:lnTo>
                    <a:pt x="1231" y="258"/>
                  </a:lnTo>
                  <a:lnTo>
                    <a:pt x="1296" y="244"/>
                  </a:lnTo>
                  <a:lnTo>
                    <a:pt x="1356" y="227"/>
                  </a:lnTo>
                  <a:lnTo>
                    <a:pt x="1415" y="206"/>
                  </a:lnTo>
                  <a:lnTo>
                    <a:pt x="1468" y="182"/>
                  </a:lnTo>
                  <a:lnTo>
                    <a:pt x="1518" y="157"/>
                  </a:lnTo>
                  <a:lnTo>
                    <a:pt x="1561" y="129"/>
                  </a:lnTo>
                  <a:lnTo>
                    <a:pt x="1600" y="100"/>
                  </a:lnTo>
                  <a:lnTo>
                    <a:pt x="1632" y="68"/>
                  </a:lnTo>
                  <a:lnTo>
                    <a:pt x="1658" y="34"/>
                  </a:lnTo>
                  <a:lnTo>
                    <a:pt x="1679" y="0"/>
                  </a:lnTo>
                  <a:lnTo>
                    <a:pt x="1724" y="23"/>
                  </a:lnTo>
                  <a:lnTo>
                    <a:pt x="1765" y="46"/>
                  </a:lnTo>
                  <a:lnTo>
                    <a:pt x="1800" y="72"/>
                  </a:lnTo>
                  <a:lnTo>
                    <a:pt x="1832" y="98"/>
                  </a:lnTo>
                  <a:lnTo>
                    <a:pt x="1857" y="126"/>
                  </a:lnTo>
                  <a:lnTo>
                    <a:pt x="1878" y="155"/>
                  </a:lnTo>
                  <a:lnTo>
                    <a:pt x="1893" y="184"/>
                  </a:lnTo>
                  <a:lnTo>
                    <a:pt x="1902" y="214"/>
                  </a:lnTo>
                  <a:lnTo>
                    <a:pt x="1905" y="245"/>
                  </a:lnTo>
                  <a:lnTo>
                    <a:pt x="1902" y="276"/>
                  </a:lnTo>
                  <a:lnTo>
                    <a:pt x="1892" y="306"/>
                  </a:lnTo>
                  <a:lnTo>
                    <a:pt x="1877" y="336"/>
                  </a:lnTo>
                  <a:lnTo>
                    <a:pt x="1856" y="365"/>
                  </a:lnTo>
                  <a:lnTo>
                    <a:pt x="1830" y="394"/>
                  </a:lnTo>
                  <a:lnTo>
                    <a:pt x="1798" y="420"/>
                  </a:lnTo>
                  <a:lnTo>
                    <a:pt x="1761" y="446"/>
                  </a:lnTo>
                  <a:lnTo>
                    <a:pt x="1720" y="469"/>
                  </a:lnTo>
                  <a:lnTo>
                    <a:pt x="1674" y="493"/>
                  </a:lnTo>
                  <a:lnTo>
                    <a:pt x="1624" y="514"/>
                  </a:lnTo>
                  <a:lnTo>
                    <a:pt x="1617" y="598"/>
                  </a:lnTo>
                  <a:lnTo>
                    <a:pt x="1606" y="678"/>
                  </a:lnTo>
                  <a:lnTo>
                    <a:pt x="1591" y="754"/>
                  </a:lnTo>
                  <a:lnTo>
                    <a:pt x="1572" y="827"/>
                  </a:lnTo>
                  <a:lnTo>
                    <a:pt x="1551" y="895"/>
                  </a:lnTo>
                  <a:lnTo>
                    <a:pt x="1525" y="959"/>
                  </a:lnTo>
                  <a:lnTo>
                    <a:pt x="1497" y="1019"/>
                  </a:lnTo>
                  <a:lnTo>
                    <a:pt x="1465" y="1075"/>
                  </a:lnTo>
                  <a:lnTo>
                    <a:pt x="1430" y="1126"/>
                  </a:lnTo>
                  <a:lnTo>
                    <a:pt x="1392" y="1173"/>
                  </a:lnTo>
                  <a:lnTo>
                    <a:pt x="1352" y="1215"/>
                  </a:lnTo>
                  <a:lnTo>
                    <a:pt x="1309" y="1253"/>
                  </a:lnTo>
                  <a:lnTo>
                    <a:pt x="1264" y="1286"/>
                  </a:lnTo>
                  <a:lnTo>
                    <a:pt x="1217" y="1313"/>
                  </a:lnTo>
                  <a:lnTo>
                    <a:pt x="1167" y="1336"/>
                  </a:lnTo>
                  <a:lnTo>
                    <a:pt x="1116" y="1354"/>
                  </a:lnTo>
                  <a:lnTo>
                    <a:pt x="1063" y="1368"/>
                  </a:lnTo>
                  <a:lnTo>
                    <a:pt x="1008" y="1376"/>
                  </a:lnTo>
                  <a:lnTo>
                    <a:pt x="953" y="1378"/>
                  </a:lnTo>
                  <a:lnTo>
                    <a:pt x="896" y="1376"/>
                  </a:lnTo>
                  <a:lnTo>
                    <a:pt x="842" y="1368"/>
                  </a:lnTo>
                  <a:lnTo>
                    <a:pt x="789" y="1354"/>
                  </a:lnTo>
                  <a:lnTo>
                    <a:pt x="738" y="1336"/>
                  </a:lnTo>
                  <a:lnTo>
                    <a:pt x="689" y="1313"/>
                  </a:lnTo>
                  <a:lnTo>
                    <a:pt x="641" y="1286"/>
                  </a:lnTo>
                  <a:lnTo>
                    <a:pt x="596" y="1252"/>
                  </a:lnTo>
                  <a:lnTo>
                    <a:pt x="553" y="1215"/>
                  </a:lnTo>
                  <a:lnTo>
                    <a:pt x="512" y="1173"/>
                  </a:lnTo>
                  <a:lnTo>
                    <a:pt x="475" y="1126"/>
                  </a:lnTo>
                  <a:lnTo>
                    <a:pt x="441" y="1075"/>
                  </a:lnTo>
                  <a:lnTo>
                    <a:pt x="409" y="1019"/>
                  </a:lnTo>
                  <a:lnTo>
                    <a:pt x="379" y="959"/>
                  </a:lnTo>
                  <a:lnTo>
                    <a:pt x="355" y="895"/>
                  </a:lnTo>
                  <a:lnTo>
                    <a:pt x="332" y="827"/>
                  </a:lnTo>
                  <a:lnTo>
                    <a:pt x="314" y="754"/>
                  </a:lnTo>
                  <a:lnTo>
                    <a:pt x="299" y="678"/>
                  </a:lnTo>
                  <a:lnTo>
                    <a:pt x="288" y="597"/>
                  </a:lnTo>
                  <a:lnTo>
                    <a:pt x="281" y="513"/>
                  </a:lnTo>
                  <a:lnTo>
                    <a:pt x="232" y="493"/>
                  </a:lnTo>
                  <a:lnTo>
                    <a:pt x="186" y="469"/>
                  </a:lnTo>
                  <a:lnTo>
                    <a:pt x="144" y="446"/>
                  </a:lnTo>
                  <a:lnTo>
                    <a:pt x="108" y="420"/>
                  </a:lnTo>
                  <a:lnTo>
                    <a:pt x="76" y="392"/>
                  </a:lnTo>
                  <a:lnTo>
                    <a:pt x="49" y="365"/>
                  </a:lnTo>
                  <a:lnTo>
                    <a:pt x="28" y="336"/>
                  </a:lnTo>
                  <a:lnTo>
                    <a:pt x="13" y="306"/>
                  </a:lnTo>
                  <a:lnTo>
                    <a:pt x="3" y="276"/>
                  </a:lnTo>
                  <a:lnTo>
                    <a:pt x="0" y="245"/>
                  </a:lnTo>
                  <a:lnTo>
                    <a:pt x="3" y="214"/>
                  </a:lnTo>
                  <a:lnTo>
                    <a:pt x="13" y="184"/>
                  </a:lnTo>
                  <a:lnTo>
                    <a:pt x="28" y="155"/>
                  </a:lnTo>
                  <a:lnTo>
                    <a:pt x="48" y="126"/>
                  </a:lnTo>
                  <a:lnTo>
                    <a:pt x="74" y="98"/>
                  </a:lnTo>
                  <a:lnTo>
                    <a:pt x="105" y="72"/>
                  </a:lnTo>
                  <a:lnTo>
                    <a:pt x="141" y="46"/>
                  </a:lnTo>
                  <a:lnTo>
                    <a:pt x="182" y="23"/>
                  </a:lnTo>
                  <a:lnTo>
                    <a:pt x="2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 Light" panose="020F0302020204030204"/>
              </a:endParaRPr>
            </a:p>
          </p:txBody>
        </p:sp>
        <p:sp>
          <p:nvSpPr>
            <p:cNvPr id="64" name="Freeform 63"/>
            <p:cNvSpPr>
              <a:spLocks noEditPoints="1"/>
            </p:cNvSpPr>
            <p:nvPr/>
          </p:nvSpPr>
          <p:spPr bwMode="auto">
            <a:xfrm>
              <a:off x="2671" y="3536"/>
              <a:ext cx="145" cy="165"/>
            </a:xfrm>
            <a:custGeom>
              <a:avLst/>
              <a:gdLst>
                <a:gd name="T0" fmla="*/ 803 w 1455"/>
                <a:gd name="T1" fmla="*/ 176 h 1648"/>
                <a:gd name="T2" fmla="*/ 683 w 1455"/>
                <a:gd name="T3" fmla="*/ 226 h 1648"/>
                <a:gd name="T4" fmla="*/ 581 w 1455"/>
                <a:gd name="T5" fmla="*/ 317 h 1648"/>
                <a:gd name="T6" fmla="*/ 517 w 1455"/>
                <a:gd name="T7" fmla="*/ 436 h 1648"/>
                <a:gd name="T8" fmla="*/ 496 w 1455"/>
                <a:gd name="T9" fmla="*/ 565 h 1648"/>
                <a:gd name="T10" fmla="*/ 519 w 1455"/>
                <a:gd name="T11" fmla="*/ 693 h 1648"/>
                <a:gd name="T12" fmla="*/ 582 w 1455"/>
                <a:gd name="T13" fmla="*/ 808 h 1648"/>
                <a:gd name="T14" fmla="*/ 685 w 1455"/>
                <a:gd name="T15" fmla="*/ 899 h 1648"/>
                <a:gd name="T16" fmla="*/ 809 w 1455"/>
                <a:gd name="T17" fmla="*/ 948 h 1648"/>
                <a:gd name="T18" fmla="*/ 939 w 1455"/>
                <a:gd name="T19" fmla="*/ 954 h 1648"/>
                <a:gd name="T20" fmla="*/ 1064 w 1455"/>
                <a:gd name="T21" fmla="*/ 918 h 1648"/>
                <a:gd name="T22" fmla="*/ 1172 w 1455"/>
                <a:gd name="T23" fmla="*/ 842 h 1648"/>
                <a:gd name="T24" fmla="*/ 1251 w 1455"/>
                <a:gd name="T25" fmla="*/ 729 h 1648"/>
                <a:gd name="T26" fmla="*/ 1286 w 1455"/>
                <a:gd name="T27" fmla="*/ 602 h 1648"/>
                <a:gd name="T28" fmla="*/ 1278 w 1455"/>
                <a:gd name="T29" fmla="*/ 473 h 1648"/>
                <a:gd name="T30" fmla="*/ 1227 w 1455"/>
                <a:gd name="T31" fmla="*/ 352 h 1648"/>
                <a:gd name="T32" fmla="*/ 1137 w 1455"/>
                <a:gd name="T33" fmla="*/ 250 h 1648"/>
                <a:gd name="T34" fmla="*/ 1019 w 1455"/>
                <a:gd name="T35" fmla="*/ 186 h 1648"/>
                <a:gd name="T36" fmla="*/ 889 w 1455"/>
                <a:gd name="T37" fmla="*/ 166 h 1648"/>
                <a:gd name="T38" fmla="*/ 1004 w 1455"/>
                <a:gd name="T39" fmla="*/ 11 h 1648"/>
                <a:gd name="T40" fmla="*/ 1151 w 1455"/>
                <a:gd name="T41" fmla="*/ 62 h 1648"/>
                <a:gd name="T42" fmla="*/ 1282 w 1455"/>
                <a:gd name="T43" fmla="*/ 155 h 1648"/>
                <a:gd name="T44" fmla="*/ 1378 w 1455"/>
                <a:gd name="T45" fmla="*/ 279 h 1648"/>
                <a:gd name="T46" fmla="*/ 1436 w 1455"/>
                <a:gd name="T47" fmla="*/ 421 h 1648"/>
                <a:gd name="T48" fmla="*/ 1455 w 1455"/>
                <a:gd name="T49" fmla="*/ 572 h 1648"/>
                <a:gd name="T50" fmla="*/ 1431 w 1455"/>
                <a:gd name="T51" fmla="*/ 724 h 1648"/>
                <a:gd name="T52" fmla="*/ 1366 w 1455"/>
                <a:gd name="T53" fmla="*/ 866 h 1648"/>
                <a:gd name="T54" fmla="*/ 1261 w 1455"/>
                <a:gd name="T55" fmla="*/ 986 h 1648"/>
                <a:gd name="T56" fmla="*/ 1134 w 1455"/>
                <a:gd name="T57" fmla="*/ 1069 h 1648"/>
                <a:gd name="T58" fmla="*/ 993 w 1455"/>
                <a:gd name="T59" fmla="*/ 1115 h 1648"/>
                <a:gd name="T60" fmla="*/ 844 w 1455"/>
                <a:gd name="T61" fmla="*/ 1122 h 1648"/>
                <a:gd name="T62" fmla="*/ 698 w 1455"/>
                <a:gd name="T63" fmla="*/ 1089 h 1648"/>
                <a:gd name="T64" fmla="*/ 569 w 1455"/>
                <a:gd name="T65" fmla="*/ 1201 h 1648"/>
                <a:gd name="T66" fmla="*/ 535 w 1455"/>
                <a:gd name="T67" fmla="*/ 1284 h 1648"/>
                <a:gd name="T68" fmla="*/ 253 w 1455"/>
                <a:gd name="T69" fmla="*/ 1624 h 1648"/>
                <a:gd name="T70" fmla="*/ 172 w 1455"/>
                <a:gd name="T71" fmla="*/ 1648 h 1648"/>
                <a:gd name="T72" fmla="*/ 88 w 1455"/>
                <a:gd name="T73" fmla="*/ 1629 h 1648"/>
                <a:gd name="T74" fmla="*/ 24 w 1455"/>
                <a:gd name="T75" fmla="*/ 1568 h 1648"/>
                <a:gd name="T76" fmla="*/ 0 w 1455"/>
                <a:gd name="T77" fmla="*/ 1487 h 1648"/>
                <a:gd name="T78" fmla="*/ 20 w 1455"/>
                <a:gd name="T79" fmla="*/ 1404 h 1648"/>
                <a:gd name="T80" fmla="*/ 290 w 1455"/>
                <a:gd name="T81" fmla="*/ 1060 h 1648"/>
                <a:gd name="T82" fmla="*/ 351 w 1455"/>
                <a:gd name="T83" fmla="*/ 1023 h 1648"/>
                <a:gd name="T84" fmla="*/ 422 w 1455"/>
                <a:gd name="T85" fmla="*/ 871 h 1648"/>
                <a:gd name="T86" fmla="*/ 355 w 1455"/>
                <a:gd name="T87" fmla="*/ 725 h 1648"/>
                <a:gd name="T88" fmla="*/ 330 w 1455"/>
                <a:gd name="T89" fmla="*/ 568 h 1648"/>
                <a:gd name="T90" fmla="*/ 351 w 1455"/>
                <a:gd name="T91" fmla="*/ 409 h 1648"/>
                <a:gd name="T92" fmla="*/ 418 w 1455"/>
                <a:gd name="T93" fmla="*/ 260 h 1648"/>
                <a:gd name="T94" fmla="*/ 525 w 1455"/>
                <a:gd name="T95" fmla="*/ 136 h 1648"/>
                <a:gd name="T96" fmla="*/ 655 w 1455"/>
                <a:gd name="T97" fmla="*/ 52 h 1648"/>
                <a:gd name="T98" fmla="*/ 801 w 1455"/>
                <a:gd name="T99" fmla="*/ 7 h 1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455" h="1648">
                  <a:moveTo>
                    <a:pt x="889" y="166"/>
                  </a:moveTo>
                  <a:lnTo>
                    <a:pt x="845" y="169"/>
                  </a:lnTo>
                  <a:lnTo>
                    <a:pt x="803" y="176"/>
                  </a:lnTo>
                  <a:lnTo>
                    <a:pt x="761" y="188"/>
                  </a:lnTo>
                  <a:lnTo>
                    <a:pt x="720" y="205"/>
                  </a:lnTo>
                  <a:lnTo>
                    <a:pt x="683" y="226"/>
                  </a:lnTo>
                  <a:lnTo>
                    <a:pt x="646" y="252"/>
                  </a:lnTo>
                  <a:lnTo>
                    <a:pt x="612" y="282"/>
                  </a:lnTo>
                  <a:lnTo>
                    <a:pt x="581" y="317"/>
                  </a:lnTo>
                  <a:lnTo>
                    <a:pt x="556" y="354"/>
                  </a:lnTo>
                  <a:lnTo>
                    <a:pt x="534" y="394"/>
                  </a:lnTo>
                  <a:lnTo>
                    <a:pt x="517" y="436"/>
                  </a:lnTo>
                  <a:lnTo>
                    <a:pt x="505" y="478"/>
                  </a:lnTo>
                  <a:lnTo>
                    <a:pt x="498" y="521"/>
                  </a:lnTo>
                  <a:lnTo>
                    <a:pt x="496" y="565"/>
                  </a:lnTo>
                  <a:lnTo>
                    <a:pt x="499" y="608"/>
                  </a:lnTo>
                  <a:lnTo>
                    <a:pt x="506" y="651"/>
                  </a:lnTo>
                  <a:lnTo>
                    <a:pt x="519" y="693"/>
                  </a:lnTo>
                  <a:lnTo>
                    <a:pt x="535" y="733"/>
                  </a:lnTo>
                  <a:lnTo>
                    <a:pt x="557" y="772"/>
                  </a:lnTo>
                  <a:lnTo>
                    <a:pt x="582" y="808"/>
                  </a:lnTo>
                  <a:lnTo>
                    <a:pt x="613" y="842"/>
                  </a:lnTo>
                  <a:lnTo>
                    <a:pt x="647" y="872"/>
                  </a:lnTo>
                  <a:lnTo>
                    <a:pt x="685" y="899"/>
                  </a:lnTo>
                  <a:lnTo>
                    <a:pt x="725" y="920"/>
                  </a:lnTo>
                  <a:lnTo>
                    <a:pt x="767" y="937"/>
                  </a:lnTo>
                  <a:lnTo>
                    <a:pt x="809" y="948"/>
                  </a:lnTo>
                  <a:lnTo>
                    <a:pt x="852" y="955"/>
                  </a:lnTo>
                  <a:lnTo>
                    <a:pt x="896" y="957"/>
                  </a:lnTo>
                  <a:lnTo>
                    <a:pt x="939" y="954"/>
                  </a:lnTo>
                  <a:lnTo>
                    <a:pt x="982" y="947"/>
                  </a:lnTo>
                  <a:lnTo>
                    <a:pt x="1024" y="935"/>
                  </a:lnTo>
                  <a:lnTo>
                    <a:pt x="1064" y="918"/>
                  </a:lnTo>
                  <a:lnTo>
                    <a:pt x="1102" y="897"/>
                  </a:lnTo>
                  <a:lnTo>
                    <a:pt x="1138" y="871"/>
                  </a:lnTo>
                  <a:lnTo>
                    <a:pt x="1172" y="842"/>
                  </a:lnTo>
                  <a:lnTo>
                    <a:pt x="1203" y="807"/>
                  </a:lnTo>
                  <a:lnTo>
                    <a:pt x="1229" y="769"/>
                  </a:lnTo>
                  <a:lnTo>
                    <a:pt x="1251" y="729"/>
                  </a:lnTo>
                  <a:lnTo>
                    <a:pt x="1267" y="688"/>
                  </a:lnTo>
                  <a:lnTo>
                    <a:pt x="1279" y="645"/>
                  </a:lnTo>
                  <a:lnTo>
                    <a:pt x="1286" y="602"/>
                  </a:lnTo>
                  <a:lnTo>
                    <a:pt x="1288" y="559"/>
                  </a:lnTo>
                  <a:lnTo>
                    <a:pt x="1285" y="515"/>
                  </a:lnTo>
                  <a:lnTo>
                    <a:pt x="1278" y="473"/>
                  </a:lnTo>
                  <a:lnTo>
                    <a:pt x="1265" y="431"/>
                  </a:lnTo>
                  <a:lnTo>
                    <a:pt x="1249" y="390"/>
                  </a:lnTo>
                  <a:lnTo>
                    <a:pt x="1227" y="352"/>
                  </a:lnTo>
                  <a:lnTo>
                    <a:pt x="1202" y="315"/>
                  </a:lnTo>
                  <a:lnTo>
                    <a:pt x="1172" y="281"/>
                  </a:lnTo>
                  <a:lnTo>
                    <a:pt x="1137" y="250"/>
                  </a:lnTo>
                  <a:lnTo>
                    <a:pt x="1099" y="225"/>
                  </a:lnTo>
                  <a:lnTo>
                    <a:pt x="1059" y="203"/>
                  </a:lnTo>
                  <a:lnTo>
                    <a:pt x="1019" y="186"/>
                  </a:lnTo>
                  <a:lnTo>
                    <a:pt x="975" y="175"/>
                  </a:lnTo>
                  <a:lnTo>
                    <a:pt x="932" y="169"/>
                  </a:lnTo>
                  <a:lnTo>
                    <a:pt x="889" y="166"/>
                  </a:lnTo>
                  <a:close/>
                  <a:moveTo>
                    <a:pt x="903" y="0"/>
                  </a:moveTo>
                  <a:lnTo>
                    <a:pt x="953" y="3"/>
                  </a:lnTo>
                  <a:lnTo>
                    <a:pt x="1004" y="11"/>
                  </a:lnTo>
                  <a:lnTo>
                    <a:pt x="1053" y="23"/>
                  </a:lnTo>
                  <a:lnTo>
                    <a:pt x="1102" y="40"/>
                  </a:lnTo>
                  <a:lnTo>
                    <a:pt x="1151" y="62"/>
                  </a:lnTo>
                  <a:lnTo>
                    <a:pt x="1197" y="89"/>
                  </a:lnTo>
                  <a:lnTo>
                    <a:pt x="1241" y="120"/>
                  </a:lnTo>
                  <a:lnTo>
                    <a:pt x="1282" y="155"/>
                  </a:lnTo>
                  <a:lnTo>
                    <a:pt x="1318" y="194"/>
                  </a:lnTo>
                  <a:lnTo>
                    <a:pt x="1350" y="235"/>
                  </a:lnTo>
                  <a:lnTo>
                    <a:pt x="1378" y="279"/>
                  </a:lnTo>
                  <a:lnTo>
                    <a:pt x="1403" y="324"/>
                  </a:lnTo>
                  <a:lnTo>
                    <a:pt x="1422" y="372"/>
                  </a:lnTo>
                  <a:lnTo>
                    <a:pt x="1436" y="421"/>
                  </a:lnTo>
                  <a:lnTo>
                    <a:pt x="1447" y="471"/>
                  </a:lnTo>
                  <a:lnTo>
                    <a:pt x="1453" y="521"/>
                  </a:lnTo>
                  <a:lnTo>
                    <a:pt x="1455" y="572"/>
                  </a:lnTo>
                  <a:lnTo>
                    <a:pt x="1451" y="622"/>
                  </a:lnTo>
                  <a:lnTo>
                    <a:pt x="1444" y="674"/>
                  </a:lnTo>
                  <a:lnTo>
                    <a:pt x="1431" y="724"/>
                  </a:lnTo>
                  <a:lnTo>
                    <a:pt x="1414" y="772"/>
                  </a:lnTo>
                  <a:lnTo>
                    <a:pt x="1392" y="820"/>
                  </a:lnTo>
                  <a:lnTo>
                    <a:pt x="1366" y="866"/>
                  </a:lnTo>
                  <a:lnTo>
                    <a:pt x="1334" y="910"/>
                  </a:lnTo>
                  <a:lnTo>
                    <a:pt x="1299" y="950"/>
                  </a:lnTo>
                  <a:lnTo>
                    <a:pt x="1261" y="986"/>
                  </a:lnTo>
                  <a:lnTo>
                    <a:pt x="1221" y="1018"/>
                  </a:lnTo>
                  <a:lnTo>
                    <a:pt x="1179" y="1045"/>
                  </a:lnTo>
                  <a:lnTo>
                    <a:pt x="1134" y="1069"/>
                  </a:lnTo>
                  <a:lnTo>
                    <a:pt x="1088" y="1088"/>
                  </a:lnTo>
                  <a:lnTo>
                    <a:pt x="1041" y="1104"/>
                  </a:lnTo>
                  <a:lnTo>
                    <a:pt x="993" y="1115"/>
                  </a:lnTo>
                  <a:lnTo>
                    <a:pt x="944" y="1121"/>
                  </a:lnTo>
                  <a:lnTo>
                    <a:pt x="894" y="1124"/>
                  </a:lnTo>
                  <a:lnTo>
                    <a:pt x="844" y="1122"/>
                  </a:lnTo>
                  <a:lnTo>
                    <a:pt x="795" y="1115"/>
                  </a:lnTo>
                  <a:lnTo>
                    <a:pt x="746" y="1105"/>
                  </a:lnTo>
                  <a:lnTo>
                    <a:pt x="698" y="1089"/>
                  </a:lnTo>
                  <a:lnTo>
                    <a:pt x="651" y="1070"/>
                  </a:lnTo>
                  <a:lnTo>
                    <a:pt x="570" y="1171"/>
                  </a:lnTo>
                  <a:lnTo>
                    <a:pt x="569" y="1201"/>
                  </a:lnTo>
                  <a:lnTo>
                    <a:pt x="563" y="1230"/>
                  </a:lnTo>
                  <a:lnTo>
                    <a:pt x="551" y="1258"/>
                  </a:lnTo>
                  <a:lnTo>
                    <a:pt x="535" y="1284"/>
                  </a:lnTo>
                  <a:lnTo>
                    <a:pt x="297" y="1585"/>
                  </a:lnTo>
                  <a:lnTo>
                    <a:pt x="277" y="1607"/>
                  </a:lnTo>
                  <a:lnTo>
                    <a:pt x="253" y="1624"/>
                  </a:lnTo>
                  <a:lnTo>
                    <a:pt x="228" y="1636"/>
                  </a:lnTo>
                  <a:lnTo>
                    <a:pt x="200" y="1645"/>
                  </a:lnTo>
                  <a:lnTo>
                    <a:pt x="172" y="1648"/>
                  </a:lnTo>
                  <a:lnTo>
                    <a:pt x="144" y="1647"/>
                  </a:lnTo>
                  <a:lnTo>
                    <a:pt x="116" y="1641"/>
                  </a:lnTo>
                  <a:lnTo>
                    <a:pt x="88" y="1629"/>
                  </a:lnTo>
                  <a:lnTo>
                    <a:pt x="64" y="1613"/>
                  </a:lnTo>
                  <a:lnTo>
                    <a:pt x="41" y="1591"/>
                  </a:lnTo>
                  <a:lnTo>
                    <a:pt x="24" y="1568"/>
                  </a:lnTo>
                  <a:lnTo>
                    <a:pt x="12" y="1542"/>
                  </a:lnTo>
                  <a:lnTo>
                    <a:pt x="3" y="1516"/>
                  </a:lnTo>
                  <a:lnTo>
                    <a:pt x="0" y="1487"/>
                  </a:lnTo>
                  <a:lnTo>
                    <a:pt x="1" y="1458"/>
                  </a:lnTo>
                  <a:lnTo>
                    <a:pt x="9" y="1431"/>
                  </a:lnTo>
                  <a:lnTo>
                    <a:pt x="20" y="1404"/>
                  </a:lnTo>
                  <a:lnTo>
                    <a:pt x="36" y="1378"/>
                  </a:lnTo>
                  <a:lnTo>
                    <a:pt x="273" y="1078"/>
                  </a:lnTo>
                  <a:lnTo>
                    <a:pt x="290" y="1060"/>
                  </a:lnTo>
                  <a:lnTo>
                    <a:pt x="309" y="1044"/>
                  </a:lnTo>
                  <a:lnTo>
                    <a:pt x="329" y="1032"/>
                  </a:lnTo>
                  <a:lnTo>
                    <a:pt x="351" y="1023"/>
                  </a:lnTo>
                  <a:lnTo>
                    <a:pt x="374" y="1017"/>
                  </a:lnTo>
                  <a:lnTo>
                    <a:pt x="454" y="915"/>
                  </a:lnTo>
                  <a:lnTo>
                    <a:pt x="422" y="871"/>
                  </a:lnTo>
                  <a:lnTo>
                    <a:pt x="395" y="824"/>
                  </a:lnTo>
                  <a:lnTo>
                    <a:pt x="372" y="776"/>
                  </a:lnTo>
                  <a:lnTo>
                    <a:pt x="355" y="725"/>
                  </a:lnTo>
                  <a:lnTo>
                    <a:pt x="341" y="674"/>
                  </a:lnTo>
                  <a:lnTo>
                    <a:pt x="333" y="621"/>
                  </a:lnTo>
                  <a:lnTo>
                    <a:pt x="330" y="568"/>
                  </a:lnTo>
                  <a:lnTo>
                    <a:pt x="332" y="515"/>
                  </a:lnTo>
                  <a:lnTo>
                    <a:pt x="338" y="462"/>
                  </a:lnTo>
                  <a:lnTo>
                    <a:pt x="351" y="409"/>
                  </a:lnTo>
                  <a:lnTo>
                    <a:pt x="368" y="358"/>
                  </a:lnTo>
                  <a:lnTo>
                    <a:pt x="391" y="308"/>
                  </a:lnTo>
                  <a:lnTo>
                    <a:pt x="418" y="260"/>
                  </a:lnTo>
                  <a:lnTo>
                    <a:pt x="451" y="214"/>
                  </a:lnTo>
                  <a:lnTo>
                    <a:pt x="486" y="173"/>
                  </a:lnTo>
                  <a:lnTo>
                    <a:pt x="525" y="136"/>
                  </a:lnTo>
                  <a:lnTo>
                    <a:pt x="566" y="103"/>
                  </a:lnTo>
                  <a:lnTo>
                    <a:pt x="610" y="75"/>
                  </a:lnTo>
                  <a:lnTo>
                    <a:pt x="655" y="52"/>
                  </a:lnTo>
                  <a:lnTo>
                    <a:pt x="703" y="32"/>
                  </a:lnTo>
                  <a:lnTo>
                    <a:pt x="751" y="17"/>
                  </a:lnTo>
                  <a:lnTo>
                    <a:pt x="801" y="7"/>
                  </a:lnTo>
                  <a:lnTo>
                    <a:pt x="852" y="1"/>
                  </a:lnTo>
                  <a:lnTo>
                    <a:pt x="9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Calibri Light" panose="020F0302020204030204"/>
              </a:endParaRPr>
            </a:p>
          </p:txBody>
        </p:sp>
      </p:grpSp>
      <p:sp>
        <p:nvSpPr>
          <p:cNvPr id="73" name="Rectangle 72"/>
          <p:cNvSpPr/>
          <p:nvPr/>
        </p:nvSpPr>
        <p:spPr>
          <a:xfrm>
            <a:off x="9847943" y="5110199"/>
            <a:ext cx="1640114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altLang="en-US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+mj-lt"/>
                <a:cs typeface="Arial" panose="020B0604020202020204" pitchFamily="34" charset="0"/>
              </a:rPr>
              <a:t>Eb-5 Transaction Attorney</a:t>
            </a:r>
          </a:p>
        </p:txBody>
      </p:sp>
      <p:sp>
        <p:nvSpPr>
          <p:cNvPr id="75" name="Freeform 6"/>
          <p:cNvSpPr>
            <a:spLocks noEditPoints="1"/>
          </p:cNvSpPr>
          <p:nvPr/>
        </p:nvSpPr>
        <p:spPr bwMode="auto">
          <a:xfrm>
            <a:off x="10440988" y="4571780"/>
            <a:ext cx="454025" cy="463550"/>
          </a:xfrm>
          <a:custGeom>
            <a:avLst/>
            <a:gdLst>
              <a:gd name="T0" fmla="*/ 53 w 3429"/>
              <a:gd name="T1" fmla="*/ 2451 h 3499"/>
              <a:gd name="T2" fmla="*/ 496 w 3429"/>
              <a:gd name="T3" fmla="*/ 2111 h 3499"/>
              <a:gd name="T4" fmla="*/ 860 w 3429"/>
              <a:gd name="T5" fmla="*/ 1909 h 3499"/>
              <a:gd name="T6" fmla="*/ 956 w 3429"/>
              <a:gd name="T7" fmla="*/ 2124 h 3499"/>
              <a:gd name="T8" fmla="*/ 1105 w 3429"/>
              <a:gd name="T9" fmla="*/ 2420 h 3499"/>
              <a:gd name="T10" fmla="*/ 1176 w 3429"/>
              <a:gd name="T11" fmla="*/ 2446 h 3499"/>
              <a:gd name="T12" fmla="*/ 1281 w 3429"/>
              <a:gd name="T13" fmla="*/ 2260 h 3499"/>
              <a:gd name="T14" fmla="*/ 1436 w 3429"/>
              <a:gd name="T15" fmla="*/ 2226 h 3499"/>
              <a:gd name="T16" fmla="*/ 1301 w 3429"/>
              <a:gd name="T17" fmla="*/ 2118 h 3499"/>
              <a:gd name="T18" fmla="*/ 1077 w 3429"/>
              <a:gd name="T19" fmla="*/ 1924 h 3499"/>
              <a:gd name="T20" fmla="*/ 915 w 3429"/>
              <a:gd name="T21" fmla="*/ 1430 h 3499"/>
              <a:gd name="T22" fmla="*/ 819 w 3429"/>
              <a:gd name="T23" fmla="*/ 1251 h 3499"/>
              <a:gd name="T24" fmla="*/ 745 w 3429"/>
              <a:gd name="T25" fmla="*/ 975 h 3499"/>
              <a:gd name="T26" fmla="*/ 794 w 3429"/>
              <a:gd name="T27" fmla="*/ 870 h 3499"/>
              <a:gd name="T28" fmla="*/ 794 w 3429"/>
              <a:gd name="T29" fmla="*/ 583 h 3499"/>
              <a:gd name="T30" fmla="*/ 969 w 3429"/>
              <a:gd name="T31" fmla="*/ 234 h 3499"/>
              <a:gd name="T32" fmla="*/ 1318 w 3429"/>
              <a:gd name="T33" fmla="*/ 16 h 3499"/>
              <a:gd name="T34" fmla="*/ 1658 w 3429"/>
              <a:gd name="T35" fmla="*/ 33 h 3499"/>
              <a:gd name="T36" fmla="*/ 1876 w 3429"/>
              <a:gd name="T37" fmla="*/ 178 h 3499"/>
              <a:gd name="T38" fmla="*/ 1924 w 3429"/>
              <a:gd name="T39" fmla="*/ 232 h 3499"/>
              <a:gd name="T40" fmla="*/ 2013 w 3429"/>
              <a:gd name="T41" fmla="*/ 281 h 3499"/>
              <a:gd name="T42" fmla="*/ 2104 w 3429"/>
              <a:gd name="T43" fmla="*/ 466 h 3499"/>
              <a:gd name="T44" fmla="*/ 2091 w 3429"/>
              <a:gd name="T45" fmla="*/ 840 h 3499"/>
              <a:gd name="T46" fmla="*/ 2148 w 3429"/>
              <a:gd name="T47" fmla="*/ 905 h 3499"/>
              <a:gd name="T48" fmla="*/ 2133 w 3429"/>
              <a:gd name="T49" fmla="*/ 1112 h 3499"/>
              <a:gd name="T50" fmla="*/ 2027 w 3429"/>
              <a:gd name="T51" fmla="*/ 1315 h 3499"/>
              <a:gd name="T52" fmla="*/ 1894 w 3429"/>
              <a:gd name="T53" fmla="*/ 1853 h 3499"/>
              <a:gd name="T54" fmla="*/ 1683 w 3429"/>
              <a:gd name="T55" fmla="*/ 2045 h 3499"/>
              <a:gd name="T56" fmla="*/ 1495 w 3429"/>
              <a:gd name="T57" fmla="*/ 2199 h 3499"/>
              <a:gd name="T58" fmla="*/ 1560 w 3429"/>
              <a:gd name="T59" fmla="*/ 2215 h 3499"/>
              <a:gd name="T60" fmla="*/ 1696 w 3429"/>
              <a:gd name="T61" fmla="*/ 2375 h 3499"/>
              <a:gd name="T62" fmla="*/ 1745 w 3429"/>
              <a:gd name="T63" fmla="*/ 2500 h 3499"/>
              <a:gd name="T64" fmla="*/ 1891 w 3429"/>
              <a:gd name="T65" fmla="*/ 2234 h 3499"/>
              <a:gd name="T66" fmla="*/ 2017 w 3429"/>
              <a:gd name="T67" fmla="*/ 1961 h 3499"/>
              <a:gd name="T68" fmla="*/ 2201 w 3429"/>
              <a:gd name="T69" fmla="*/ 1984 h 3499"/>
              <a:gd name="T70" fmla="*/ 2184 w 3429"/>
              <a:gd name="T71" fmla="*/ 2270 h 3499"/>
              <a:gd name="T72" fmla="*/ 1957 w 3429"/>
              <a:gd name="T73" fmla="*/ 2768 h 3499"/>
              <a:gd name="T74" fmla="*/ 2901 w 3429"/>
              <a:gd name="T75" fmla="*/ 2203 h 3499"/>
              <a:gd name="T76" fmla="*/ 3295 w 3429"/>
              <a:gd name="T77" fmla="*/ 2449 h 3499"/>
              <a:gd name="T78" fmla="*/ 3426 w 3429"/>
              <a:gd name="T79" fmla="*/ 2908 h 3499"/>
              <a:gd name="T80" fmla="*/ 3218 w 3429"/>
              <a:gd name="T81" fmla="*/ 3327 h 3499"/>
              <a:gd name="T82" fmla="*/ 2778 w 3429"/>
              <a:gd name="T83" fmla="*/ 3499 h 3499"/>
              <a:gd name="T84" fmla="*/ 2339 w 3429"/>
              <a:gd name="T85" fmla="*/ 3328 h 3499"/>
              <a:gd name="T86" fmla="*/ 2129 w 3429"/>
              <a:gd name="T87" fmla="*/ 2909 h 3499"/>
              <a:gd name="T88" fmla="*/ 2259 w 3429"/>
              <a:gd name="T89" fmla="*/ 2449 h 3499"/>
              <a:gd name="T90" fmla="*/ 2654 w 3429"/>
              <a:gd name="T91" fmla="*/ 2203 h 3499"/>
              <a:gd name="T92" fmla="*/ 2598 w 3429"/>
              <a:gd name="T93" fmla="*/ 3132 h 3499"/>
              <a:gd name="T94" fmla="*/ 2749 w 3429"/>
              <a:gd name="T95" fmla="*/ 3287 h 3499"/>
              <a:gd name="T96" fmla="*/ 2910 w 3429"/>
              <a:gd name="T97" fmla="*/ 3171 h 3499"/>
              <a:gd name="T98" fmla="*/ 3010 w 3429"/>
              <a:gd name="T99" fmla="*/ 2969 h 3499"/>
              <a:gd name="T100" fmla="*/ 2841 w 3429"/>
              <a:gd name="T101" fmla="*/ 2797 h 3499"/>
              <a:gd name="T102" fmla="*/ 2720 w 3429"/>
              <a:gd name="T103" fmla="*/ 2703 h 3499"/>
              <a:gd name="T104" fmla="*/ 2766 w 3429"/>
              <a:gd name="T105" fmla="*/ 2615 h 3499"/>
              <a:gd name="T106" fmla="*/ 2851 w 3429"/>
              <a:gd name="T107" fmla="*/ 2694 h 3499"/>
              <a:gd name="T108" fmla="*/ 3008 w 3429"/>
              <a:gd name="T109" fmla="*/ 2691 h 3499"/>
              <a:gd name="T110" fmla="*/ 2877 w 3429"/>
              <a:gd name="T111" fmla="*/ 2510 h 3499"/>
              <a:gd name="T112" fmla="*/ 2740 w 3429"/>
              <a:gd name="T113" fmla="*/ 2405 h 3499"/>
              <a:gd name="T114" fmla="*/ 2590 w 3429"/>
              <a:gd name="T115" fmla="*/ 2576 h 3499"/>
              <a:gd name="T116" fmla="*/ 2587 w 3429"/>
              <a:gd name="T117" fmla="*/ 2800 h 3499"/>
              <a:gd name="T118" fmla="*/ 2818 w 3429"/>
              <a:gd name="T119" fmla="*/ 2937 h 3499"/>
              <a:gd name="T120" fmla="*/ 2836 w 3429"/>
              <a:gd name="T121" fmla="*/ 3047 h 3499"/>
              <a:gd name="T122" fmla="*/ 2726 w 3429"/>
              <a:gd name="T123" fmla="*/ 3063 h 3499"/>
              <a:gd name="T124" fmla="*/ 2672 w 3429"/>
              <a:gd name="T125" fmla="*/ 2971 h 3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429" h="3499">
                <a:moveTo>
                  <a:pt x="1258" y="3029"/>
                </a:moveTo>
                <a:lnTo>
                  <a:pt x="0" y="3029"/>
                </a:lnTo>
                <a:lnTo>
                  <a:pt x="0" y="2621"/>
                </a:lnTo>
                <a:lnTo>
                  <a:pt x="2" y="2585"/>
                </a:lnTo>
                <a:lnTo>
                  <a:pt x="8" y="2550"/>
                </a:lnTo>
                <a:lnTo>
                  <a:pt x="19" y="2515"/>
                </a:lnTo>
                <a:lnTo>
                  <a:pt x="34" y="2482"/>
                </a:lnTo>
                <a:lnTo>
                  <a:pt x="53" y="2451"/>
                </a:lnTo>
                <a:lnTo>
                  <a:pt x="76" y="2422"/>
                </a:lnTo>
                <a:lnTo>
                  <a:pt x="103" y="2397"/>
                </a:lnTo>
                <a:lnTo>
                  <a:pt x="169" y="2343"/>
                </a:lnTo>
                <a:lnTo>
                  <a:pt x="236" y="2292"/>
                </a:lnTo>
                <a:lnTo>
                  <a:pt x="303" y="2243"/>
                </a:lnTo>
                <a:lnTo>
                  <a:pt x="368" y="2196"/>
                </a:lnTo>
                <a:lnTo>
                  <a:pt x="433" y="2153"/>
                </a:lnTo>
                <a:lnTo>
                  <a:pt x="496" y="2111"/>
                </a:lnTo>
                <a:lnTo>
                  <a:pt x="558" y="2072"/>
                </a:lnTo>
                <a:lnTo>
                  <a:pt x="616" y="2037"/>
                </a:lnTo>
                <a:lnTo>
                  <a:pt x="672" y="2004"/>
                </a:lnTo>
                <a:lnTo>
                  <a:pt x="724" y="1973"/>
                </a:lnTo>
                <a:lnTo>
                  <a:pt x="773" y="1947"/>
                </a:lnTo>
                <a:lnTo>
                  <a:pt x="817" y="1922"/>
                </a:lnTo>
                <a:lnTo>
                  <a:pt x="856" y="1901"/>
                </a:lnTo>
                <a:lnTo>
                  <a:pt x="860" y="1909"/>
                </a:lnTo>
                <a:lnTo>
                  <a:pt x="866" y="1924"/>
                </a:lnTo>
                <a:lnTo>
                  <a:pt x="874" y="1942"/>
                </a:lnTo>
                <a:lnTo>
                  <a:pt x="884" y="1965"/>
                </a:lnTo>
                <a:lnTo>
                  <a:pt x="895" y="1991"/>
                </a:lnTo>
                <a:lnTo>
                  <a:pt x="909" y="2021"/>
                </a:lnTo>
                <a:lnTo>
                  <a:pt x="924" y="2053"/>
                </a:lnTo>
                <a:lnTo>
                  <a:pt x="939" y="2087"/>
                </a:lnTo>
                <a:lnTo>
                  <a:pt x="956" y="2124"/>
                </a:lnTo>
                <a:lnTo>
                  <a:pt x="974" y="2161"/>
                </a:lnTo>
                <a:lnTo>
                  <a:pt x="992" y="2199"/>
                </a:lnTo>
                <a:lnTo>
                  <a:pt x="1010" y="2238"/>
                </a:lnTo>
                <a:lnTo>
                  <a:pt x="1029" y="2277"/>
                </a:lnTo>
                <a:lnTo>
                  <a:pt x="1048" y="2315"/>
                </a:lnTo>
                <a:lnTo>
                  <a:pt x="1067" y="2351"/>
                </a:lnTo>
                <a:lnTo>
                  <a:pt x="1086" y="2387"/>
                </a:lnTo>
                <a:lnTo>
                  <a:pt x="1105" y="2420"/>
                </a:lnTo>
                <a:lnTo>
                  <a:pt x="1123" y="2451"/>
                </a:lnTo>
                <a:lnTo>
                  <a:pt x="1140" y="2479"/>
                </a:lnTo>
                <a:lnTo>
                  <a:pt x="1157" y="2503"/>
                </a:lnTo>
                <a:lnTo>
                  <a:pt x="1157" y="2501"/>
                </a:lnTo>
                <a:lnTo>
                  <a:pt x="1159" y="2493"/>
                </a:lnTo>
                <a:lnTo>
                  <a:pt x="1163" y="2481"/>
                </a:lnTo>
                <a:lnTo>
                  <a:pt x="1168" y="2465"/>
                </a:lnTo>
                <a:lnTo>
                  <a:pt x="1176" y="2446"/>
                </a:lnTo>
                <a:lnTo>
                  <a:pt x="1184" y="2424"/>
                </a:lnTo>
                <a:lnTo>
                  <a:pt x="1194" y="2401"/>
                </a:lnTo>
                <a:lnTo>
                  <a:pt x="1204" y="2377"/>
                </a:lnTo>
                <a:lnTo>
                  <a:pt x="1217" y="2352"/>
                </a:lnTo>
                <a:lnTo>
                  <a:pt x="1231" y="2327"/>
                </a:lnTo>
                <a:lnTo>
                  <a:pt x="1247" y="2303"/>
                </a:lnTo>
                <a:lnTo>
                  <a:pt x="1263" y="2280"/>
                </a:lnTo>
                <a:lnTo>
                  <a:pt x="1281" y="2260"/>
                </a:lnTo>
                <a:lnTo>
                  <a:pt x="1300" y="2242"/>
                </a:lnTo>
                <a:lnTo>
                  <a:pt x="1320" y="2228"/>
                </a:lnTo>
                <a:lnTo>
                  <a:pt x="1341" y="2217"/>
                </a:lnTo>
                <a:lnTo>
                  <a:pt x="1364" y="2211"/>
                </a:lnTo>
                <a:lnTo>
                  <a:pt x="1387" y="2211"/>
                </a:lnTo>
                <a:lnTo>
                  <a:pt x="1412" y="2216"/>
                </a:lnTo>
                <a:lnTo>
                  <a:pt x="1438" y="2228"/>
                </a:lnTo>
                <a:lnTo>
                  <a:pt x="1436" y="2226"/>
                </a:lnTo>
                <a:lnTo>
                  <a:pt x="1430" y="2222"/>
                </a:lnTo>
                <a:lnTo>
                  <a:pt x="1420" y="2214"/>
                </a:lnTo>
                <a:lnTo>
                  <a:pt x="1406" y="2204"/>
                </a:lnTo>
                <a:lnTo>
                  <a:pt x="1390" y="2190"/>
                </a:lnTo>
                <a:lnTo>
                  <a:pt x="1370" y="2175"/>
                </a:lnTo>
                <a:lnTo>
                  <a:pt x="1349" y="2158"/>
                </a:lnTo>
                <a:lnTo>
                  <a:pt x="1326" y="2139"/>
                </a:lnTo>
                <a:lnTo>
                  <a:pt x="1301" y="2118"/>
                </a:lnTo>
                <a:lnTo>
                  <a:pt x="1274" y="2096"/>
                </a:lnTo>
                <a:lnTo>
                  <a:pt x="1247" y="2073"/>
                </a:lnTo>
                <a:lnTo>
                  <a:pt x="1218" y="2049"/>
                </a:lnTo>
                <a:lnTo>
                  <a:pt x="1190" y="2024"/>
                </a:lnTo>
                <a:lnTo>
                  <a:pt x="1161" y="2000"/>
                </a:lnTo>
                <a:lnTo>
                  <a:pt x="1132" y="1974"/>
                </a:lnTo>
                <a:lnTo>
                  <a:pt x="1104" y="1949"/>
                </a:lnTo>
                <a:lnTo>
                  <a:pt x="1077" y="1924"/>
                </a:lnTo>
                <a:lnTo>
                  <a:pt x="1052" y="1900"/>
                </a:lnTo>
                <a:lnTo>
                  <a:pt x="1028" y="1877"/>
                </a:lnTo>
                <a:lnTo>
                  <a:pt x="1006" y="1854"/>
                </a:lnTo>
                <a:lnTo>
                  <a:pt x="986" y="1833"/>
                </a:lnTo>
                <a:lnTo>
                  <a:pt x="969" y="1813"/>
                </a:lnTo>
                <a:lnTo>
                  <a:pt x="969" y="1545"/>
                </a:lnTo>
                <a:lnTo>
                  <a:pt x="940" y="1487"/>
                </a:lnTo>
                <a:lnTo>
                  <a:pt x="915" y="1430"/>
                </a:lnTo>
                <a:lnTo>
                  <a:pt x="897" y="1373"/>
                </a:lnTo>
                <a:lnTo>
                  <a:pt x="886" y="1317"/>
                </a:lnTo>
                <a:lnTo>
                  <a:pt x="875" y="1315"/>
                </a:lnTo>
                <a:lnTo>
                  <a:pt x="865" y="1310"/>
                </a:lnTo>
                <a:lnTo>
                  <a:pt x="854" y="1301"/>
                </a:lnTo>
                <a:lnTo>
                  <a:pt x="842" y="1289"/>
                </a:lnTo>
                <a:lnTo>
                  <a:pt x="831" y="1272"/>
                </a:lnTo>
                <a:lnTo>
                  <a:pt x="819" y="1251"/>
                </a:lnTo>
                <a:lnTo>
                  <a:pt x="806" y="1225"/>
                </a:lnTo>
                <a:lnTo>
                  <a:pt x="794" y="1194"/>
                </a:lnTo>
                <a:lnTo>
                  <a:pt x="781" y="1156"/>
                </a:lnTo>
                <a:lnTo>
                  <a:pt x="768" y="1112"/>
                </a:lnTo>
                <a:lnTo>
                  <a:pt x="758" y="1071"/>
                </a:lnTo>
                <a:lnTo>
                  <a:pt x="751" y="1035"/>
                </a:lnTo>
                <a:lnTo>
                  <a:pt x="746" y="1003"/>
                </a:lnTo>
                <a:lnTo>
                  <a:pt x="745" y="975"/>
                </a:lnTo>
                <a:lnTo>
                  <a:pt x="745" y="952"/>
                </a:lnTo>
                <a:lnTo>
                  <a:pt x="748" y="932"/>
                </a:lnTo>
                <a:lnTo>
                  <a:pt x="752" y="915"/>
                </a:lnTo>
                <a:lnTo>
                  <a:pt x="759" y="901"/>
                </a:lnTo>
                <a:lnTo>
                  <a:pt x="766" y="889"/>
                </a:lnTo>
                <a:lnTo>
                  <a:pt x="775" y="881"/>
                </a:lnTo>
                <a:lnTo>
                  <a:pt x="784" y="874"/>
                </a:lnTo>
                <a:lnTo>
                  <a:pt x="794" y="870"/>
                </a:lnTo>
                <a:lnTo>
                  <a:pt x="805" y="867"/>
                </a:lnTo>
                <a:lnTo>
                  <a:pt x="816" y="866"/>
                </a:lnTo>
                <a:lnTo>
                  <a:pt x="811" y="840"/>
                </a:lnTo>
                <a:lnTo>
                  <a:pt x="805" y="815"/>
                </a:lnTo>
                <a:lnTo>
                  <a:pt x="796" y="754"/>
                </a:lnTo>
                <a:lnTo>
                  <a:pt x="789" y="696"/>
                </a:lnTo>
                <a:lnTo>
                  <a:pt x="788" y="638"/>
                </a:lnTo>
                <a:lnTo>
                  <a:pt x="794" y="583"/>
                </a:lnTo>
                <a:lnTo>
                  <a:pt x="805" y="528"/>
                </a:lnTo>
                <a:lnTo>
                  <a:pt x="819" y="477"/>
                </a:lnTo>
                <a:lnTo>
                  <a:pt x="838" y="430"/>
                </a:lnTo>
                <a:lnTo>
                  <a:pt x="860" y="386"/>
                </a:lnTo>
                <a:lnTo>
                  <a:pt x="885" y="344"/>
                </a:lnTo>
                <a:lnTo>
                  <a:pt x="911" y="305"/>
                </a:lnTo>
                <a:lnTo>
                  <a:pt x="940" y="268"/>
                </a:lnTo>
                <a:lnTo>
                  <a:pt x="969" y="234"/>
                </a:lnTo>
                <a:lnTo>
                  <a:pt x="1018" y="188"/>
                </a:lnTo>
                <a:lnTo>
                  <a:pt x="1070" y="145"/>
                </a:lnTo>
                <a:lnTo>
                  <a:pt x="1123" y="105"/>
                </a:lnTo>
                <a:lnTo>
                  <a:pt x="1158" y="82"/>
                </a:lnTo>
                <a:lnTo>
                  <a:pt x="1194" y="62"/>
                </a:lnTo>
                <a:lnTo>
                  <a:pt x="1233" y="44"/>
                </a:lnTo>
                <a:lnTo>
                  <a:pt x="1273" y="29"/>
                </a:lnTo>
                <a:lnTo>
                  <a:pt x="1318" y="16"/>
                </a:lnTo>
                <a:lnTo>
                  <a:pt x="1362" y="8"/>
                </a:lnTo>
                <a:lnTo>
                  <a:pt x="1409" y="2"/>
                </a:lnTo>
                <a:lnTo>
                  <a:pt x="1457" y="0"/>
                </a:lnTo>
                <a:lnTo>
                  <a:pt x="1503" y="0"/>
                </a:lnTo>
                <a:lnTo>
                  <a:pt x="1546" y="5"/>
                </a:lnTo>
                <a:lnTo>
                  <a:pt x="1586" y="12"/>
                </a:lnTo>
                <a:lnTo>
                  <a:pt x="1623" y="22"/>
                </a:lnTo>
                <a:lnTo>
                  <a:pt x="1658" y="33"/>
                </a:lnTo>
                <a:lnTo>
                  <a:pt x="1691" y="46"/>
                </a:lnTo>
                <a:lnTo>
                  <a:pt x="1721" y="61"/>
                </a:lnTo>
                <a:lnTo>
                  <a:pt x="1749" y="77"/>
                </a:lnTo>
                <a:lnTo>
                  <a:pt x="1783" y="97"/>
                </a:lnTo>
                <a:lnTo>
                  <a:pt x="1813" y="118"/>
                </a:lnTo>
                <a:lnTo>
                  <a:pt x="1838" y="138"/>
                </a:lnTo>
                <a:lnTo>
                  <a:pt x="1859" y="160"/>
                </a:lnTo>
                <a:lnTo>
                  <a:pt x="1876" y="178"/>
                </a:lnTo>
                <a:lnTo>
                  <a:pt x="1890" y="196"/>
                </a:lnTo>
                <a:lnTo>
                  <a:pt x="1901" y="209"/>
                </a:lnTo>
                <a:lnTo>
                  <a:pt x="1908" y="221"/>
                </a:lnTo>
                <a:lnTo>
                  <a:pt x="1912" y="228"/>
                </a:lnTo>
                <a:lnTo>
                  <a:pt x="1913" y="231"/>
                </a:lnTo>
                <a:lnTo>
                  <a:pt x="1914" y="231"/>
                </a:lnTo>
                <a:lnTo>
                  <a:pt x="1919" y="231"/>
                </a:lnTo>
                <a:lnTo>
                  <a:pt x="1924" y="232"/>
                </a:lnTo>
                <a:lnTo>
                  <a:pt x="1931" y="234"/>
                </a:lnTo>
                <a:lnTo>
                  <a:pt x="1940" y="236"/>
                </a:lnTo>
                <a:lnTo>
                  <a:pt x="1949" y="240"/>
                </a:lnTo>
                <a:lnTo>
                  <a:pt x="1961" y="245"/>
                </a:lnTo>
                <a:lnTo>
                  <a:pt x="1973" y="251"/>
                </a:lnTo>
                <a:lnTo>
                  <a:pt x="1986" y="259"/>
                </a:lnTo>
                <a:lnTo>
                  <a:pt x="1999" y="269"/>
                </a:lnTo>
                <a:lnTo>
                  <a:pt x="2013" y="281"/>
                </a:lnTo>
                <a:lnTo>
                  <a:pt x="2027" y="294"/>
                </a:lnTo>
                <a:lnTo>
                  <a:pt x="2039" y="310"/>
                </a:lnTo>
                <a:lnTo>
                  <a:pt x="2052" y="329"/>
                </a:lnTo>
                <a:lnTo>
                  <a:pt x="2065" y="351"/>
                </a:lnTo>
                <a:lnTo>
                  <a:pt x="2076" y="374"/>
                </a:lnTo>
                <a:lnTo>
                  <a:pt x="2087" y="402"/>
                </a:lnTo>
                <a:lnTo>
                  <a:pt x="2095" y="432"/>
                </a:lnTo>
                <a:lnTo>
                  <a:pt x="2104" y="466"/>
                </a:lnTo>
                <a:lnTo>
                  <a:pt x="2109" y="504"/>
                </a:lnTo>
                <a:lnTo>
                  <a:pt x="2113" y="545"/>
                </a:lnTo>
                <a:lnTo>
                  <a:pt x="2116" y="591"/>
                </a:lnTo>
                <a:lnTo>
                  <a:pt x="2114" y="640"/>
                </a:lnTo>
                <a:lnTo>
                  <a:pt x="2111" y="694"/>
                </a:lnTo>
                <a:lnTo>
                  <a:pt x="2106" y="751"/>
                </a:lnTo>
                <a:lnTo>
                  <a:pt x="2096" y="815"/>
                </a:lnTo>
                <a:lnTo>
                  <a:pt x="2091" y="840"/>
                </a:lnTo>
                <a:lnTo>
                  <a:pt x="2086" y="866"/>
                </a:lnTo>
                <a:lnTo>
                  <a:pt x="2096" y="867"/>
                </a:lnTo>
                <a:lnTo>
                  <a:pt x="2106" y="868"/>
                </a:lnTo>
                <a:lnTo>
                  <a:pt x="2116" y="872"/>
                </a:lnTo>
                <a:lnTo>
                  <a:pt x="2125" y="876"/>
                </a:lnTo>
                <a:lnTo>
                  <a:pt x="2133" y="884"/>
                </a:lnTo>
                <a:lnTo>
                  <a:pt x="2142" y="893"/>
                </a:lnTo>
                <a:lnTo>
                  <a:pt x="2148" y="905"/>
                </a:lnTo>
                <a:lnTo>
                  <a:pt x="2154" y="919"/>
                </a:lnTo>
                <a:lnTo>
                  <a:pt x="2157" y="937"/>
                </a:lnTo>
                <a:lnTo>
                  <a:pt x="2159" y="957"/>
                </a:lnTo>
                <a:lnTo>
                  <a:pt x="2158" y="980"/>
                </a:lnTo>
                <a:lnTo>
                  <a:pt x="2156" y="1007"/>
                </a:lnTo>
                <a:lnTo>
                  <a:pt x="2151" y="1038"/>
                </a:lnTo>
                <a:lnTo>
                  <a:pt x="2144" y="1073"/>
                </a:lnTo>
                <a:lnTo>
                  <a:pt x="2133" y="1112"/>
                </a:lnTo>
                <a:lnTo>
                  <a:pt x="2119" y="1160"/>
                </a:lnTo>
                <a:lnTo>
                  <a:pt x="2104" y="1201"/>
                </a:lnTo>
                <a:lnTo>
                  <a:pt x="2090" y="1234"/>
                </a:lnTo>
                <a:lnTo>
                  <a:pt x="2076" y="1262"/>
                </a:lnTo>
                <a:lnTo>
                  <a:pt x="2063" y="1282"/>
                </a:lnTo>
                <a:lnTo>
                  <a:pt x="2050" y="1298"/>
                </a:lnTo>
                <a:lnTo>
                  <a:pt x="2038" y="1308"/>
                </a:lnTo>
                <a:lnTo>
                  <a:pt x="2027" y="1315"/>
                </a:lnTo>
                <a:lnTo>
                  <a:pt x="2016" y="1317"/>
                </a:lnTo>
                <a:lnTo>
                  <a:pt x="2004" y="1373"/>
                </a:lnTo>
                <a:lnTo>
                  <a:pt x="1986" y="1430"/>
                </a:lnTo>
                <a:lnTo>
                  <a:pt x="1962" y="1487"/>
                </a:lnTo>
                <a:lnTo>
                  <a:pt x="1932" y="1545"/>
                </a:lnTo>
                <a:lnTo>
                  <a:pt x="1932" y="1813"/>
                </a:lnTo>
                <a:lnTo>
                  <a:pt x="1914" y="1832"/>
                </a:lnTo>
                <a:lnTo>
                  <a:pt x="1894" y="1853"/>
                </a:lnTo>
                <a:lnTo>
                  <a:pt x="1872" y="1875"/>
                </a:lnTo>
                <a:lnTo>
                  <a:pt x="1849" y="1899"/>
                </a:lnTo>
                <a:lnTo>
                  <a:pt x="1822" y="1922"/>
                </a:lnTo>
                <a:lnTo>
                  <a:pt x="1796" y="1947"/>
                </a:lnTo>
                <a:lnTo>
                  <a:pt x="1768" y="1972"/>
                </a:lnTo>
                <a:lnTo>
                  <a:pt x="1740" y="1997"/>
                </a:lnTo>
                <a:lnTo>
                  <a:pt x="1711" y="2022"/>
                </a:lnTo>
                <a:lnTo>
                  <a:pt x="1683" y="2045"/>
                </a:lnTo>
                <a:lnTo>
                  <a:pt x="1654" y="2070"/>
                </a:lnTo>
                <a:lnTo>
                  <a:pt x="1627" y="2093"/>
                </a:lnTo>
                <a:lnTo>
                  <a:pt x="1600" y="2114"/>
                </a:lnTo>
                <a:lnTo>
                  <a:pt x="1575" y="2135"/>
                </a:lnTo>
                <a:lnTo>
                  <a:pt x="1551" y="2154"/>
                </a:lnTo>
                <a:lnTo>
                  <a:pt x="1530" y="2172"/>
                </a:lnTo>
                <a:lnTo>
                  <a:pt x="1511" y="2187"/>
                </a:lnTo>
                <a:lnTo>
                  <a:pt x="1495" y="2199"/>
                </a:lnTo>
                <a:lnTo>
                  <a:pt x="1482" y="2210"/>
                </a:lnTo>
                <a:lnTo>
                  <a:pt x="1472" y="2217"/>
                </a:lnTo>
                <a:lnTo>
                  <a:pt x="1466" y="2223"/>
                </a:lnTo>
                <a:lnTo>
                  <a:pt x="1464" y="2225"/>
                </a:lnTo>
                <a:lnTo>
                  <a:pt x="1489" y="2213"/>
                </a:lnTo>
                <a:lnTo>
                  <a:pt x="1514" y="2208"/>
                </a:lnTo>
                <a:lnTo>
                  <a:pt x="1538" y="2209"/>
                </a:lnTo>
                <a:lnTo>
                  <a:pt x="1560" y="2215"/>
                </a:lnTo>
                <a:lnTo>
                  <a:pt x="1582" y="2226"/>
                </a:lnTo>
                <a:lnTo>
                  <a:pt x="1602" y="2240"/>
                </a:lnTo>
                <a:lnTo>
                  <a:pt x="1621" y="2258"/>
                </a:lnTo>
                <a:lnTo>
                  <a:pt x="1638" y="2279"/>
                </a:lnTo>
                <a:lnTo>
                  <a:pt x="1655" y="2301"/>
                </a:lnTo>
                <a:lnTo>
                  <a:pt x="1670" y="2325"/>
                </a:lnTo>
                <a:lnTo>
                  <a:pt x="1685" y="2349"/>
                </a:lnTo>
                <a:lnTo>
                  <a:pt x="1696" y="2375"/>
                </a:lnTo>
                <a:lnTo>
                  <a:pt x="1708" y="2399"/>
                </a:lnTo>
                <a:lnTo>
                  <a:pt x="1718" y="2421"/>
                </a:lnTo>
                <a:lnTo>
                  <a:pt x="1726" y="2442"/>
                </a:lnTo>
                <a:lnTo>
                  <a:pt x="1733" y="2462"/>
                </a:lnTo>
                <a:lnTo>
                  <a:pt x="1739" y="2478"/>
                </a:lnTo>
                <a:lnTo>
                  <a:pt x="1742" y="2489"/>
                </a:lnTo>
                <a:lnTo>
                  <a:pt x="1745" y="2497"/>
                </a:lnTo>
                <a:lnTo>
                  <a:pt x="1745" y="2500"/>
                </a:lnTo>
                <a:lnTo>
                  <a:pt x="1762" y="2475"/>
                </a:lnTo>
                <a:lnTo>
                  <a:pt x="1779" y="2448"/>
                </a:lnTo>
                <a:lnTo>
                  <a:pt x="1797" y="2417"/>
                </a:lnTo>
                <a:lnTo>
                  <a:pt x="1816" y="2383"/>
                </a:lnTo>
                <a:lnTo>
                  <a:pt x="1834" y="2348"/>
                </a:lnTo>
                <a:lnTo>
                  <a:pt x="1854" y="2311"/>
                </a:lnTo>
                <a:lnTo>
                  <a:pt x="1873" y="2273"/>
                </a:lnTo>
                <a:lnTo>
                  <a:pt x="1891" y="2234"/>
                </a:lnTo>
                <a:lnTo>
                  <a:pt x="1910" y="2196"/>
                </a:lnTo>
                <a:lnTo>
                  <a:pt x="1928" y="2157"/>
                </a:lnTo>
                <a:lnTo>
                  <a:pt x="1946" y="2120"/>
                </a:lnTo>
                <a:lnTo>
                  <a:pt x="1962" y="2084"/>
                </a:lnTo>
                <a:lnTo>
                  <a:pt x="1978" y="2050"/>
                </a:lnTo>
                <a:lnTo>
                  <a:pt x="1993" y="2017"/>
                </a:lnTo>
                <a:lnTo>
                  <a:pt x="2005" y="1988"/>
                </a:lnTo>
                <a:lnTo>
                  <a:pt x="2017" y="1961"/>
                </a:lnTo>
                <a:lnTo>
                  <a:pt x="2028" y="1938"/>
                </a:lnTo>
                <a:lnTo>
                  <a:pt x="2035" y="1920"/>
                </a:lnTo>
                <a:lnTo>
                  <a:pt x="2041" y="1906"/>
                </a:lnTo>
                <a:lnTo>
                  <a:pt x="2046" y="1898"/>
                </a:lnTo>
                <a:lnTo>
                  <a:pt x="2080" y="1916"/>
                </a:lnTo>
                <a:lnTo>
                  <a:pt x="2117" y="1936"/>
                </a:lnTo>
                <a:lnTo>
                  <a:pt x="2158" y="1959"/>
                </a:lnTo>
                <a:lnTo>
                  <a:pt x="2201" y="1984"/>
                </a:lnTo>
                <a:lnTo>
                  <a:pt x="2249" y="2011"/>
                </a:lnTo>
                <a:lnTo>
                  <a:pt x="2299" y="2041"/>
                </a:lnTo>
                <a:lnTo>
                  <a:pt x="2350" y="2073"/>
                </a:lnTo>
                <a:lnTo>
                  <a:pt x="2404" y="2107"/>
                </a:lnTo>
                <a:lnTo>
                  <a:pt x="2344" y="2141"/>
                </a:lnTo>
                <a:lnTo>
                  <a:pt x="2287" y="2179"/>
                </a:lnTo>
                <a:lnTo>
                  <a:pt x="2234" y="2223"/>
                </a:lnTo>
                <a:lnTo>
                  <a:pt x="2184" y="2270"/>
                </a:lnTo>
                <a:lnTo>
                  <a:pt x="2139" y="2321"/>
                </a:lnTo>
                <a:lnTo>
                  <a:pt x="2098" y="2377"/>
                </a:lnTo>
                <a:lnTo>
                  <a:pt x="2062" y="2435"/>
                </a:lnTo>
                <a:lnTo>
                  <a:pt x="2030" y="2497"/>
                </a:lnTo>
                <a:lnTo>
                  <a:pt x="2003" y="2560"/>
                </a:lnTo>
                <a:lnTo>
                  <a:pt x="1982" y="2628"/>
                </a:lnTo>
                <a:lnTo>
                  <a:pt x="1966" y="2697"/>
                </a:lnTo>
                <a:lnTo>
                  <a:pt x="1957" y="2768"/>
                </a:lnTo>
                <a:lnTo>
                  <a:pt x="1954" y="2842"/>
                </a:lnTo>
                <a:lnTo>
                  <a:pt x="1957" y="2907"/>
                </a:lnTo>
                <a:lnTo>
                  <a:pt x="1964" y="2968"/>
                </a:lnTo>
                <a:lnTo>
                  <a:pt x="1976" y="3029"/>
                </a:lnTo>
                <a:lnTo>
                  <a:pt x="1258" y="3029"/>
                </a:lnTo>
                <a:close/>
                <a:moveTo>
                  <a:pt x="2778" y="2191"/>
                </a:moveTo>
                <a:lnTo>
                  <a:pt x="2840" y="2194"/>
                </a:lnTo>
                <a:lnTo>
                  <a:pt x="2901" y="2203"/>
                </a:lnTo>
                <a:lnTo>
                  <a:pt x="2960" y="2217"/>
                </a:lnTo>
                <a:lnTo>
                  <a:pt x="3017" y="2236"/>
                </a:lnTo>
                <a:lnTo>
                  <a:pt x="3071" y="2261"/>
                </a:lnTo>
                <a:lnTo>
                  <a:pt x="3123" y="2291"/>
                </a:lnTo>
                <a:lnTo>
                  <a:pt x="3172" y="2324"/>
                </a:lnTo>
                <a:lnTo>
                  <a:pt x="3216" y="2362"/>
                </a:lnTo>
                <a:lnTo>
                  <a:pt x="3258" y="2403"/>
                </a:lnTo>
                <a:lnTo>
                  <a:pt x="3295" y="2449"/>
                </a:lnTo>
                <a:lnTo>
                  <a:pt x="3329" y="2497"/>
                </a:lnTo>
                <a:lnTo>
                  <a:pt x="3359" y="2549"/>
                </a:lnTo>
                <a:lnTo>
                  <a:pt x="3383" y="2603"/>
                </a:lnTo>
                <a:lnTo>
                  <a:pt x="3402" y="2660"/>
                </a:lnTo>
                <a:lnTo>
                  <a:pt x="3417" y="2720"/>
                </a:lnTo>
                <a:lnTo>
                  <a:pt x="3426" y="2781"/>
                </a:lnTo>
                <a:lnTo>
                  <a:pt x="3429" y="2845"/>
                </a:lnTo>
                <a:lnTo>
                  <a:pt x="3426" y="2908"/>
                </a:lnTo>
                <a:lnTo>
                  <a:pt x="3417" y="2969"/>
                </a:lnTo>
                <a:lnTo>
                  <a:pt x="3403" y="3028"/>
                </a:lnTo>
                <a:lnTo>
                  <a:pt x="3383" y="3085"/>
                </a:lnTo>
                <a:lnTo>
                  <a:pt x="3359" y="3139"/>
                </a:lnTo>
                <a:lnTo>
                  <a:pt x="3330" y="3191"/>
                </a:lnTo>
                <a:lnTo>
                  <a:pt x="3297" y="3240"/>
                </a:lnTo>
                <a:lnTo>
                  <a:pt x="3260" y="3286"/>
                </a:lnTo>
                <a:lnTo>
                  <a:pt x="3218" y="3327"/>
                </a:lnTo>
                <a:lnTo>
                  <a:pt x="3173" y="3365"/>
                </a:lnTo>
                <a:lnTo>
                  <a:pt x="3124" y="3399"/>
                </a:lnTo>
                <a:lnTo>
                  <a:pt x="3072" y="3428"/>
                </a:lnTo>
                <a:lnTo>
                  <a:pt x="3018" y="3452"/>
                </a:lnTo>
                <a:lnTo>
                  <a:pt x="2961" y="3472"/>
                </a:lnTo>
                <a:lnTo>
                  <a:pt x="2902" y="3486"/>
                </a:lnTo>
                <a:lnTo>
                  <a:pt x="2840" y="3496"/>
                </a:lnTo>
                <a:lnTo>
                  <a:pt x="2778" y="3499"/>
                </a:lnTo>
                <a:lnTo>
                  <a:pt x="2714" y="3496"/>
                </a:lnTo>
                <a:lnTo>
                  <a:pt x="2654" y="3487"/>
                </a:lnTo>
                <a:lnTo>
                  <a:pt x="2595" y="3472"/>
                </a:lnTo>
                <a:lnTo>
                  <a:pt x="2538" y="3453"/>
                </a:lnTo>
                <a:lnTo>
                  <a:pt x="2484" y="3429"/>
                </a:lnTo>
                <a:lnTo>
                  <a:pt x="2432" y="3399"/>
                </a:lnTo>
                <a:lnTo>
                  <a:pt x="2384" y="3366"/>
                </a:lnTo>
                <a:lnTo>
                  <a:pt x="2339" y="3328"/>
                </a:lnTo>
                <a:lnTo>
                  <a:pt x="2296" y="3287"/>
                </a:lnTo>
                <a:lnTo>
                  <a:pt x="2259" y="3242"/>
                </a:lnTo>
                <a:lnTo>
                  <a:pt x="2226" y="3193"/>
                </a:lnTo>
                <a:lnTo>
                  <a:pt x="2196" y="3141"/>
                </a:lnTo>
                <a:lnTo>
                  <a:pt x="2172" y="3087"/>
                </a:lnTo>
                <a:lnTo>
                  <a:pt x="2153" y="3030"/>
                </a:lnTo>
                <a:lnTo>
                  <a:pt x="2138" y="2970"/>
                </a:lnTo>
                <a:lnTo>
                  <a:pt x="2129" y="2909"/>
                </a:lnTo>
                <a:lnTo>
                  <a:pt x="2126" y="2845"/>
                </a:lnTo>
                <a:lnTo>
                  <a:pt x="2129" y="2781"/>
                </a:lnTo>
                <a:lnTo>
                  <a:pt x="2138" y="2720"/>
                </a:lnTo>
                <a:lnTo>
                  <a:pt x="2153" y="2660"/>
                </a:lnTo>
                <a:lnTo>
                  <a:pt x="2172" y="2603"/>
                </a:lnTo>
                <a:lnTo>
                  <a:pt x="2196" y="2549"/>
                </a:lnTo>
                <a:lnTo>
                  <a:pt x="2226" y="2497"/>
                </a:lnTo>
                <a:lnTo>
                  <a:pt x="2259" y="2449"/>
                </a:lnTo>
                <a:lnTo>
                  <a:pt x="2296" y="2403"/>
                </a:lnTo>
                <a:lnTo>
                  <a:pt x="2339" y="2362"/>
                </a:lnTo>
                <a:lnTo>
                  <a:pt x="2384" y="2324"/>
                </a:lnTo>
                <a:lnTo>
                  <a:pt x="2432" y="2291"/>
                </a:lnTo>
                <a:lnTo>
                  <a:pt x="2484" y="2261"/>
                </a:lnTo>
                <a:lnTo>
                  <a:pt x="2538" y="2236"/>
                </a:lnTo>
                <a:lnTo>
                  <a:pt x="2595" y="2217"/>
                </a:lnTo>
                <a:lnTo>
                  <a:pt x="2654" y="2203"/>
                </a:lnTo>
                <a:lnTo>
                  <a:pt x="2714" y="2194"/>
                </a:lnTo>
                <a:lnTo>
                  <a:pt x="2778" y="2191"/>
                </a:lnTo>
                <a:close/>
                <a:moveTo>
                  <a:pt x="2540" y="2991"/>
                </a:moveTo>
                <a:lnTo>
                  <a:pt x="2543" y="3025"/>
                </a:lnTo>
                <a:lnTo>
                  <a:pt x="2552" y="3057"/>
                </a:lnTo>
                <a:lnTo>
                  <a:pt x="2563" y="3085"/>
                </a:lnTo>
                <a:lnTo>
                  <a:pt x="2578" y="3109"/>
                </a:lnTo>
                <a:lnTo>
                  <a:pt x="2598" y="3132"/>
                </a:lnTo>
                <a:lnTo>
                  <a:pt x="2623" y="3151"/>
                </a:lnTo>
                <a:lnTo>
                  <a:pt x="2650" y="3167"/>
                </a:lnTo>
                <a:lnTo>
                  <a:pt x="2679" y="3179"/>
                </a:lnTo>
                <a:lnTo>
                  <a:pt x="2709" y="3188"/>
                </a:lnTo>
                <a:lnTo>
                  <a:pt x="2741" y="3194"/>
                </a:lnTo>
                <a:lnTo>
                  <a:pt x="2741" y="3271"/>
                </a:lnTo>
                <a:lnTo>
                  <a:pt x="2743" y="3280"/>
                </a:lnTo>
                <a:lnTo>
                  <a:pt x="2749" y="3287"/>
                </a:lnTo>
                <a:lnTo>
                  <a:pt x="2759" y="3289"/>
                </a:lnTo>
                <a:lnTo>
                  <a:pt x="2829" y="3289"/>
                </a:lnTo>
                <a:lnTo>
                  <a:pt x="2838" y="3287"/>
                </a:lnTo>
                <a:lnTo>
                  <a:pt x="2845" y="3280"/>
                </a:lnTo>
                <a:lnTo>
                  <a:pt x="2847" y="3271"/>
                </a:lnTo>
                <a:lnTo>
                  <a:pt x="2847" y="3190"/>
                </a:lnTo>
                <a:lnTo>
                  <a:pt x="2881" y="3183"/>
                </a:lnTo>
                <a:lnTo>
                  <a:pt x="2910" y="3171"/>
                </a:lnTo>
                <a:lnTo>
                  <a:pt x="2937" y="3155"/>
                </a:lnTo>
                <a:lnTo>
                  <a:pt x="2960" y="3135"/>
                </a:lnTo>
                <a:lnTo>
                  <a:pt x="2978" y="3114"/>
                </a:lnTo>
                <a:lnTo>
                  <a:pt x="2993" y="3090"/>
                </a:lnTo>
                <a:lnTo>
                  <a:pt x="3003" y="3064"/>
                </a:lnTo>
                <a:lnTo>
                  <a:pt x="3010" y="3035"/>
                </a:lnTo>
                <a:lnTo>
                  <a:pt x="3012" y="3003"/>
                </a:lnTo>
                <a:lnTo>
                  <a:pt x="3010" y="2969"/>
                </a:lnTo>
                <a:lnTo>
                  <a:pt x="3003" y="2939"/>
                </a:lnTo>
                <a:lnTo>
                  <a:pt x="2993" y="2913"/>
                </a:lnTo>
                <a:lnTo>
                  <a:pt x="2978" y="2890"/>
                </a:lnTo>
                <a:lnTo>
                  <a:pt x="2960" y="2870"/>
                </a:lnTo>
                <a:lnTo>
                  <a:pt x="2938" y="2852"/>
                </a:lnTo>
                <a:lnTo>
                  <a:pt x="2910" y="2834"/>
                </a:lnTo>
                <a:lnTo>
                  <a:pt x="2879" y="2815"/>
                </a:lnTo>
                <a:lnTo>
                  <a:pt x="2841" y="2797"/>
                </a:lnTo>
                <a:lnTo>
                  <a:pt x="2799" y="2779"/>
                </a:lnTo>
                <a:lnTo>
                  <a:pt x="2777" y="2768"/>
                </a:lnTo>
                <a:lnTo>
                  <a:pt x="2760" y="2759"/>
                </a:lnTo>
                <a:lnTo>
                  <a:pt x="2747" y="2749"/>
                </a:lnTo>
                <a:lnTo>
                  <a:pt x="2737" y="2739"/>
                </a:lnTo>
                <a:lnTo>
                  <a:pt x="2729" y="2727"/>
                </a:lnTo>
                <a:lnTo>
                  <a:pt x="2724" y="2715"/>
                </a:lnTo>
                <a:lnTo>
                  <a:pt x="2720" y="2703"/>
                </a:lnTo>
                <a:lnTo>
                  <a:pt x="2719" y="2687"/>
                </a:lnTo>
                <a:lnTo>
                  <a:pt x="2720" y="2671"/>
                </a:lnTo>
                <a:lnTo>
                  <a:pt x="2722" y="2657"/>
                </a:lnTo>
                <a:lnTo>
                  <a:pt x="2726" y="2645"/>
                </a:lnTo>
                <a:lnTo>
                  <a:pt x="2734" y="2636"/>
                </a:lnTo>
                <a:lnTo>
                  <a:pt x="2743" y="2626"/>
                </a:lnTo>
                <a:lnTo>
                  <a:pt x="2754" y="2619"/>
                </a:lnTo>
                <a:lnTo>
                  <a:pt x="2766" y="2615"/>
                </a:lnTo>
                <a:lnTo>
                  <a:pt x="2781" y="2613"/>
                </a:lnTo>
                <a:lnTo>
                  <a:pt x="2797" y="2615"/>
                </a:lnTo>
                <a:lnTo>
                  <a:pt x="2811" y="2620"/>
                </a:lnTo>
                <a:lnTo>
                  <a:pt x="2822" y="2627"/>
                </a:lnTo>
                <a:lnTo>
                  <a:pt x="2832" y="2639"/>
                </a:lnTo>
                <a:lnTo>
                  <a:pt x="2841" y="2655"/>
                </a:lnTo>
                <a:lnTo>
                  <a:pt x="2849" y="2674"/>
                </a:lnTo>
                <a:lnTo>
                  <a:pt x="2851" y="2694"/>
                </a:lnTo>
                <a:lnTo>
                  <a:pt x="2852" y="2702"/>
                </a:lnTo>
                <a:lnTo>
                  <a:pt x="2857" y="2708"/>
                </a:lnTo>
                <a:lnTo>
                  <a:pt x="2865" y="2711"/>
                </a:lnTo>
                <a:lnTo>
                  <a:pt x="2872" y="2713"/>
                </a:lnTo>
                <a:lnTo>
                  <a:pt x="2986" y="2713"/>
                </a:lnTo>
                <a:lnTo>
                  <a:pt x="2997" y="2709"/>
                </a:lnTo>
                <a:lnTo>
                  <a:pt x="3004" y="2702"/>
                </a:lnTo>
                <a:lnTo>
                  <a:pt x="3008" y="2691"/>
                </a:lnTo>
                <a:lnTo>
                  <a:pt x="3004" y="2662"/>
                </a:lnTo>
                <a:lnTo>
                  <a:pt x="2998" y="2636"/>
                </a:lnTo>
                <a:lnTo>
                  <a:pt x="2989" y="2610"/>
                </a:lnTo>
                <a:lnTo>
                  <a:pt x="2976" y="2587"/>
                </a:lnTo>
                <a:lnTo>
                  <a:pt x="2960" y="2566"/>
                </a:lnTo>
                <a:lnTo>
                  <a:pt x="2937" y="2543"/>
                </a:lnTo>
                <a:lnTo>
                  <a:pt x="2909" y="2524"/>
                </a:lnTo>
                <a:lnTo>
                  <a:pt x="2877" y="2510"/>
                </a:lnTo>
                <a:lnTo>
                  <a:pt x="2844" y="2500"/>
                </a:lnTo>
                <a:lnTo>
                  <a:pt x="2844" y="2415"/>
                </a:lnTo>
                <a:lnTo>
                  <a:pt x="2841" y="2405"/>
                </a:lnTo>
                <a:lnTo>
                  <a:pt x="2835" y="2399"/>
                </a:lnTo>
                <a:lnTo>
                  <a:pt x="2825" y="2397"/>
                </a:lnTo>
                <a:lnTo>
                  <a:pt x="2756" y="2397"/>
                </a:lnTo>
                <a:lnTo>
                  <a:pt x="2746" y="2399"/>
                </a:lnTo>
                <a:lnTo>
                  <a:pt x="2740" y="2405"/>
                </a:lnTo>
                <a:lnTo>
                  <a:pt x="2737" y="2415"/>
                </a:lnTo>
                <a:lnTo>
                  <a:pt x="2737" y="2496"/>
                </a:lnTo>
                <a:lnTo>
                  <a:pt x="2707" y="2502"/>
                </a:lnTo>
                <a:lnTo>
                  <a:pt x="2680" y="2510"/>
                </a:lnTo>
                <a:lnTo>
                  <a:pt x="2654" y="2522"/>
                </a:lnTo>
                <a:lnTo>
                  <a:pt x="2630" y="2537"/>
                </a:lnTo>
                <a:lnTo>
                  <a:pt x="2609" y="2555"/>
                </a:lnTo>
                <a:lnTo>
                  <a:pt x="2590" y="2576"/>
                </a:lnTo>
                <a:lnTo>
                  <a:pt x="2574" y="2600"/>
                </a:lnTo>
                <a:lnTo>
                  <a:pt x="2563" y="2626"/>
                </a:lnTo>
                <a:lnTo>
                  <a:pt x="2557" y="2655"/>
                </a:lnTo>
                <a:lnTo>
                  <a:pt x="2555" y="2687"/>
                </a:lnTo>
                <a:lnTo>
                  <a:pt x="2557" y="2721"/>
                </a:lnTo>
                <a:lnTo>
                  <a:pt x="2563" y="2750"/>
                </a:lnTo>
                <a:lnTo>
                  <a:pt x="2573" y="2777"/>
                </a:lnTo>
                <a:lnTo>
                  <a:pt x="2587" y="2800"/>
                </a:lnTo>
                <a:lnTo>
                  <a:pt x="2605" y="2819"/>
                </a:lnTo>
                <a:lnTo>
                  <a:pt x="2634" y="2842"/>
                </a:lnTo>
                <a:lnTo>
                  <a:pt x="2671" y="2863"/>
                </a:lnTo>
                <a:lnTo>
                  <a:pt x="2716" y="2885"/>
                </a:lnTo>
                <a:lnTo>
                  <a:pt x="2766" y="2908"/>
                </a:lnTo>
                <a:lnTo>
                  <a:pt x="2788" y="2918"/>
                </a:lnTo>
                <a:lnTo>
                  <a:pt x="2804" y="2928"/>
                </a:lnTo>
                <a:lnTo>
                  <a:pt x="2818" y="2937"/>
                </a:lnTo>
                <a:lnTo>
                  <a:pt x="2829" y="2948"/>
                </a:lnTo>
                <a:lnTo>
                  <a:pt x="2836" y="2960"/>
                </a:lnTo>
                <a:lnTo>
                  <a:pt x="2841" y="2973"/>
                </a:lnTo>
                <a:lnTo>
                  <a:pt x="2846" y="2988"/>
                </a:lnTo>
                <a:lnTo>
                  <a:pt x="2847" y="3006"/>
                </a:lnTo>
                <a:lnTo>
                  <a:pt x="2846" y="3022"/>
                </a:lnTo>
                <a:lnTo>
                  <a:pt x="2841" y="3035"/>
                </a:lnTo>
                <a:lnTo>
                  <a:pt x="2836" y="3047"/>
                </a:lnTo>
                <a:lnTo>
                  <a:pt x="2829" y="3058"/>
                </a:lnTo>
                <a:lnTo>
                  <a:pt x="2819" y="3067"/>
                </a:lnTo>
                <a:lnTo>
                  <a:pt x="2808" y="3072"/>
                </a:lnTo>
                <a:lnTo>
                  <a:pt x="2793" y="3075"/>
                </a:lnTo>
                <a:lnTo>
                  <a:pt x="2778" y="3076"/>
                </a:lnTo>
                <a:lnTo>
                  <a:pt x="2759" y="3075"/>
                </a:lnTo>
                <a:lnTo>
                  <a:pt x="2742" y="3070"/>
                </a:lnTo>
                <a:lnTo>
                  <a:pt x="2726" y="3063"/>
                </a:lnTo>
                <a:lnTo>
                  <a:pt x="2711" y="3051"/>
                </a:lnTo>
                <a:lnTo>
                  <a:pt x="2702" y="3038"/>
                </a:lnTo>
                <a:lnTo>
                  <a:pt x="2694" y="3023"/>
                </a:lnTo>
                <a:lnTo>
                  <a:pt x="2689" y="3006"/>
                </a:lnTo>
                <a:lnTo>
                  <a:pt x="2686" y="2988"/>
                </a:lnTo>
                <a:lnTo>
                  <a:pt x="2684" y="2981"/>
                </a:lnTo>
                <a:lnTo>
                  <a:pt x="2680" y="2974"/>
                </a:lnTo>
                <a:lnTo>
                  <a:pt x="2672" y="2971"/>
                </a:lnTo>
                <a:lnTo>
                  <a:pt x="2664" y="2970"/>
                </a:lnTo>
                <a:lnTo>
                  <a:pt x="2550" y="2973"/>
                </a:lnTo>
                <a:lnTo>
                  <a:pt x="2549" y="2973"/>
                </a:lnTo>
                <a:lnTo>
                  <a:pt x="2546" y="2976"/>
                </a:lnTo>
                <a:lnTo>
                  <a:pt x="2543" y="2980"/>
                </a:lnTo>
                <a:lnTo>
                  <a:pt x="2541" y="2985"/>
                </a:lnTo>
                <a:lnTo>
                  <a:pt x="2540" y="2991"/>
                </a:lnTo>
                <a:close/>
              </a:path>
            </a:pathLst>
          </a:custGeom>
          <a:solidFill>
            <a:srgbClr val="33B3A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Calibri Light" panose="020F0302020204030204"/>
            </a:endParaRPr>
          </a:p>
        </p:txBody>
      </p:sp>
      <p:grpSp>
        <p:nvGrpSpPr>
          <p:cNvPr id="98" name="Group 97"/>
          <p:cNvGrpSpPr/>
          <p:nvPr/>
        </p:nvGrpSpPr>
        <p:grpSpPr>
          <a:xfrm>
            <a:off x="10401932" y="5767211"/>
            <a:ext cx="532137" cy="469704"/>
            <a:chOff x="1796657" y="1733038"/>
            <a:chExt cx="439783" cy="388185"/>
          </a:xfrm>
        </p:grpSpPr>
        <p:grpSp>
          <p:nvGrpSpPr>
            <p:cNvPr id="99" name="Group 98"/>
            <p:cNvGrpSpPr/>
            <p:nvPr/>
          </p:nvGrpSpPr>
          <p:grpSpPr>
            <a:xfrm>
              <a:off x="1796657" y="1733038"/>
              <a:ext cx="373805" cy="366218"/>
              <a:chOff x="6259933" y="1014461"/>
              <a:chExt cx="1173163" cy="1149350"/>
            </a:xfrm>
            <a:solidFill>
              <a:srgbClr val="26867C"/>
            </a:solidFill>
          </p:grpSpPr>
          <p:sp>
            <p:nvSpPr>
              <p:cNvPr id="101" name="Freeform 5"/>
              <p:cNvSpPr>
                <a:spLocks/>
              </p:cNvSpPr>
              <p:nvPr/>
            </p:nvSpPr>
            <p:spPr bwMode="auto">
              <a:xfrm>
                <a:off x="6547270" y="1014461"/>
                <a:ext cx="600075" cy="695325"/>
              </a:xfrm>
              <a:custGeom>
                <a:avLst/>
                <a:gdLst>
                  <a:gd name="T0" fmla="*/ 2821 w 3072"/>
                  <a:gd name="T1" fmla="*/ 1648 h 3560"/>
                  <a:gd name="T2" fmla="*/ 2839 w 3072"/>
                  <a:gd name="T3" fmla="*/ 1126 h 3560"/>
                  <a:gd name="T4" fmla="*/ 2690 w 3072"/>
                  <a:gd name="T5" fmla="*/ 554 h 3560"/>
                  <a:gd name="T6" fmla="*/ 2197 w 3072"/>
                  <a:gd name="T7" fmla="*/ 145 h 3560"/>
                  <a:gd name="T8" fmla="*/ 1939 w 3072"/>
                  <a:gd name="T9" fmla="*/ 133 h 3560"/>
                  <a:gd name="T10" fmla="*/ 1536 w 3072"/>
                  <a:gd name="T11" fmla="*/ 14 h 3560"/>
                  <a:gd name="T12" fmla="*/ 1075 w 3072"/>
                  <a:gd name="T13" fmla="*/ 84 h 3560"/>
                  <a:gd name="T14" fmla="*/ 754 w 3072"/>
                  <a:gd name="T15" fmla="*/ 252 h 3560"/>
                  <a:gd name="T16" fmla="*/ 447 w 3072"/>
                  <a:gd name="T17" fmla="*/ 670 h 3560"/>
                  <a:gd name="T18" fmla="*/ 252 w 3072"/>
                  <a:gd name="T19" fmla="*/ 991 h 3560"/>
                  <a:gd name="T20" fmla="*/ 252 w 3072"/>
                  <a:gd name="T21" fmla="*/ 1648 h 3560"/>
                  <a:gd name="T22" fmla="*/ 447 w 3072"/>
                  <a:gd name="T23" fmla="*/ 2541 h 3560"/>
                  <a:gd name="T24" fmla="*/ 1536 w 3072"/>
                  <a:gd name="T25" fmla="*/ 3560 h 3560"/>
                  <a:gd name="T26" fmla="*/ 2625 w 3072"/>
                  <a:gd name="T27" fmla="*/ 2541 h 3560"/>
                  <a:gd name="T28" fmla="*/ 2821 w 3072"/>
                  <a:gd name="T29" fmla="*/ 1648 h 35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72" h="3560">
                    <a:moveTo>
                      <a:pt x="2821" y="1648"/>
                    </a:moveTo>
                    <a:cubicBezTo>
                      <a:pt x="2904" y="1462"/>
                      <a:pt x="2867" y="1252"/>
                      <a:pt x="2839" y="1126"/>
                    </a:cubicBezTo>
                    <a:cubicBezTo>
                      <a:pt x="2811" y="1001"/>
                      <a:pt x="2788" y="763"/>
                      <a:pt x="2690" y="554"/>
                    </a:cubicBezTo>
                    <a:cubicBezTo>
                      <a:pt x="2651" y="469"/>
                      <a:pt x="2336" y="200"/>
                      <a:pt x="2197" y="145"/>
                    </a:cubicBezTo>
                    <a:cubicBezTo>
                      <a:pt x="2057" y="89"/>
                      <a:pt x="2018" y="129"/>
                      <a:pt x="1939" y="133"/>
                    </a:cubicBezTo>
                    <a:cubicBezTo>
                      <a:pt x="1846" y="138"/>
                      <a:pt x="1802" y="0"/>
                      <a:pt x="1536" y="14"/>
                    </a:cubicBezTo>
                    <a:cubicBezTo>
                      <a:pt x="1271" y="0"/>
                      <a:pt x="1159" y="42"/>
                      <a:pt x="1075" y="84"/>
                    </a:cubicBezTo>
                    <a:cubicBezTo>
                      <a:pt x="992" y="126"/>
                      <a:pt x="894" y="196"/>
                      <a:pt x="754" y="252"/>
                    </a:cubicBezTo>
                    <a:cubicBezTo>
                      <a:pt x="614" y="307"/>
                      <a:pt x="489" y="587"/>
                      <a:pt x="447" y="670"/>
                    </a:cubicBezTo>
                    <a:cubicBezTo>
                      <a:pt x="405" y="754"/>
                      <a:pt x="279" y="866"/>
                      <a:pt x="252" y="991"/>
                    </a:cubicBezTo>
                    <a:cubicBezTo>
                      <a:pt x="223" y="1117"/>
                      <a:pt x="223" y="1536"/>
                      <a:pt x="252" y="1648"/>
                    </a:cubicBezTo>
                    <a:cubicBezTo>
                      <a:pt x="112" y="1717"/>
                      <a:pt x="0" y="2317"/>
                      <a:pt x="447" y="2541"/>
                    </a:cubicBezTo>
                    <a:cubicBezTo>
                      <a:pt x="545" y="2862"/>
                      <a:pt x="922" y="3560"/>
                      <a:pt x="1536" y="3560"/>
                    </a:cubicBezTo>
                    <a:cubicBezTo>
                      <a:pt x="2150" y="3560"/>
                      <a:pt x="2527" y="2862"/>
                      <a:pt x="2625" y="2541"/>
                    </a:cubicBezTo>
                    <a:cubicBezTo>
                      <a:pt x="3072" y="2318"/>
                      <a:pt x="2960" y="1718"/>
                      <a:pt x="2821" y="164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kern="0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102" name="Freeform 6"/>
              <p:cNvSpPr>
                <a:spLocks/>
              </p:cNvSpPr>
              <p:nvPr/>
            </p:nvSpPr>
            <p:spPr bwMode="auto">
              <a:xfrm>
                <a:off x="6259933" y="1693911"/>
                <a:ext cx="1173163" cy="469900"/>
              </a:xfrm>
              <a:custGeom>
                <a:avLst/>
                <a:gdLst>
                  <a:gd name="T0" fmla="*/ 4733 w 6012"/>
                  <a:gd name="T1" fmla="*/ 363 h 2410"/>
                  <a:gd name="T2" fmla="*/ 3990 w 6012"/>
                  <a:gd name="T3" fmla="*/ 117 h 2410"/>
                  <a:gd name="T4" fmla="*/ 3764 w 6012"/>
                  <a:gd name="T5" fmla="*/ 0 h 2410"/>
                  <a:gd name="T6" fmla="*/ 3332 w 6012"/>
                  <a:gd name="T7" fmla="*/ 1703 h 2410"/>
                  <a:gd name="T8" fmla="*/ 3169 w 6012"/>
                  <a:gd name="T9" fmla="*/ 628 h 2410"/>
                  <a:gd name="T10" fmla="*/ 3332 w 6012"/>
                  <a:gd name="T11" fmla="*/ 247 h 2410"/>
                  <a:gd name="T12" fmla="*/ 3006 w 6012"/>
                  <a:gd name="T13" fmla="*/ 270 h 2410"/>
                  <a:gd name="T14" fmla="*/ 2680 w 6012"/>
                  <a:gd name="T15" fmla="*/ 247 h 2410"/>
                  <a:gd name="T16" fmla="*/ 2843 w 6012"/>
                  <a:gd name="T17" fmla="*/ 628 h 2410"/>
                  <a:gd name="T18" fmla="*/ 2680 w 6012"/>
                  <a:gd name="T19" fmla="*/ 1703 h 2410"/>
                  <a:gd name="T20" fmla="*/ 2248 w 6012"/>
                  <a:gd name="T21" fmla="*/ 0 h 2410"/>
                  <a:gd name="T22" fmla="*/ 2022 w 6012"/>
                  <a:gd name="T23" fmla="*/ 117 h 2410"/>
                  <a:gd name="T24" fmla="*/ 1280 w 6012"/>
                  <a:gd name="T25" fmla="*/ 363 h 2410"/>
                  <a:gd name="T26" fmla="*/ 47 w 6012"/>
                  <a:gd name="T27" fmla="*/ 2410 h 2410"/>
                  <a:gd name="T28" fmla="*/ 3006 w 6012"/>
                  <a:gd name="T29" fmla="*/ 2410 h 2410"/>
                  <a:gd name="T30" fmla="*/ 5966 w 6012"/>
                  <a:gd name="T31" fmla="*/ 2410 h 2410"/>
                  <a:gd name="T32" fmla="*/ 4733 w 6012"/>
                  <a:gd name="T33" fmla="*/ 363 h 2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12" h="2410">
                    <a:moveTo>
                      <a:pt x="4733" y="363"/>
                    </a:moveTo>
                    <a:cubicBezTo>
                      <a:pt x="4239" y="214"/>
                      <a:pt x="4067" y="167"/>
                      <a:pt x="3990" y="117"/>
                    </a:cubicBezTo>
                    <a:cubicBezTo>
                      <a:pt x="3922" y="72"/>
                      <a:pt x="3837" y="20"/>
                      <a:pt x="3764" y="0"/>
                    </a:cubicBezTo>
                    <a:cubicBezTo>
                      <a:pt x="3760" y="14"/>
                      <a:pt x="3402" y="1382"/>
                      <a:pt x="3332" y="1703"/>
                    </a:cubicBezTo>
                    <a:cubicBezTo>
                      <a:pt x="3318" y="1666"/>
                      <a:pt x="3206" y="777"/>
                      <a:pt x="3169" y="628"/>
                    </a:cubicBezTo>
                    <a:cubicBezTo>
                      <a:pt x="3192" y="600"/>
                      <a:pt x="3295" y="373"/>
                      <a:pt x="3332" y="247"/>
                    </a:cubicBezTo>
                    <a:cubicBezTo>
                      <a:pt x="3295" y="256"/>
                      <a:pt x="3169" y="270"/>
                      <a:pt x="3006" y="270"/>
                    </a:cubicBezTo>
                    <a:cubicBezTo>
                      <a:pt x="2843" y="270"/>
                      <a:pt x="2718" y="256"/>
                      <a:pt x="2680" y="247"/>
                    </a:cubicBezTo>
                    <a:cubicBezTo>
                      <a:pt x="2718" y="373"/>
                      <a:pt x="2820" y="600"/>
                      <a:pt x="2843" y="628"/>
                    </a:cubicBezTo>
                    <a:cubicBezTo>
                      <a:pt x="2806" y="777"/>
                      <a:pt x="2694" y="1666"/>
                      <a:pt x="2680" y="1703"/>
                    </a:cubicBezTo>
                    <a:cubicBezTo>
                      <a:pt x="2611" y="1382"/>
                      <a:pt x="2252" y="14"/>
                      <a:pt x="2248" y="0"/>
                    </a:cubicBezTo>
                    <a:cubicBezTo>
                      <a:pt x="2175" y="20"/>
                      <a:pt x="2090" y="72"/>
                      <a:pt x="2022" y="117"/>
                    </a:cubicBezTo>
                    <a:cubicBezTo>
                      <a:pt x="1945" y="167"/>
                      <a:pt x="1773" y="214"/>
                      <a:pt x="1280" y="363"/>
                    </a:cubicBezTo>
                    <a:cubicBezTo>
                      <a:pt x="786" y="512"/>
                      <a:pt x="0" y="530"/>
                      <a:pt x="47" y="2410"/>
                    </a:cubicBezTo>
                    <a:cubicBezTo>
                      <a:pt x="1219" y="2410"/>
                      <a:pt x="3006" y="2410"/>
                      <a:pt x="3006" y="2410"/>
                    </a:cubicBezTo>
                    <a:cubicBezTo>
                      <a:pt x="3006" y="2410"/>
                      <a:pt x="4793" y="2410"/>
                      <a:pt x="5966" y="2410"/>
                    </a:cubicBezTo>
                    <a:cubicBezTo>
                      <a:pt x="6012" y="530"/>
                      <a:pt x="5226" y="512"/>
                      <a:pt x="4733" y="36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kern="0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</p:grpSp>
        <p:sp>
          <p:nvSpPr>
            <p:cNvPr id="100" name="5-Point Star 99"/>
            <p:cNvSpPr/>
            <p:nvPr/>
          </p:nvSpPr>
          <p:spPr>
            <a:xfrm>
              <a:off x="2047840" y="1932623"/>
              <a:ext cx="188600" cy="188600"/>
            </a:xfrm>
            <a:prstGeom prst="star5">
              <a:avLst/>
            </a:prstGeom>
            <a:solidFill>
              <a:srgbClr val="26867C"/>
            </a:solidFill>
            <a:ln w="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Calibri Light" panose="020F0302020204030204"/>
              </a:endParaRPr>
            </a:p>
          </p:txBody>
        </p:sp>
      </p:grpSp>
      <p:grpSp>
        <p:nvGrpSpPr>
          <p:cNvPr id="111" name="Group 110"/>
          <p:cNvGrpSpPr/>
          <p:nvPr/>
        </p:nvGrpSpPr>
        <p:grpSpPr>
          <a:xfrm>
            <a:off x="6806259" y="2013890"/>
            <a:ext cx="1627483" cy="4703332"/>
            <a:chOff x="4816542" y="1880540"/>
            <a:chExt cx="1627483" cy="4703332"/>
          </a:xfrm>
        </p:grpSpPr>
        <p:sp>
          <p:nvSpPr>
            <p:cNvPr id="24" name="Rectangle 23"/>
            <p:cNvSpPr/>
            <p:nvPr/>
          </p:nvSpPr>
          <p:spPr>
            <a:xfrm>
              <a:off x="5024480" y="2427212"/>
              <a:ext cx="1360284" cy="4616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en-US" sz="12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+mj-lt"/>
                  <a:cs typeface="Arial" panose="020B0604020202020204" pitchFamily="34" charset="0"/>
                </a:rPr>
                <a:t>International Tax Attorney</a:t>
              </a:r>
            </a:p>
          </p:txBody>
        </p:sp>
        <p:grpSp>
          <p:nvGrpSpPr>
            <p:cNvPr id="25" name="Group 22"/>
            <p:cNvGrpSpPr>
              <a:grpSpLocks noChangeAspect="1"/>
            </p:cNvGrpSpPr>
            <p:nvPr/>
          </p:nvGrpSpPr>
          <p:grpSpPr bwMode="auto">
            <a:xfrm>
              <a:off x="5335094" y="1880540"/>
              <a:ext cx="590378" cy="467748"/>
              <a:chOff x="432" y="222"/>
              <a:chExt cx="4896" cy="3879"/>
            </a:xfrm>
            <a:solidFill>
              <a:srgbClr val="26867C"/>
            </a:solidFill>
          </p:grpSpPr>
          <p:sp>
            <p:nvSpPr>
              <p:cNvPr id="26" name="Freeform 24"/>
              <p:cNvSpPr>
                <a:spLocks/>
              </p:cNvSpPr>
              <p:nvPr/>
            </p:nvSpPr>
            <p:spPr bwMode="auto">
              <a:xfrm>
                <a:off x="2675" y="222"/>
                <a:ext cx="1224" cy="1225"/>
              </a:xfrm>
              <a:custGeom>
                <a:avLst/>
                <a:gdLst>
                  <a:gd name="T0" fmla="*/ 613 w 1224"/>
                  <a:gd name="T1" fmla="*/ 0 h 1225"/>
                  <a:gd name="T2" fmla="*/ 684 w 1224"/>
                  <a:gd name="T3" fmla="*/ 4 h 1225"/>
                  <a:gd name="T4" fmla="*/ 754 w 1224"/>
                  <a:gd name="T5" fmla="*/ 16 h 1225"/>
                  <a:gd name="T6" fmla="*/ 819 w 1224"/>
                  <a:gd name="T7" fmla="*/ 36 h 1225"/>
                  <a:gd name="T8" fmla="*/ 882 w 1224"/>
                  <a:gd name="T9" fmla="*/ 62 h 1225"/>
                  <a:gd name="T10" fmla="*/ 941 w 1224"/>
                  <a:gd name="T11" fmla="*/ 95 h 1225"/>
                  <a:gd name="T12" fmla="*/ 996 w 1224"/>
                  <a:gd name="T13" fmla="*/ 135 h 1225"/>
                  <a:gd name="T14" fmla="*/ 1046 w 1224"/>
                  <a:gd name="T15" fmla="*/ 180 h 1225"/>
                  <a:gd name="T16" fmla="*/ 1091 w 1224"/>
                  <a:gd name="T17" fmla="*/ 230 h 1225"/>
                  <a:gd name="T18" fmla="*/ 1129 w 1224"/>
                  <a:gd name="T19" fmla="*/ 284 h 1225"/>
                  <a:gd name="T20" fmla="*/ 1163 w 1224"/>
                  <a:gd name="T21" fmla="*/ 343 h 1225"/>
                  <a:gd name="T22" fmla="*/ 1189 w 1224"/>
                  <a:gd name="T23" fmla="*/ 405 h 1225"/>
                  <a:gd name="T24" fmla="*/ 1209 w 1224"/>
                  <a:gd name="T25" fmla="*/ 472 h 1225"/>
                  <a:gd name="T26" fmla="*/ 1221 w 1224"/>
                  <a:gd name="T27" fmla="*/ 540 h 1225"/>
                  <a:gd name="T28" fmla="*/ 1224 w 1224"/>
                  <a:gd name="T29" fmla="*/ 613 h 1225"/>
                  <a:gd name="T30" fmla="*/ 1221 w 1224"/>
                  <a:gd name="T31" fmla="*/ 684 h 1225"/>
                  <a:gd name="T32" fmla="*/ 1209 w 1224"/>
                  <a:gd name="T33" fmla="*/ 753 h 1225"/>
                  <a:gd name="T34" fmla="*/ 1189 w 1224"/>
                  <a:gd name="T35" fmla="*/ 819 h 1225"/>
                  <a:gd name="T36" fmla="*/ 1163 w 1224"/>
                  <a:gd name="T37" fmla="*/ 882 h 1225"/>
                  <a:gd name="T38" fmla="*/ 1129 w 1224"/>
                  <a:gd name="T39" fmla="*/ 941 h 1225"/>
                  <a:gd name="T40" fmla="*/ 1091 w 1224"/>
                  <a:gd name="T41" fmla="*/ 996 h 1225"/>
                  <a:gd name="T42" fmla="*/ 1046 w 1224"/>
                  <a:gd name="T43" fmla="*/ 1045 h 1225"/>
                  <a:gd name="T44" fmla="*/ 996 w 1224"/>
                  <a:gd name="T45" fmla="*/ 1090 h 1225"/>
                  <a:gd name="T46" fmla="*/ 941 w 1224"/>
                  <a:gd name="T47" fmla="*/ 1130 h 1225"/>
                  <a:gd name="T48" fmla="*/ 882 w 1224"/>
                  <a:gd name="T49" fmla="*/ 1162 h 1225"/>
                  <a:gd name="T50" fmla="*/ 819 w 1224"/>
                  <a:gd name="T51" fmla="*/ 1189 h 1225"/>
                  <a:gd name="T52" fmla="*/ 754 w 1224"/>
                  <a:gd name="T53" fmla="*/ 1208 h 1225"/>
                  <a:gd name="T54" fmla="*/ 684 w 1224"/>
                  <a:gd name="T55" fmla="*/ 1220 h 1225"/>
                  <a:gd name="T56" fmla="*/ 613 w 1224"/>
                  <a:gd name="T57" fmla="*/ 1225 h 1225"/>
                  <a:gd name="T58" fmla="*/ 542 w 1224"/>
                  <a:gd name="T59" fmla="*/ 1220 h 1225"/>
                  <a:gd name="T60" fmla="*/ 472 w 1224"/>
                  <a:gd name="T61" fmla="*/ 1208 h 1225"/>
                  <a:gd name="T62" fmla="*/ 407 w 1224"/>
                  <a:gd name="T63" fmla="*/ 1189 h 1225"/>
                  <a:gd name="T64" fmla="*/ 344 w 1224"/>
                  <a:gd name="T65" fmla="*/ 1162 h 1225"/>
                  <a:gd name="T66" fmla="*/ 285 w 1224"/>
                  <a:gd name="T67" fmla="*/ 1130 h 1225"/>
                  <a:gd name="T68" fmla="*/ 230 w 1224"/>
                  <a:gd name="T69" fmla="*/ 1090 h 1225"/>
                  <a:gd name="T70" fmla="*/ 180 w 1224"/>
                  <a:gd name="T71" fmla="*/ 1045 h 1225"/>
                  <a:gd name="T72" fmla="*/ 135 w 1224"/>
                  <a:gd name="T73" fmla="*/ 996 h 1225"/>
                  <a:gd name="T74" fmla="*/ 97 w 1224"/>
                  <a:gd name="T75" fmla="*/ 941 h 1225"/>
                  <a:gd name="T76" fmla="*/ 63 w 1224"/>
                  <a:gd name="T77" fmla="*/ 882 h 1225"/>
                  <a:gd name="T78" fmla="*/ 37 w 1224"/>
                  <a:gd name="T79" fmla="*/ 819 h 1225"/>
                  <a:gd name="T80" fmla="*/ 17 w 1224"/>
                  <a:gd name="T81" fmla="*/ 753 h 1225"/>
                  <a:gd name="T82" fmla="*/ 5 w 1224"/>
                  <a:gd name="T83" fmla="*/ 684 h 1225"/>
                  <a:gd name="T84" fmla="*/ 0 w 1224"/>
                  <a:gd name="T85" fmla="*/ 613 h 1225"/>
                  <a:gd name="T86" fmla="*/ 5 w 1224"/>
                  <a:gd name="T87" fmla="*/ 540 h 1225"/>
                  <a:gd name="T88" fmla="*/ 17 w 1224"/>
                  <a:gd name="T89" fmla="*/ 472 h 1225"/>
                  <a:gd name="T90" fmla="*/ 37 w 1224"/>
                  <a:gd name="T91" fmla="*/ 405 h 1225"/>
                  <a:gd name="T92" fmla="*/ 63 w 1224"/>
                  <a:gd name="T93" fmla="*/ 343 h 1225"/>
                  <a:gd name="T94" fmla="*/ 97 w 1224"/>
                  <a:gd name="T95" fmla="*/ 284 h 1225"/>
                  <a:gd name="T96" fmla="*/ 135 w 1224"/>
                  <a:gd name="T97" fmla="*/ 230 h 1225"/>
                  <a:gd name="T98" fmla="*/ 180 w 1224"/>
                  <a:gd name="T99" fmla="*/ 180 h 1225"/>
                  <a:gd name="T100" fmla="*/ 230 w 1224"/>
                  <a:gd name="T101" fmla="*/ 135 h 1225"/>
                  <a:gd name="T102" fmla="*/ 285 w 1224"/>
                  <a:gd name="T103" fmla="*/ 95 h 1225"/>
                  <a:gd name="T104" fmla="*/ 344 w 1224"/>
                  <a:gd name="T105" fmla="*/ 62 h 1225"/>
                  <a:gd name="T106" fmla="*/ 407 w 1224"/>
                  <a:gd name="T107" fmla="*/ 36 h 1225"/>
                  <a:gd name="T108" fmla="*/ 472 w 1224"/>
                  <a:gd name="T109" fmla="*/ 16 h 1225"/>
                  <a:gd name="T110" fmla="*/ 542 w 1224"/>
                  <a:gd name="T111" fmla="*/ 4 h 1225"/>
                  <a:gd name="T112" fmla="*/ 613 w 1224"/>
                  <a:gd name="T113" fmla="*/ 0 h 1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224" h="1225">
                    <a:moveTo>
                      <a:pt x="613" y="0"/>
                    </a:moveTo>
                    <a:lnTo>
                      <a:pt x="684" y="4"/>
                    </a:lnTo>
                    <a:lnTo>
                      <a:pt x="754" y="16"/>
                    </a:lnTo>
                    <a:lnTo>
                      <a:pt x="819" y="36"/>
                    </a:lnTo>
                    <a:lnTo>
                      <a:pt x="882" y="62"/>
                    </a:lnTo>
                    <a:lnTo>
                      <a:pt x="941" y="95"/>
                    </a:lnTo>
                    <a:lnTo>
                      <a:pt x="996" y="135"/>
                    </a:lnTo>
                    <a:lnTo>
                      <a:pt x="1046" y="180"/>
                    </a:lnTo>
                    <a:lnTo>
                      <a:pt x="1091" y="230"/>
                    </a:lnTo>
                    <a:lnTo>
                      <a:pt x="1129" y="284"/>
                    </a:lnTo>
                    <a:lnTo>
                      <a:pt x="1163" y="343"/>
                    </a:lnTo>
                    <a:lnTo>
                      <a:pt x="1189" y="405"/>
                    </a:lnTo>
                    <a:lnTo>
                      <a:pt x="1209" y="472"/>
                    </a:lnTo>
                    <a:lnTo>
                      <a:pt x="1221" y="540"/>
                    </a:lnTo>
                    <a:lnTo>
                      <a:pt x="1224" y="613"/>
                    </a:lnTo>
                    <a:lnTo>
                      <a:pt x="1221" y="684"/>
                    </a:lnTo>
                    <a:lnTo>
                      <a:pt x="1209" y="753"/>
                    </a:lnTo>
                    <a:lnTo>
                      <a:pt x="1189" y="819"/>
                    </a:lnTo>
                    <a:lnTo>
                      <a:pt x="1163" y="882"/>
                    </a:lnTo>
                    <a:lnTo>
                      <a:pt x="1129" y="941"/>
                    </a:lnTo>
                    <a:lnTo>
                      <a:pt x="1091" y="996"/>
                    </a:lnTo>
                    <a:lnTo>
                      <a:pt x="1046" y="1045"/>
                    </a:lnTo>
                    <a:lnTo>
                      <a:pt x="996" y="1090"/>
                    </a:lnTo>
                    <a:lnTo>
                      <a:pt x="941" y="1130"/>
                    </a:lnTo>
                    <a:lnTo>
                      <a:pt x="882" y="1162"/>
                    </a:lnTo>
                    <a:lnTo>
                      <a:pt x="819" y="1189"/>
                    </a:lnTo>
                    <a:lnTo>
                      <a:pt x="754" y="1208"/>
                    </a:lnTo>
                    <a:lnTo>
                      <a:pt x="684" y="1220"/>
                    </a:lnTo>
                    <a:lnTo>
                      <a:pt x="613" y="1225"/>
                    </a:lnTo>
                    <a:lnTo>
                      <a:pt x="542" y="1220"/>
                    </a:lnTo>
                    <a:lnTo>
                      <a:pt x="472" y="1208"/>
                    </a:lnTo>
                    <a:lnTo>
                      <a:pt x="407" y="1189"/>
                    </a:lnTo>
                    <a:lnTo>
                      <a:pt x="344" y="1162"/>
                    </a:lnTo>
                    <a:lnTo>
                      <a:pt x="285" y="1130"/>
                    </a:lnTo>
                    <a:lnTo>
                      <a:pt x="230" y="1090"/>
                    </a:lnTo>
                    <a:lnTo>
                      <a:pt x="180" y="1045"/>
                    </a:lnTo>
                    <a:lnTo>
                      <a:pt x="135" y="996"/>
                    </a:lnTo>
                    <a:lnTo>
                      <a:pt x="97" y="941"/>
                    </a:lnTo>
                    <a:lnTo>
                      <a:pt x="63" y="882"/>
                    </a:lnTo>
                    <a:lnTo>
                      <a:pt x="37" y="819"/>
                    </a:lnTo>
                    <a:lnTo>
                      <a:pt x="17" y="753"/>
                    </a:lnTo>
                    <a:lnTo>
                      <a:pt x="5" y="684"/>
                    </a:lnTo>
                    <a:lnTo>
                      <a:pt x="0" y="613"/>
                    </a:lnTo>
                    <a:lnTo>
                      <a:pt x="5" y="540"/>
                    </a:lnTo>
                    <a:lnTo>
                      <a:pt x="17" y="472"/>
                    </a:lnTo>
                    <a:lnTo>
                      <a:pt x="37" y="405"/>
                    </a:lnTo>
                    <a:lnTo>
                      <a:pt x="63" y="343"/>
                    </a:lnTo>
                    <a:lnTo>
                      <a:pt x="97" y="284"/>
                    </a:lnTo>
                    <a:lnTo>
                      <a:pt x="135" y="230"/>
                    </a:lnTo>
                    <a:lnTo>
                      <a:pt x="180" y="180"/>
                    </a:lnTo>
                    <a:lnTo>
                      <a:pt x="230" y="135"/>
                    </a:lnTo>
                    <a:lnTo>
                      <a:pt x="285" y="95"/>
                    </a:lnTo>
                    <a:lnTo>
                      <a:pt x="344" y="62"/>
                    </a:lnTo>
                    <a:lnTo>
                      <a:pt x="407" y="36"/>
                    </a:lnTo>
                    <a:lnTo>
                      <a:pt x="472" y="16"/>
                    </a:lnTo>
                    <a:lnTo>
                      <a:pt x="542" y="4"/>
                    </a:lnTo>
                    <a:lnTo>
                      <a:pt x="61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27" name="Freeform 25"/>
              <p:cNvSpPr>
                <a:spLocks noEditPoints="1"/>
              </p:cNvSpPr>
              <p:nvPr/>
            </p:nvSpPr>
            <p:spPr bwMode="auto">
              <a:xfrm>
                <a:off x="840" y="1652"/>
                <a:ext cx="4488" cy="2449"/>
              </a:xfrm>
              <a:custGeom>
                <a:avLst/>
                <a:gdLst>
                  <a:gd name="T0" fmla="*/ 3875 w 4488"/>
                  <a:gd name="T1" fmla="*/ 1019 h 2449"/>
                  <a:gd name="T2" fmla="*/ 3872 w 4488"/>
                  <a:gd name="T3" fmla="*/ 540 h 2449"/>
                  <a:gd name="T4" fmla="*/ 3840 w 4488"/>
                  <a:gd name="T5" fmla="*/ 405 h 2449"/>
                  <a:gd name="T6" fmla="*/ 3780 w 4488"/>
                  <a:gd name="T7" fmla="*/ 283 h 2449"/>
                  <a:gd name="T8" fmla="*/ 3697 w 4488"/>
                  <a:gd name="T9" fmla="*/ 178 h 2449"/>
                  <a:gd name="T10" fmla="*/ 3592 w 4488"/>
                  <a:gd name="T11" fmla="*/ 95 h 2449"/>
                  <a:gd name="T12" fmla="*/ 3470 w 4488"/>
                  <a:gd name="T13" fmla="*/ 35 h 2449"/>
                  <a:gd name="T14" fmla="*/ 3335 w 4488"/>
                  <a:gd name="T15" fmla="*/ 3 h 2449"/>
                  <a:gd name="T16" fmla="*/ 3059 w 4488"/>
                  <a:gd name="T17" fmla="*/ 0 h 2449"/>
                  <a:gd name="T18" fmla="*/ 2516 w 4488"/>
                  <a:gd name="T19" fmla="*/ 271 h 2449"/>
                  <a:gd name="T20" fmla="*/ 2245 w 4488"/>
                  <a:gd name="T21" fmla="*/ 0 h 2449"/>
                  <a:gd name="T22" fmla="*/ 2245 w 4488"/>
                  <a:gd name="T23" fmla="*/ 816 h 2449"/>
                  <a:gd name="T24" fmla="*/ 203 w 4488"/>
                  <a:gd name="T25" fmla="*/ 0 h 2449"/>
                  <a:gd name="T26" fmla="*/ 125 w 4488"/>
                  <a:gd name="T27" fmla="*/ 14 h 2449"/>
                  <a:gd name="T28" fmla="*/ 59 w 4488"/>
                  <a:gd name="T29" fmla="*/ 59 h 2449"/>
                  <a:gd name="T30" fmla="*/ 16 w 4488"/>
                  <a:gd name="T31" fmla="*/ 124 h 2449"/>
                  <a:gd name="T32" fmla="*/ 0 w 4488"/>
                  <a:gd name="T33" fmla="*/ 203 h 2449"/>
                  <a:gd name="T34" fmla="*/ 16 w 4488"/>
                  <a:gd name="T35" fmla="*/ 283 h 2449"/>
                  <a:gd name="T36" fmla="*/ 59 w 4488"/>
                  <a:gd name="T37" fmla="*/ 347 h 2449"/>
                  <a:gd name="T38" fmla="*/ 125 w 4488"/>
                  <a:gd name="T39" fmla="*/ 391 h 2449"/>
                  <a:gd name="T40" fmla="*/ 203 w 4488"/>
                  <a:gd name="T41" fmla="*/ 408 h 2449"/>
                  <a:gd name="T42" fmla="*/ 1632 w 4488"/>
                  <a:gd name="T43" fmla="*/ 2041 h 2449"/>
                  <a:gd name="T44" fmla="*/ 2856 w 4488"/>
                  <a:gd name="T45" fmla="*/ 2244 h 2449"/>
                  <a:gd name="T46" fmla="*/ 2872 w 4488"/>
                  <a:gd name="T47" fmla="*/ 2324 h 2449"/>
                  <a:gd name="T48" fmla="*/ 2915 w 4488"/>
                  <a:gd name="T49" fmla="*/ 2388 h 2449"/>
                  <a:gd name="T50" fmla="*/ 2981 w 4488"/>
                  <a:gd name="T51" fmla="*/ 2433 h 2449"/>
                  <a:gd name="T52" fmla="*/ 3059 w 4488"/>
                  <a:gd name="T53" fmla="*/ 2449 h 2449"/>
                  <a:gd name="T54" fmla="*/ 4325 w 4488"/>
                  <a:gd name="T55" fmla="*/ 2445 h 2449"/>
                  <a:gd name="T56" fmla="*/ 4397 w 4488"/>
                  <a:gd name="T57" fmla="*/ 2413 h 2449"/>
                  <a:gd name="T58" fmla="*/ 4454 w 4488"/>
                  <a:gd name="T59" fmla="*/ 2358 h 2449"/>
                  <a:gd name="T60" fmla="*/ 4484 w 4488"/>
                  <a:gd name="T61" fmla="*/ 2286 h 2449"/>
                  <a:gd name="T62" fmla="*/ 4488 w 4488"/>
                  <a:gd name="T63" fmla="*/ 1224 h 2449"/>
                  <a:gd name="T64" fmla="*/ 4472 w 4488"/>
                  <a:gd name="T65" fmla="*/ 1144 h 2449"/>
                  <a:gd name="T66" fmla="*/ 4429 w 4488"/>
                  <a:gd name="T67" fmla="*/ 1079 h 2449"/>
                  <a:gd name="T68" fmla="*/ 4363 w 4488"/>
                  <a:gd name="T69" fmla="*/ 1036 h 2449"/>
                  <a:gd name="T70" fmla="*/ 4285 w 4488"/>
                  <a:gd name="T71" fmla="*/ 1019 h 2449"/>
                  <a:gd name="T72" fmla="*/ 3267 w 4488"/>
                  <a:gd name="T73" fmla="*/ 687 h 2449"/>
                  <a:gd name="T74" fmla="*/ 3294 w 4488"/>
                  <a:gd name="T75" fmla="*/ 641 h 2449"/>
                  <a:gd name="T76" fmla="*/ 3340 w 4488"/>
                  <a:gd name="T77" fmla="*/ 616 h 2449"/>
                  <a:gd name="T78" fmla="*/ 3393 w 4488"/>
                  <a:gd name="T79" fmla="*/ 616 h 2449"/>
                  <a:gd name="T80" fmla="*/ 3438 w 4488"/>
                  <a:gd name="T81" fmla="*/ 641 h 2449"/>
                  <a:gd name="T82" fmla="*/ 3464 w 4488"/>
                  <a:gd name="T83" fmla="*/ 687 h 2449"/>
                  <a:gd name="T84" fmla="*/ 3467 w 4488"/>
                  <a:gd name="T85" fmla="*/ 1019 h 2449"/>
                  <a:gd name="T86" fmla="*/ 3264 w 4488"/>
                  <a:gd name="T87" fmla="*/ 714 h 2449"/>
                  <a:gd name="T88" fmla="*/ 3059 w 4488"/>
                  <a:gd name="T89" fmla="*/ 2244 h 2449"/>
                  <a:gd name="T90" fmla="*/ 3467 w 4488"/>
                  <a:gd name="T91" fmla="*/ 1224 h 2449"/>
                  <a:gd name="T92" fmla="*/ 3472 w 4488"/>
                  <a:gd name="T93" fmla="*/ 1877 h 2449"/>
                  <a:gd name="T94" fmla="*/ 3503 w 4488"/>
                  <a:gd name="T95" fmla="*/ 1950 h 2449"/>
                  <a:gd name="T96" fmla="*/ 3558 w 4488"/>
                  <a:gd name="T97" fmla="*/ 2005 h 2449"/>
                  <a:gd name="T98" fmla="*/ 3630 w 4488"/>
                  <a:gd name="T99" fmla="*/ 2036 h 2449"/>
                  <a:gd name="T100" fmla="*/ 3714 w 4488"/>
                  <a:gd name="T101" fmla="*/ 2036 h 2449"/>
                  <a:gd name="T102" fmla="*/ 3786 w 4488"/>
                  <a:gd name="T103" fmla="*/ 2005 h 2449"/>
                  <a:gd name="T104" fmla="*/ 3841 w 4488"/>
                  <a:gd name="T105" fmla="*/ 1950 h 2449"/>
                  <a:gd name="T106" fmla="*/ 3872 w 4488"/>
                  <a:gd name="T107" fmla="*/ 1877 h 2449"/>
                  <a:gd name="T108" fmla="*/ 3875 w 4488"/>
                  <a:gd name="T109" fmla="*/ 1224 h 2449"/>
                  <a:gd name="T110" fmla="*/ 4285 w 4488"/>
                  <a:gd name="T111" fmla="*/ 2244 h 2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488" h="2449">
                    <a:moveTo>
                      <a:pt x="4285" y="1019"/>
                    </a:moveTo>
                    <a:lnTo>
                      <a:pt x="3875" y="1019"/>
                    </a:lnTo>
                    <a:lnTo>
                      <a:pt x="3875" y="611"/>
                    </a:lnTo>
                    <a:lnTo>
                      <a:pt x="3872" y="540"/>
                    </a:lnTo>
                    <a:lnTo>
                      <a:pt x="3860" y="472"/>
                    </a:lnTo>
                    <a:lnTo>
                      <a:pt x="3840" y="405"/>
                    </a:lnTo>
                    <a:lnTo>
                      <a:pt x="3814" y="342"/>
                    </a:lnTo>
                    <a:lnTo>
                      <a:pt x="3780" y="283"/>
                    </a:lnTo>
                    <a:lnTo>
                      <a:pt x="3742" y="228"/>
                    </a:lnTo>
                    <a:lnTo>
                      <a:pt x="3697" y="178"/>
                    </a:lnTo>
                    <a:lnTo>
                      <a:pt x="3647" y="133"/>
                    </a:lnTo>
                    <a:lnTo>
                      <a:pt x="3592" y="95"/>
                    </a:lnTo>
                    <a:lnTo>
                      <a:pt x="3533" y="62"/>
                    </a:lnTo>
                    <a:lnTo>
                      <a:pt x="3470" y="35"/>
                    </a:lnTo>
                    <a:lnTo>
                      <a:pt x="3405" y="14"/>
                    </a:lnTo>
                    <a:lnTo>
                      <a:pt x="3335" y="3"/>
                    </a:lnTo>
                    <a:lnTo>
                      <a:pt x="3264" y="0"/>
                    </a:lnTo>
                    <a:lnTo>
                      <a:pt x="3059" y="0"/>
                    </a:lnTo>
                    <a:lnTo>
                      <a:pt x="2651" y="816"/>
                    </a:lnTo>
                    <a:lnTo>
                      <a:pt x="2516" y="271"/>
                    </a:lnTo>
                    <a:lnTo>
                      <a:pt x="2651" y="0"/>
                    </a:lnTo>
                    <a:lnTo>
                      <a:pt x="2245" y="0"/>
                    </a:lnTo>
                    <a:lnTo>
                      <a:pt x="2380" y="271"/>
                    </a:lnTo>
                    <a:lnTo>
                      <a:pt x="2245" y="816"/>
                    </a:lnTo>
                    <a:lnTo>
                      <a:pt x="1835" y="0"/>
                    </a:lnTo>
                    <a:lnTo>
                      <a:pt x="203" y="0"/>
                    </a:lnTo>
                    <a:lnTo>
                      <a:pt x="163" y="3"/>
                    </a:lnTo>
                    <a:lnTo>
                      <a:pt x="125" y="14"/>
                    </a:lnTo>
                    <a:lnTo>
                      <a:pt x="91" y="34"/>
                    </a:lnTo>
                    <a:lnTo>
                      <a:pt x="59" y="59"/>
                    </a:lnTo>
                    <a:lnTo>
                      <a:pt x="34" y="89"/>
                    </a:lnTo>
                    <a:lnTo>
                      <a:pt x="16" y="124"/>
                    </a:lnTo>
                    <a:lnTo>
                      <a:pt x="4" y="161"/>
                    </a:lnTo>
                    <a:lnTo>
                      <a:pt x="0" y="203"/>
                    </a:lnTo>
                    <a:lnTo>
                      <a:pt x="4" y="244"/>
                    </a:lnTo>
                    <a:lnTo>
                      <a:pt x="16" y="283"/>
                    </a:lnTo>
                    <a:lnTo>
                      <a:pt x="34" y="317"/>
                    </a:lnTo>
                    <a:lnTo>
                      <a:pt x="59" y="347"/>
                    </a:lnTo>
                    <a:lnTo>
                      <a:pt x="91" y="372"/>
                    </a:lnTo>
                    <a:lnTo>
                      <a:pt x="125" y="391"/>
                    </a:lnTo>
                    <a:lnTo>
                      <a:pt x="163" y="403"/>
                    </a:lnTo>
                    <a:lnTo>
                      <a:pt x="203" y="408"/>
                    </a:lnTo>
                    <a:lnTo>
                      <a:pt x="1632" y="408"/>
                    </a:lnTo>
                    <a:lnTo>
                      <a:pt x="1632" y="2041"/>
                    </a:lnTo>
                    <a:lnTo>
                      <a:pt x="2856" y="2041"/>
                    </a:lnTo>
                    <a:lnTo>
                      <a:pt x="2856" y="2244"/>
                    </a:lnTo>
                    <a:lnTo>
                      <a:pt x="2860" y="2286"/>
                    </a:lnTo>
                    <a:lnTo>
                      <a:pt x="2872" y="2324"/>
                    </a:lnTo>
                    <a:lnTo>
                      <a:pt x="2890" y="2358"/>
                    </a:lnTo>
                    <a:lnTo>
                      <a:pt x="2915" y="2388"/>
                    </a:lnTo>
                    <a:lnTo>
                      <a:pt x="2947" y="2413"/>
                    </a:lnTo>
                    <a:lnTo>
                      <a:pt x="2981" y="2433"/>
                    </a:lnTo>
                    <a:lnTo>
                      <a:pt x="3019" y="2445"/>
                    </a:lnTo>
                    <a:lnTo>
                      <a:pt x="3059" y="2449"/>
                    </a:lnTo>
                    <a:lnTo>
                      <a:pt x="4285" y="2449"/>
                    </a:lnTo>
                    <a:lnTo>
                      <a:pt x="4325" y="2445"/>
                    </a:lnTo>
                    <a:lnTo>
                      <a:pt x="4363" y="2433"/>
                    </a:lnTo>
                    <a:lnTo>
                      <a:pt x="4397" y="2413"/>
                    </a:lnTo>
                    <a:lnTo>
                      <a:pt x="4429" y="2388"/>
                    </a:lnTo>
                    <a:lnTo>
                      <a:pt x="4454" y="2358"/>
                    </a:lnTo>
                    <a:lnTo>
                      <a:pt x="4472" y="2324"/>
                    </a:lnTo>
                    <a:lnTo>
                      <a:pt x="4484" y="2286"/>
                    </a:lnTo>
                    <a:lnTo>
                      <a:pt x="4488" y="2244"/>
                    </a:lnTo>
                    <a:lnTo>
                      <a:pt x="4488" y="1224"/>
                    </a:lnTo>
                    <a:lnTo>
                      <a:pt x="4484" y="1183"/>
                    </a:lnTo>
                    <a:lnTo>
                      <a:pt x="4472" y="1144"/>
                    </a:lnTo>
                    <a:lnTo>
                      <a:pt x="4454" y="1110"/>
                    </a:lnTo>
                    <a:lnTo>
                      <a:pt x="4429" y="1079"/>
                    </a:lnTo>
                    <a:lnTo>
                      <a:pt x="4397" y="1055"/>
                    </a:lnTo>
                    <a:lnTo>
                      <a:pt x="4363" y="1036"/>
                    </a:lnTo>
                    <a:lnTo>
                      <a:pt x="4325" y="1024"/>
                    </a:lnTo>
                    <a:lnTo>
                      <a:pt x="4285" y="1019"/>
                    </a:lnTo>
                    <a:close/>
                    <a:moveTo>
                      <a:pt x="3264" y="714"/>
                    </a:moveTo>
                    <a:lnTo>
                      <a:pt x="3267" y="687"/>
                    </a:lnTo>
                    <a:lnTo>
                      <a:pt x="3277" y="662"/>
                    </a:lnTo>
                    <a:lnTo>
                      <a:pt x="3294" y="641"/>
                    </a:lnTo>
                    <a:lnTo>
                      <a:pt x="3314" y="625"/>
                    </a:lnTo>
                    <a:lnTo>
                      <a:pt x="3340" y="616"/>
                    </a:lnTo>
                    <a:lnTo>
                      <a:pt x="3366" y="611"/>
                    </a:lnTo>
                    <a:lnTo>
                      <a:pt x="3393" y="616"/>
                    </a:lnTo>
                    <a:lnTo>
                      <a:pt x="3418" y="625"/>
                    </a:lnTo>
                    <a:lnTo>
                      <a:pt x="3438" y="641"/>
                    </a:lnTo>
                    <a:lnTo>
                      <a:pt x="3454" y="662"/>
                    </a:lnTo>
                    <a:lnTo>
                      <a:pt x="3464" y="687"/>
                    </a:lnTo>
                    <a:lnTo>
                      <a:pt x="3467" y="714"/>
                    </a:lnTo>
                    <a:lnTo>
                      <a:pt x="3467" y="1019"/>
                    </a:lnTo>
                    <a:lnTo>
                      <a:pt x="3264" y="1019"/>
                    </a:lnTo>
                    <a:lnTo>
                      <a:pt x="3264" y="714"/>
                    </a:lnTo>
                    <a:close/>
                    <a:moveTo>
                      <a:pt x="4285" y="2244"/>
                    </a:moveTo>
                    <a:lnTo>
                      <a:pt x="3059" y="2244"/>
                    </a:lnTo>
                    <a:lnTo>
                      <a:pt x="3059" y="1224"/>
                    </a:lnTo>
                    <a:lnTo>
                      <a:pt x="3467" y="1224"/>
                    </a:lnTo>
                    <a:lnTo>
                      <a:pt x="3467" y="1836"/>
                    </a:lnTo>
                    <a:lnTo>
                      <a:pt x="3472" y="1877"/>
                    </a:lnTo>
                    <a:lnTo>
                      <a:pt x="3484" y="1916"/>
                    </a:lnTo>
                    <a:lnTo>
                      <a:pt x="3503" y="1950"/>
                    </a:lnTo>
                    <a:lnTo>
                      <a:pt x="3528" y="1980"/>
                    </a:lnTo>
                    <a:lnTo>
                      <a:pt x="3558" y="2005"/>
                    </a:lnTo>
                    <a:lnTo>
                      <a:pt x="3592" y="2024"/>
                    </a:lnTo>
                    <a:lnTo>
                      <a:pt x="3630" y="2036"/>
                    </a:lnTo>
                    <a:lnTo>
                      <a:pt x="3672" y="2041"/>
                    </a:lnTo>
                    <a:lnTo>
                      <a:pt x="3714" y="2036"/>
                    </a:lnTo>
                    <a:lnTo>
                      <a:pt x="3752" y="2024"/>
                    </a:lnTo>
                    <a:lnTo>
                      <a:pt x="3786" y="2005"/>
                    </a:lnTo>
                    <a:lnTo>
                      <a:pt x="3816" y="1980"/>
                    </a:lnTo>
                    <a:lnTo>
                      <a:pt x="3841" y="1950"/>
                    </a:lnTo>
                    <a:lnTo>
                      <a:pt x="3860" y="1916"/>
                    </a:lnTo>
                    <a:lnTo>
                      <a:pt x="3872" y="1877"/>
                    </a:lnTo>
                    <a:lnTo>
                      <a:pt x="3875" y="1836"/>
                    </a:lnTo>
                    <a:lnTo>
                      <a:pt x="3875" y="1224"/>
                    </a:lnTo>
                    <a:lnTo>
                      <a:pt x="4285" y="1224"/>
                    </a:lnTo>
                    <a:lnTo>
                      <a:pt x="4285" y="2244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28" name="Freeform 26"/>
              <p:cNvSpPr>
                <a:spLocks/>
              </p:cNvSpPr>
              <p:nvPr/>
            </p:nvSpPr>
            <p:spPr bwMode="auto">
              <a:xfrm>
                <a:off x="1656" y="2671"/>
                <a:ext cx="611" cy="614"/>
              </a:xfrm>
              <a:custGeom>
                <a:avLst/>
                <a:gdLst>
                  <a:gd name="T0" fmla="*/ 510 w 611"/>
                  <a:gd name="T1" fmla="*/ 409 h 614"/>
                  <a:gd name="T2" fmla="*/ 102 w 611"/>
                  <a:gd name="T3" fmla="*/ 409 h 614"/>
                  <a:gd name="T4" fmla="*/ 203 w 611"/>
                  <a:gd name="T5" fmla="*/ 0 h 614"/>
                  <a:gd name="T6" fmla="*/ 0 w 611"/>
                  <a:gd name="T7" fmla="*/ 409 h 614"/>
                  <a:gd name="T8" fmla="*/ 4 w 611"/>
                  <a:gd name="T9" fmla="*/ 450 h 614"/>
                  <a:gd name="T10" fmla="*/ 16 w 611"/>
                  <a:gd name="T11" fmla="*/ 489 h 614"/>
                  <a:gd name="T12" fmla="*/ 34 w 611"/>
                  <a:gd name="T13" fmla="*/ 523 h 614"/>
                  <a:gd name="T14" fmla="*/ 59 w 611"/>
                  <a:gd name="T15" fmla="*/ 553 h 614"/>
                  <a:gd name="T16" fmla="*/ 91 w 611"/>
                  <a:gd name="T17" fmla="*/ 578 h 614"/>
                  <a:gd name="T18" fmla="*/ 125 w 611"/>
                  <a:gd name="T19" fmla="*/ 597 h 614"/>
                  <a:gd name="T20" fmla="*/ 163 w 611"/>
                  <a:gd name="T21" fmla="*/ 609 h 614"/>
                  <a:gd name="T22" fmla="*/ 203 w 611"/>
                  <a:gd name="T23" fmla="*/ 614 h 614"/>
                  <a:gd name="T24" fmla="*/ 408 w 611"/>
                  <a:gd name="T25" fmla="*/ 614 h 614"/>
                  <a:gd name="T26" fmla="*/ 450 w 611"/>
                  <a:gd name="T27" fmla="*/ 609 h 614"/>
                  <a:gd name="T28" fmla="*/ 488 w 611"/>
                  <a:gd name="T29" fmla="*/ 597 h 614"/>
                  <a:gd name="T30" fmla="*/ 522 w 611"/>
                  <a:gd name="T31" fmla="*/ 578 h 614"/>
                  <a:gd name="T32" fmla="*/ 552 w 611"/>
                  <a:gd name="T33" fmla="*/ 553 h 614"/>
                  <a:gd name="T34" fmla="*/ 577 w 611"/>
                  <a:gd name="T35" fmla="*/ 523 h 614"/>
                  <a:gd name="T36" fmla="*/ 596 w 611"/>
                  <a:gd name="T37" fmla="*/ 489 h 614"/>
                  <a:gd name="T38" fmla="*/ 608 w 611"/>
                  <a:gd name="T39" fmla="*/ 450 h 614"/>
                  <a:gd name="T40" fmla="*/ 611 w 611"/>
                  <a:gd name="T41" fmla="*/ 409 h 614"/>
                  <a:gd name="T42" fmla="*/ 408 w 611"/>
                  <a:gd name="T43" fmla="*/ 0 h 614"/>
                  <a:gd name="T44" fmla="*/ 510 w 611"/>
                  <a:gd name="T45" fmla="*/ 409 h 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11" h="614">
                    <a:moveTo>
                      <a:pt x="510" y="409"/>
                    </a:moveTo>
                    <a:lnTo>
                      <a:pt x="102" y="409"/>
                    </a:lnTo>
                    <a:lnTo>
                      <a:pt x="203" y="0"/>
                    </a:lnTo>
                    <a:lnTo>
                      <a:pt x="0" y="409"/>
                    </a:lnTo>
                    <a:lnTo>
                      <a:pt x="4" y="450"/>
                    </a:lnTo>
                    <a:lnTo>
                      <a:pt x="16" y="489"/>
                    </a:lnTo>
                    <a:lnTo>
                      <a:pt x="34" y="523"/>
                    </a:lnTo>
                    <a:lnTo>
                      <a:pt x="59" y="553"/>
                    </a:lnTo>
                    <a:lnTo>
                      <a:pt x="91" y="578"/>
                    </a:lnTo>
                    <a:lnTo>
                      <a:pt x="125" y="597"/>
                    </a:lnTo>
                    <a:lnTo>
                      <a:pt x="163" y="609"/>
                    </a:lnTo>
                    <a:lnTo>
                      <a:pt x="203" y="614"/>
                    </a:lnTo>
                    <a:lnTo>
                      <a:pt x="408" y="614"/>
                    </a:lnTo>
                    <a:lnTo>
                      <a:pt x="450" y="609"/>
                    </a:lnTo>
                    <a:lnTo>
                      <a:pt x="488" y="597"/>
                    </a:lnTo>
                    <a:lnTo>
                      <a:pt x="522" y="578"/>
                    </a:lnTo>
                    <a:lnTo>
                      <a:pt x="552" y="553"/>
                    </a:lnTo>
                    <a:lnTo>
                      <a:pt x="577" y="523"/>
                    </a:lnTo>
                    <a:lnTo>
                      <a:pt x="596" y="489"/>
                    </a:lnTo>
                    <a:lnTo>
                      <a:pt x="608" y="450"/>
                    </a:lnTo>
                    <a:lnTo>
                      <a:pt x="611" y="409"/>
                    </a:lnTo>
                    <a:lnTo>
                      <a:pt x="408" y="0"/>
                    </a:lnTo>
                    <a:lnTo>
                      <a:pt x="510" y="409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29" name="Freeform 27"/>
              <p:cNvSpPr>
                <a:spLocks/>
              </p:cNvSpPr>
              <p:nvPr/>
            </p:nvSpPr>
            <p:spPr bwMode="auto">
              <a:xfrm>
                <a:off x="635" y="2263"/>
                <a:ext cx="1429" cy="1430"/>
              </a:xfrm>
              <a:custGeom>
                <a:avLst/>
                <a:gdLst>
                  <a:gd name="T0" fmla="*/ 1426 w 1429"/>
                  <a:gd name="T1" fmla="*/ 279 h 1430"/>
                  <a:gd name="T2" fmla="*/ 1399 w 1429"/>
                  <a:gd name="T3" fmla="*/ 235 h 1430"/>
                  <a:gd name="T4" fmla="*/ 1355 w 1429"/>
                  <a:gd name="T5" fmla="*/ 208 h 1430"/>
                  <a:gd name="T6" fmla="*/ 1300 w 1429"/>
                  <a:gd name="T7" fmla="*/ 208 h 1430"/>
                  <a:gd name="T8" fmla="*/ 1255 w 1429"/>
                  <a:gd name="T9" fmla="*/ 235 h 1430"/>
                  <a:gd name="T10" fmla="*/ 1229 w 1429"/>
                  <a:gd name="T11" fmla="*/ 279 h 1430"/>
                  <a:gd name="T12" fmla="*/ 816 w 1429"/>
                  <a:gd name="T13" fmla="*/ 205 h 1430"/>
                  <a:gd name="T14" fmla="*/ 813 w 1429"/>
                  <a:gd name="T15" fmla="*/ 76 h 1430"/>
                  <a:gd name="T16" fmla="*/ 787 w 1429"/>
                  <a:gd name="T17" fmla="*/ 30 h 1430"/>
                  <a:gd name="T18" fmla="*/ 742 w 1429"/>
                  <a:gd name="T19" fmla="*/ 5 h 1430"/>
                  <a:gd name="T20" fmla="*/ 687 w 1429"/>
                  <a:gd name="T21" fmla="*/ 5 h 1430"/>
                  <a:gd name="T22" fmla="*/ 643 w 1429"/>
                  <a:gd name="T23" fmla="*/ 30 h 1430"/>
                  <a:gd name="T24" fmla="*/ 616 w 1429"/>
                  <a:gd name="T25" fmla="*/ 76 h 1430"/>
                  <a:gd name="T26" fmla="*/ 613 w 1429"/>
                  <a:gd name="T27" fmla="*/ 205 h 1430"/>
                  <a:gd name="T28" fmla="*/ 202 w 1429"/>
                  <a:gd name="T29" fmla="*/ 279 h 1430"/>
                  <a:gd name="T30" fmla="*/ 175 w 1429"/>
                  <a:gd name="T31" fmla="*/ 235 h 1430"/>
                  <a:gd name="T32" fmla="*/ 131 w 1429"/>
                  <a:gd name="T33" fmla="*/ 208 h 1430"/>
                  <a:gd name="T34" fmla="*/ 76 w 1429"/>
                  <a:gd name="T35" fmla="*/ 208 h 1430"/>
                  <a:gd name="T36" fmla="*/ 31 w 1429"/>
                  <a:gd name="T37" fmla="*/ 235 h 1430"/>
                  <a:gd name="T38" fmla="*/ 5 w 1429"/>
                  <a:gd name="T39" fmla="*/ 279 h 1430"/>
                  <a:gd name="T40" fmla="*/ 0 w 1429"/>
                  <a:gd name="T41" fmla="*/ 408 h 1430"/>
                  <a:gd name="T42" fmla="*/ 613 w 1429"/>
                  <a:gd name="T43" fmla="*/ 1225 h 1430"/>
                  <a:gd name="T44" fmla="*/ 368 w 1429"/>
                  <a:gd name="T45" fmla="*/ 1229 h 1430"/>
                  <a:gd name="T46" fmla="*/ 296 w 1429"/>
                  <a:gd name="T47" fmla="*/ 1261 h 1430"/>
                  <a:gd name="T48" fmla="*/ 239 w 1429"/>
                  <a:gd name="T49" fmla="*/ 1315 h 1430"/>
                  <a:gd name="T50" fmla="*/ 209 w 1429"/>
                  <a:gd name="T51" fmla="*/ 1388 h 1430"/>
                  <a:gd name="T52" fmla="*/ 1224 w 1429"/>
                  <a:gd name="T53" fmla="*/ 1430 h 1430"/>
                  <a:gd name="T54" fmla="*/ 1209 w 1429"/>
                  <a:gd name="T55" fmla="*/ 1350 h 1430"/>
                  <a:gd name="T56" fmla="*/ 1165 w 1429"/>
                  <a:gd name="T57" fmla="*/ 1284 h 1430"/>
                  <a:gd name="T58" fmla="*/ 1101 w 1429"/>
                  <a:gd name="T59" fmla="*/ 1241 h 1430"/>
                  <a:gd name="T60" fmla="*/ 1021 w 1429"/>
                  <a:gd name="T61" fmla="*/ 1225 h 1430"/>
                  <a:gd name="T62" fmla="*/ 816 w 1429"/>
                  <a:gd name="T63" fmla="*/ 408 h 1430"/>
                  <a:gd name="T64" fmla="*/ 1429 w 1429"/>
                  <a:gd name="T65" fmla="*/ 306 h 1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429" h="1430">
                    <a:moveTo>
                      <a:pt x="1429" y="306"/>
                    </a:moveTo>
                    <a:lnTo>
                      <a:pt x="1426" y="279"/>
                    </a:lnTo>
                    <a:lnTo>
                      <a:pt x="1416" y="256"/>
                    </a:lnTo>
                    <a:lnTo>
                      <a:pt x="1399" y="235"/>
                    </a:lnTo>
                    <a:lnTo>
                      <a:pt x="1379" y="218"/>
                    </a:lnTo>
                    <a:lnTo>
                      <a:pt x="1355" y="208"/>
                    </a:lnTo>
                    <a:lnTo>
                      <a:pt x="1327" y="205"/>
                    </a:lnTo>
                    <a:lnTo>
                      <a:pt x="1300" y="208"/>
                    </a:lnTo>
                    <a:lnTo>
                      <a:pt x="1276" y="218"/>
                    </a:lnTo>
                    <a:lnTo>
                      <a:pt x="1255" y="235"/>
                    </a:lnTo>
                    <a:lnTo>
                      <a:pt x="1239" y="256"/>
                    </a:lnTo>
                    <a:lnTo>
                      <a:pt x="1229" y="279"/>
                    </a:lnTo>
                    <a:lnTo>
                      <a:pt x="1224" y="306"/>
                    </a:lnTo>
                    <a:lnTo>
                      <a:pt x="816" y="205"/>
                    </a:lnTo>
                    <a:lnTo>
                      <a:pt x="816" y="103"/>
                    </a:lnTo>
                    <a:lnTo>
                      <a:pt x="813" y="76"/>
                    </a:lnTo>
                    <a:lnTo>
                      <a:pt x="803" y="51"/>
                    </a:lnTo>
                    <a:lnTo>
                      <a:pt x="787" y="30"/>
                    </a:lnTo>
                    <a:lnTo>
                      <a:pt x="766" y="14"/>
                    </a:lnTo>
                    <a:lnTo>
                      <a:pt x="742" y="5"/>
                    </a:lnTo>
                    <a:lnTo>
                      <a:pt x="715" y="0"/>
                    </a:lnTo>
                    <a:lnTo>
                      <a:pt x="687" y="5"/>
                    </a:lnTo>
                    <a:lnTo>
                      <a:pt x="663" y="14"/>
                    </a:lnTo>
                    <a:lnTo>
                      <a:pt x="643" y="30"/>
                    </a:lnTo>
                    <a:lnTo>
                      <a:pt x="626" y="51"/>
                    </a:lnTo>
                    <a:lnTo>
                      <a:pt x="616" y="76"/>
                    </a:lnTo>
                    <a:lnTo>
                      <a:pt x="613" y="103"/>
                    </a:lnTo>
                    <a:lnTo>
                      <a:pt x="613" y="205"/>
                    </a:lnTo>
                    <a:lnTo>
                      <a:pt x="205" y="306"/>
                    </a:lnTo>
                    <a:lnTo>
                      <a:pt x="202" y="279"/>
                    </a:lnTo>
                    <a:lnTo>
                      <a:pt x="192" y="256"/>
                    </a:lnTo>
                    <a:lnTo>
                      <a:pt x="175" y="235"/>
                    </a:lnTo>
                    <a:lnTo>
                      <a:pt x="155" y="218"/>
                    </a:lnTo>
                    <a:lnTo>
                      <a:pt x="131" y="208"/>
                    </a:lnTo>
                    <a:lnTo>
                      <a:pt x="103" y="205"/>
                    </a:lnTo>
                    <a:lnTo>
                      <a:pt x="76" y="208"/>
                    </a:lnTo>
                    <a:lnTo>
                      <a:pt x="52" y="218"/>
                    </a:lnTo>
                    <a:lnTo>
                      <a:pt x="31" y="235"/>
                    </a:lnTo>
                    <a:lnTo>
                      <a:pt x="15" y="256"/>
                    </a:lnTo>
                    <a:lnTo>
                      <a:pt x="5" y="279"/>
                    </a:lnTo>
                    <a:lnTo>
                      <a:pt x="0" y="306"/>
                    </a:lnTo>
                    <a:lnTo>
                      <a:pt x="0" y="408"/>
                    </a:lnTo>
                    <a:lnTo>
                      <a:pt x="613" y="408"/>
                    </a:lnTo>
                    <a:lnTo>
                      <a:pt x="613" y="1225"/>
                    </a:lnTo>
                    <a:lnTo>
                      <a:pt x="408" y="1225"/>
                    </a:lnTo>
                    <a:lnTo>
                      <a:pt x="368" y="1229"/>
                    </a:lnTo>
                    <a:lnTo>
                      <a:pt x="330" y="1241"/>
                    </a:lnTo>
                    <a:lnTo>
                      <a:pt x="296" y="1261"/>
                    </a:lnTo>
                    <a:lnTo>
                      <a:pt x="264" y="1284"/>
                    </a:lnTo>
                    <a:lnTo>
                      <a:pt x="239" y="1315"/>
                    </a:lnTo>
                    <a:lnTo>
                      <a:pt x="221" y="1350"/>
                    </a:lnTo>
                    <a:lnTo>
                      <a:pt x="209" y="1388"/>
                    </a:lnTo>
                    <a:lnTo>
                      <a:pt x="205" y="1430"/>
                    </a:lnTo>
                    <a:lnTo>
                      <a:pt x="1224" y="1430"/>
                    </a:lnTo>
                    <a:lnTo>
                      <a:pt x="1221" y="1388"/>
                    </a:lnTo>
                    <a:lnTo>
                      <a:pt x="1209" y="1350"/>
                    </a:lnTo>
                    <a:lnTo>
                      <a:pt x="1190" y="1315"/>
                    </a:lnTo>
                    <a:lnTo>
                      <a:pt x="1165" y="1284"/>
                    </a:lnTo>
                    <a:lnTo>
                      <a:pt x="1135" y="1261"/>
                    </a:lnTo>
                    <a:lnTo>
                      <a:pt x="1101" y="1241"/>
                    </a:lnTo>
                    <a:lnTo>
                      <a:pt x="1063" y="1229"/>
                    </a:lnTo>
                    <a:lnTo>
                      <a:pt x="1021" y="1225"/>
                    </a:lnTo>
                    <a:lnTo>
                      <a:pt x="816" y="1225"/>
                    </a:lnTo>
                    <a:lnTo>
                      <a:pt x="816" y="408"/>
                    </a:lnTo>
                    <a:lnTo>
                      <a:pt x="1429" y="408"/>
                    </a:lnTo>
                    <a:lnTo>
                      <a:pt x="1429" y="306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30" name="Freeform 28"/>
              <p:cNvSpPr>
                <a:spLocks/>
              </p:cNvSpPr>
              <p:nvPr/>
            </p:nvSpPr>
            <p:spPr bwMode="auto">
              <a:xfrm>
                <a:off x="432" y="2671"/>
                <a:ext cx="611" cy="614"/>
              </a:xfrm>
              <a:custGeom>
                <a:avLst/>
                <a:gdLst>
                  <a:gd name="T0" fmla="*/ 102 w 611"/>
                  <a:gd name="T1" fmla="*/ 409 h 614"/>
                  <a:gd name="T2" fmla="*/ 203 w 611"/>
                  <a:gd name="T3" fmla="*/ 0 h 614"/>
                  <a:gd name="T4" fmla="*/ 0 w 611"/>
                  <a:gd name="T5" fmla="*/ 409 h 614"/>
                  <a:gd name="T6" fmla="*/ 4 w 611"/>
                  <a:gd name="T7" fmla="*/ 450 h 614"/>
                  <a:gd name="T8" fmla="*/ 16 w 611"/>
                  <a:gd name="T9" fmla="*/ 489 h 614"/>
                  <a:gd name="T10" fmla="*/ 34 w 611"/>
                  <a:gd name="T11" fmla="*/ 523 h 614"/>
                  <a:gd name="T12" fmla="*/ 59 w 611"/>
                  <a:gd name="T13" fmla="*/ 553 h 614"/>
                  <a:gd name="T14" fmla="*/ 91 w 611"/>
                  <a:gd name="T15" fmla="*/ 578 h 614"/>
                  <a:gd name="T16" fmla="*/ 125 w 611"/>
                  <a:gd name="T17" fmla="*/ 597 h 614"/>
                  <a:gd name="T18" fmla="*/ 163 w 611"/>
                  <a:gd name="T19" fmla="*/ 609 h 614"/>
                  <a:gd name="T20" fmla="*/ 203 w 611"/>
                  <a:gd name="T21" fmla="*/ 614 h 614"/>
                  <a:gd name="T22" fmla="*/ 408 w 611"/>
                  <a:gd name="T23" fmla="*/ 614 h 614"/>
                  <a:gd name="T24" fmla="*/ 450 w 611"/>
                  <a:gd name="T25" fmla="*/ 609 h 614"/>
                  <a:gd name="T26" fmla="*/ 488 w 611"/>
                  <a:gd name="T27" fmla="*/ 597 h 614"/>
                  <a:gd name="T28" fmla="*/ 522 w 611"/>
                  <a:gd name="T29" fmla="*/ 578 h 614"/>
                  <a:gd name="T30" fmla="*/ 552 w 611"/>
                  <a:gd name="T31" fmla="*/ 553 h 614"/>
                  <a:gd name="T32" fmla="*/ 577 w 611"/>
                  <a:gd name="T33" fmla="*/ 523 h 614"/>
                  <a:gd name="T34" fmla="*/ 596 w 611"/>
                  <a:gd name="T35" fmla="*/ 489 h 614"/>
                  <a:gd name="T36" fmla="*/ 608 w 611"/>
                  <a:gd name="T37" fmla="*/ 450 h 614"/>
                  <a:gd name="T38" fmla="*/ 611 w 611"/>
                  <a:gd name="T39" fmla="*/ 409 h 614"/>
                  <a:gd name="T40" fmla="*/ 408 w 611"/>
                  <a:gd name="T41" fmla="*/ 0 h 614"/>
                  <a:gd name="T42" fmla="*/ 510 w 611"/>
                  <a:gd name="T43" fmla="*/ 409 h 614"/>
                  <a:gd name="T44" fmla="*/ 102 w 611"/>
                  <a:gd name="T45" fmla="*/ 409 h 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11" h="614">
                    <a:moveTo>
                      <a:pt x="102" y="409"/>
                    </a:moveTo>
                    <a:lnTo>
                      <a:pt x="203" y="0"/>
                    </a:lnTo>
                    <a:lnTo>
                      <a:pt x="0" y="409"/>
                    </a:lnTo>
                    <a:lnTo>
                      <a:pt x="4" y="450"/>
                    </a:lnTo>
                    <a:lnTo>
                      <a:pt x="16" y="489"/>
                    </a:lnTo>
                    <a:lnTo>
                      <a:pt x="34" y="523"/>
                    </a:lnTo>
                    <a:lnTo>
                      <a:pt x="59" y="553"/>
                    </a:lnTo>
                    <a:lnTo>
                      <a:pt x="91" y="578"/>
                    </a:lnTo>
                    <a:lnTo>
                      <a:pt x="125" y="597"/>
                    </a:lnTo>
                    <a:lnTo>
                      <a:pt x="163" y="609"/>
                    </a:lnTo>
                    <a:lnTo>
                      <a:pt x="203" y="614"/>
                    </a:lnTo>
                    <a:lnTo>
                      <a:pt x="408" y="614"/>
                    </a:lnTo>
                    <a:lnTo>
                      <a:pt x="450" y="609"/>
                    </a:lnTo>
                    <a:lnTo>
                      <a:pt x="488" y="597"/>
                    </a:lnTo>
                    <a:lnTo>
                      <a:pt x="522" y="578"/>
                    </a:lnTo>
                    <a:lnTo>
                      <a:pt x="552" y="553"/>
                    </a:lnTo>
                    <a:lnTo>
                      <a:pt x="577" y="523"/>
                    </a:lnTo>
                    <a:lnTo>
                      <a:pt x="596" y="489"/>
                    </a:lnTo>
                    <a:lnTo>
                      <a:pt x="608" y="450"/>
                    </a:lnTo>
                    <a:lnTo>
                      <a:pt x="611" y="409"/>
                    </a:lnTo>
                    <a:lnTo>
                      <a:pt x="408" y="0"/>
                    </a:lnTo>
                    <a:lnTo>
                      <a:pt x="510" y="409"/>
                    </a:lnTo>
                    <a:lnTo>
                      <a:pt x="102" y="409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</p:grpSp>
        <p:sp>
          <p:nvSpPr>
            <p:cNvPr id="43" name="Rectangle 42"/>
            <p:cNvSpPr/>
            <p:nvPr/>
          </p:nvSpPr>
          <p:spPr>
            <a:xfrm>
              <a:off x="4875802" y="3725096"/>
              <a:ext cx="1508962" cy="4616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en-US" sz="12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+mj-lt"/>
                  <a:cs typeface="Arial" panose="020B0604020202020204" pitchFamily="34" charset="0"/>
                </a:rPr>
                <a:t>Private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en-US" sz="12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+mj-lt"/>
                  <a:cs typeface="Arial" panose="020B0604020202020204" pitchFamily="34" charset="0"/>
                </a:rPr>
                <a:t>Banker</a:t>
              </a:r>
            </a:p>
          </p:txBody>
        </p:sp>
        <p:grpSp>
          <p:nvGrpSpPr>
            <p:cNvPr id="44" name="Group 41"/>
            <p:cNvGrpSpPr>
              <a:grpSpLocks noChangeAspect="1"/>
            </p:cNvGrpSpPr>
            <p:nvPr/>
          </p:nvGrpSpPr>
          <p:grpSpPr bwMode="auto">
            <a:xfrm>
              <a:off x="5417930" y="3196773"/>
              <a:ext cx="424707" cy="390899"/>
              <a:chOff x="4238" y="2996"/>
              <a:chExt cx="201" cy="185"/>
            </a:xfrm>
            <a:solidFill>
              <a:srgbClr val="33B3A6"/>
            </a:solidFill>
          </p:grpSpPr>
          <p:sp>
            <p:nvSpPr>
              <p:cNvPr id="45" name="Rectangle 43"/>
              <p:cNvSpPr>
                <a:spLocks noChangeArrowheads="1"/>
              </p:cNvSpPr>
              <p:nvPr/>
            </p:nvSpPr>
            <p:spPr bwMode="auto">
              <a:xfrm>
                <a:off x="4250" y="3060"/>
                <a:ext cx="9" cy="2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46" name="Rectangle 44"/>
              <p:cNvSpPr>
                <a:spLocks noChangeArrowheads="1"/>
              </p:cNvSpPr>
              <p:nvPr/>
            </p:nvSpPr>
            <p:spPr bwMode="auto">
              <a:xfrm>
                <a:off x="4250" y="3097"/>
                <a:ext cx="9" cy="2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47" name="Freeform 45"/>
              <p:cNvSpPr>
                <a:spLocks/>
              </p:cNvSpPr>
              <p:nvPr/>
            </p:nvSpPr>
            <p:spPr bwMode="auto">
              <a:xfrm>
                <a:off x="4250" y="2996"/>
                <a:ext cx="156" cy="78"/>
              </a:xfrm>
              <a:custGeom>
                <a:avLst/>
                <a:gdLst>
                  <a:gd name="T0" fmla="*/ 2647 w 2647"/>
                  <a:gd name="T1" fmla="*/ 910 h 1333"/>
                  <a:gd name="T2" fmla="*/ 2647 w 2647"/>
                  <a:gd name="T3" fmla="*/ 1183 h 1333"/>
                  <a:gd name="T4" fmla="*/ 2495 w 2647"/>
                  <a:gd name="T5" fmla="*/ 1333 h 1333"/>
                  <a:gd name="T6" fmla="*/ 2495 w 2647"/>
                  <a:gd name="T7" fmla="*/ 277 h 1333"/>
                  <a:gd name="T8" fmla="*/ 2492 w 2647"/>
                  <a:gd name="T9" fmla="*/ 251 h 1333"/>
                  <a:gd name="T10" fmla="*/ 2485 w 2647"/>
                  <a:gd name="T11" fmla="*/ 227 h 1333"/>
                  <a:gd name="T12" fmla="*/ 2474 w 2647"/>
                  <a:gd name="T13" fmla="*/ 207 h 1333"/>
                  <a:gd name="T14" fmla="*/ 2458 w 2647"/>
                  <a:gd name="T15" fmla="*/ 188 h 1333"/>
                  <a:gd name="T16" fmla="*/ 2440 w 2647"/>
                  <a:gd name="T17" fmla="*/ 173 h 1333"/>
                  <a:gd name="T18" fmla="*/ 2418 w 2647"/>
                  <a:gd name="T19" fmla="*/ 160 h 1333"/>
                  <a:gd name="T20" fmla="*/ 2394 w 2647"/>
                  <a:gd name="T21" fmla="*/ 153 h 1333"/>
                  <a:gd name="T22" fmla="*/ 2369 w 2647"/>
                  <a:gd name="T23" fmla="*/ 151 h 1333"/>
                  <a:gd name="T24" fmla="*/ 276 w 2647"/>
                  <a:gd name="T25" fmla="*/ 151 h 1333"/>
                  <a:gd name="T26" fmla="*/ 252 w 2647"/>
                  <a:gd name="T27" fmla="*/ 153 h 1333"/>
                  <a:gd name="T28" fmla="*/ 228 w 2647"/>
                  <a:gd name="T29" fmla="*/ 160 h 1333"/>
                  <a:gd name="T30" fmla="*/ 206 w 2647"/>
                  <a:gd name="T31" fmla="*/ 173 h 1333"/>
                  <a:gd name="T32" fmla="*/ 187 w 2647"/>
                  <a:gd name="T33" fmla="*/ 188 h 1333"/>
                  <a:gd name="T34" fmla="*/ 172 w 2647"/>
                  <a:gd name="T35" fmla="*/ 207 h 1333"/>
                  <a:gd name="T36" fmla="*/ 161 w 2647"/>
                  <a:gd name="T37" fmla="*/ 227 h 1333"/>
                  <a:gd name="T38" fmla="*/ 153 w 2647"/>
                  <a:gd name="T39" fmla="*/ 251 h 1333"/>
                  <a:gd name="T40" fmla="*/ 150 w 2647"/>
                  <a:gd name="T41" fmla="*/ 277 h 1333"/>
                  <a:gd name="T42" fmla="*/ 150 w 2647"/>
                  <a:gd name="T43" fmla="*/ 803 h 1333"/>
                  <a:gd name="T44" fmla="*/ 0 w 2647"/>
                  <a:gd name="T45" fmla="*/ 803 h 1333"/>
                  <a:gd name="T46" fmla="*/ 0 w 2647"/>
                  <a:gd name="T47" fmla="*/ 277 h 1333"/>
                  <a:gd name="T48" fmla="*/ 3 w 2647"/>
                  <a:gd name="T49" fmla="*/ 236 h 1333"/>
                  <a:gd name="T50" fmla="*/ 11 w 2647"/>
                  <a:gd name="T51" fmla="*/ 197 h 1333"/>
                  <a:gd name="T52" fmla="*/ 26 w 2647"/>
                  <a:gd name="T53" fmla="*/ 160 h 1333"/>
                  <a:gd name="T54" fmla="*/ 45 w 2647"/>
                  <a:gd name="T55" fmla="*/ 126 h 1333"/>
                  <a:gd name="T56" fmla="*/ 67 w 2647"/>
                  <a:gd name="T57" fmla="*/ 95 h 1333"/>
                  <a:gd name="T58" fmla="*/ 95 w 2647"/>
                  <a:gd name="T59" fmla="*/ 68 h 1333"/>
                  <a:gd name="T60" fmla="*/ 126 w 2647"/>
                  <a:gd name="T61" fmla="*/ 44 h 1333"/>
                  <a:gd name="T62" fmla="*/ 159 w 2647"/>
                  <a:gd name="T63" fmla="*/ 26 h 1333"/>
                  <a:gd name="T64" fmla="*/ 197 w 2647"/>
                  <a:gd name="T65" fmla="*/ 12 h 1333"/>
                  <a:gd name="T66" fmla="*/ 236 w 2647"/>
                  <a:gd name="T67" fmla="*/ 3 h 1333"/>
                  <a:gd name="T68" fmla="*/ 276 w 2647"/>
                  <a:gd name="T69" fmla="*/ 0 h 1333"/>
                  <a:gd name="T70" fmla="*/ 2369 w 2647"/>
                  <a:gd name="T71" fmla="*/ 0 h 1333"/>
                  <a:gd name="T72" fmla="*/ 2410 w 2647"/>
                  <a:gd name="T73" fmla="*/ 3 h 1333"/>
                  <a:gd name="T74" fmla="*/ 2449 w 2647"/>
                  <a:gd name="T75" fmla="*/ 12 h 1333"/>
                  <a:gd name="T76" fmla="*/ 2485 w 2647"/>
                  <a:gd name="T77" fmla="*/ 26 h 1333"/>
                  <a:gd name="T78" fmla="*/ 2519 w 2647"/>
                  <a:gd name="T79" fmla="*/ 44 h 1333"/>
                  <a:gd name="T80" fmla="*/ 2550 w 2647"/>
                  <a:gd name="T81" fmla="*/ 68 h 1333"/>
                  <a:gd name="T82" fmla="*/ 2577 w 2647"/>
                  <a:gd name="T83" fmla="*/ 95 h 1333"/>
                  <a:gd name="T84" fmla="*/ 2601 w 2647"/>
                  <a:gd name="T85" fmla="*/ 126 h 1333"/>
                  <a:gd name="T86" fmla="*/ 2620 w 2647"/>
                  <a:gd name="T87" fmla="*/ 160 h 1333"/>
                  <a:gd name="T88" fmla="*/ 2634 w 2647"/>
                  <a:gd name="T89" fmla="*/ 197 h 1333"/>
                  <a:gd name="T90" fmla="*/ 2643 w 2647"/>
                  <a:gd name="T91" fmla="*/ 236 h 1333"/>
                  <a:gd name="T92" fmla="*/ 2646 w 2647"/>
                  <a:gd name="T93" fmla="*/ 277 h 1333"/>
                  <a:gd name="T94" fmla="*/ 2646 w 2647"/>
                  <a:gd name="T95" fmla="*/ 910 h 1333"/>
                  <a:gd name="T96" fmla="*/ 2647 w 2647"/>
                  <a:gd name="T97" fmla="*/ 910 h 1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647" h="1333">
                    <a:moveTo>
                      <a:pt x="2647" y="910"/>
                    </a:moveTo>
                    <a:lnTo>
                      <a:pt x="2647" y="1183"/>
                    </a:lnTo>
                    <a:lnTo>
                      <a:pt x="2495" y="1333"/>
                    </a:lnTo>
                    <a:lnTo>
                      <a:pt x="2495" y="277"/>
                    </a:lnTo>
                    <a:lnTo>
                      <a:pt x="2492" y="251"/>
                    </a:lnTo>
                    <a:lnTo>
                      <a:pt x="2485" y="227"/>
                    </a:lnTo>
                    <a:lnTo>
                      <a:pt x="2474" y="207"/>
                    </a:lnTo>
                    <a:lnTo>
                      <a:pt x="2458" y="188"/>
                    </a:lnTo>
                    <a:lnTo>
                      <a:pt x="2440" y="173"/>
                    </a:lnTo>
                    <a:lnTo>
                      <a:pt x="2418" y="160"/>
                    </a:lnTo>
                    <a:lnTo>
                      <a:pt x="2394" y="153"/>
                    </a:lnTo>
                    <a:lnTo>
                      <a:pt x="2369" y="151"/>
                    </a:lnTo>
                    <a:lnTo>
                      <a:pt x="276" y="151"/>
                    </a:lnTo>
                    <a:lnTo>
                      <a:pt x="252" y="153"/>
                    </a:lnTo>
                    <a:lnTo>
                      <a:pt x="228" y="160"/>
                    </a:lnTo>
                    <a:lnTo>
                      <a:pt x="206" y="173"/>
                    </a:lnTo>
                    <a:lnTo>
                      <a:pt x="187" y="188"/>
                    </a:lnTo>
                    <a:lnTo>
                      <a:pt x="172" y="207"/>
                    </a:lnTo>
                    <a:lnTo>
                      <a:pt x="161" y="227"/>
                    </a:lnTo>
                    <a:lnTo>
                      <a:pt x="153" y="251"/>
                    </a:lnTo>
                    <a:lnTo>
                      <a:pt x="150" y="277"/>
                    </a:lnTo>
                    <a:lnTo>
                      <a:pt x="150" y="803"/>
                    </a:lnTo>
                    <a:lnTo>
                      <a:pt x="0" y="803"/>
                    </a:lnTo>
                    <a:lnTo>
                      <a:pt x="0" y="277"/>
                    </a:lnTo>
                    <a:lnTo>
                      <a:pt x="3" y="236"/>
                    </a:lnTo>
                    <a:lnTo>
                      <a:pt x="11" y="197"/>
                    </a:lnTo>
                    <a:lnTo>
                      <a:pt x="26" y="160"/>
                    </a:lnTo>
                    <a:lnTo>
                      <a:pt x="45" y="126"/>
                    </a:lnTo>
                    <a:lnTo>
                      <a:pt x="67" y="95"/>
                    </a:lnTo>
                    <a:lnTo>
                      <a:pt x="95" y="68"/>
                    </a:lnTo>
                    <a:lnTo>
                      <a:pt x="126" y="44"/>
                    </a:lnTo>
                    <a:lnTo>
                      <a:pt x="159" y="26"/>
                    </a:lnTo>
                    <a:lnTo>
                      <a:pt x="197" y="12"/>
                    </a:lnTo>
                    <a:lnTo>
                      <a:pt x="236" y="3"/>
                    </a:lnTo>
                    <a:lnTo>
                      <a:pt x="276" y="0"/>
                    </a:lnTo>
                    <a:lnTo>
                      <a:pt x="2369" y="0"/>
                    </a:lnTo>
                    <a:lnTo>
                      <a:pt x="2410" y="3"/>
                    </a:lnTo>
                    <a:lnTo>
                      <a:pt x="2449" y="12"/>
                    </a:lnTo>
                    <a:lnTo>
                      <a:pt x="2485" y="26"/>
                    </a:lnTo>
                    <a:lnTo>
                      <a:pt x="2519" y="44"/>
                    </a:lnTo>
                    <a:lnTo>
                      <a:pt x="2550" y="68"/>
                    </a:lnTo>
                    <a:lnTo>
                      <a:pt x="2577" y="95"/>
                    </a:lnTo>
                    <a:lnTo>
                      <a:pt x="2601" y="126"/>
                    </a:lnTo>
                    <a:lnTo>
                      <a:pt x="2620" y="160"/>
                    </a:lnTo>
                    <a:lnTo>
                      <a:pt x="2634" y="197"/>
                    </a:lnTo>
                    <a:lnTo>
                      <a:pt x="2643" y="236"/>
                    </a:lnTo>
                    <a:lnTo>
                      <a:pt x="2646" y="277"/>
                    </a:lnTo>
                    <a:lnTo>
                      <a:pt x="2646" y="910"/>
                    </a:lnTo>
                    <a:lnTo>
                      <a:pt x="2647" y="91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48" name="Freeform 46"/>
              <p:cNvSpPr>
                <a:spLocks/>
              </p:cNvSpPr>
              <p:nvPr/>
            </p:nvSpPr>
            <p:spPr bwMode="auto">
              <a:xfrm>
                <a:off x="4250" y="3127"/>
                <a:ext cx="156" cy="54"/>
              </a:xfrm>
              <a:custGeom>
                <a:avLst/>
                <a:gdLst>
                  <a:gd name="T0" fmla="*/ 2566 w 2647"/>
                  <a:gd name="T1" fmla="*/ 52 h 921"/>
                  <a:gd name="T2" fmla="*/ 2592 w 2647"/>
                  <a:gd name="T3" fmla="*/ 64 h 921"/>
                  <a:gd name="T4" fmla="*/ 2619 w 2647"/>
                  <a:gd name="T5" fmla="*/ 71 h 921"/>
                  <a:gd name="T6" fmla="*/ 2647 w 2647"/>
                  <a:gd name="T7" fmla="*/ 75 h 921"/>
                  <a:gd name="T8" fmla="*/ 2647 w 2647"/>
                  <a:gd name="T9" fmla="*/ 644 h 921"/>
                  <a:gd name="T10" fmla="*/ 2644 w 2647"/>
                  <a:gd name="T11" fmla="*/ 685 h 921"/>
                  <a:gd name="T12" fmla="*/ 2634 w 2647"/>
                  <a:gd name="T13" fmla="*/ 724 h 921"/>
                  <a:gd name="T14" fmla="*/ 2621 w 2647"/>
                  <a:gd name="T15" fmla="*/ 761 h 921"/>
                  <a:gd name="T16" fmla="*/ 2601 w 2647"/>
                  <a:gd name="T17" fmla="*/ 795 h 921"/>
                  <a:gd name="T18" fmla="*/ 2578 w 2647"/>
                  <a:gd name="T19" fmla="*/ 825 h 921"/>
                  <a:gd name="T20" fmla="*/ 2550 w 2647"/>
                  <a:gd name="T21" fmla="*/ 853 h 921"/>
                  <a:gd name="T22" fmla="*/ 2519 w 2647"/>
                  <a:gd name="T23" fmla="*/ 876 h 921"/>
                  <a:gd name="T24" fmla="*/ 2485 w 2647"/>
                  <a:gd name="T25" fmla="*/ 895 h 921"/>
                  <a:gd name="T26" fmla="*/ 2449 w 2647"/>
                  <a:gd name="T27" fmla="*/ 909 h 921"/>
                  <a:gd name="T28" fmla="*/ 2410 w 2647"/>
                  <a:gd name="T29" fmla="*/ 918 h 921"/>
                  <a:gd name="T30" fmla="*/ 2369 w 2647"/>
                  <a:gd name="T31" fmla="*/ 921 h 921"/>
                  <a:gd name="T32" fmla="*/ 276 w 2647"/>
                  <a:gd name="T33" fmla="*/ 921 h 921"/>
                  <a:gd name="T34" fmla="*/ 236 w 2647"/>
                  <a:gd name="T35" fmla="*/ 918 h 921"/>
                  <a:gd name="T36" fmla="*/ 197 w 2647"/>
                  <a:gd name="T37" fmla="*/ 909 h 921"/>
                  <a:gd name="T38" fmla="*/ 159 w 2647"/>
                  <a:gd name="T39" fmla="*/ 895 h 921"/>
                  <a:gd name="T40" fmla="*/ 126 w 2647"/>
                  <a:gd name="T41" fmla="*/ 876 h 921"/>
                  <a:gd name="T42" fmla="*/ 95 w 2647"/>
                  <a:gd name="T43" fmla="*/ 853 h 921"/>
                  <a:gd name="T44" fmla="*/ 67 w 2647"/>
                  <a:gd name="T45" fmla="*/ 825 h 921"/>
                  <a:gd name="T46" fmla="*/ 45 w 2647"/>
                  <a:gd name="T47" fmla="*/ 795 h 921"/>
                  <a:gd name="T48" fmla="*/ 26 w 2647"/>
                  <a:gd name="T49" fmla="*/ 761 h 921"/>
                  <a:gd name="T50" fmla="*/ 11 w 2647"/>
                  <a:gd name="T51" fmla="*/ 724 h 921"/>
                  <a:gd name="T52" fmla="*/ 3 w 2647"/>
                  <a:gd name="T53" fmla="*/ 685 h 921"/>
                  <a:gd name="T54" fmla="*/ 0 w 2647"/>
                  <a:gd name="T55" fmla="*/ 644 h 921"/>
                  <a:gd name="T56" fmla="*/ 0 w 2647"/>
                  <a:gd name="T57" fmla="*/ 119 h 921"/>
                  <a:gd name="T58" fmla="*/ 150 w 2647"/>
                  <a:gd name="T59" fmla="*/ 119 h 921"/>
                  <a:gd name="T60" fmla="*/ 150 w 2647"/>
                  <a:gd name="T61" fmla="*/ 644 h 921"/>
                  <a:gd name="T62" fmla="*/ 153 w 2647"/>
                  <a:gd name="T63" fmla="*/ 670 h 921"/>
                  <a:gd name="T64" fmla="*/ 161 w 2647"/>
                  <a:gd name="T65" fmla="*/ 694 h 921"/>
                  <a:gd name="T66" fmla="*/ 172 w 2647"/>
                  <a:gd name="T67" fmla="*/ 714 h 921"/>
                  <a:gd name="T68" fmla="*/ 187 w 2647"/>
                  <a:gd name="T69" fmla="*/ 733 h 921"/>
                  <a:gd name="T70" fmla="*/ 206 w 2647"/>
                  <a:gd name="T71" fmla="*/ 748 h 921"/>
                  <a:gd name="T72" fmla="*/ 228 w 2647"/>
                  <a:gd name="T73" fmla="*/ 761 h 921"/>
                  <a:gd name="T74" fmla="*/ 252 w 2647"/>
                  <a:gd name="T75" fmla="*/ 768 h 921"/>
                  <a:gd name="T76" fmla="*/ 276 w 2647"/>
                  <a:gd name="T77" fmla="*/ 770 h 921"/>
                  <a:gd name="T78" fmla="*/ 2369 w 2647"/>
                  <a:gd name="T79" fmla="*/ 770 h 921"/>
                  <a:gd name="T80" fmla="*/ 2394 w 2647"/>
                  <a:gd name="T81" fmla="*/ 768 h 921"/>
                  <a:gd name="T82" fmla="*/ 2418 w 2647"/>
                  <a:gd name="T83" fmla="*/ 761 h 921"/>
                  <a:gd name="T84" fmla="*/ 2440 w 2647"/>
                  <a:gd name="T85" fmla="*/ 748 h 921"/>
                  <a:gd name="T86" fmla="*/ 2458 w 2647"/>
                  <a:gd name="T87" fmla="*/ 733 h 921"/>
                  <a:gd name="T88" fmla="*/ 2474 w 2647"/>
                  <a:gd name="T89" fmla="*/ 714 h 921"/>
                  <a:gd name="T90" fmla="*/ 2485 w 2647"/>
                  <a:gd name="T91" fmla="*/ 694 h 921"/>
                  <a:gd name="T92" fmla="*/ 2493 w 2647"/>
                  <a:gd name="T93" fmla="*/ 670 h 921"/>
                  <a:gd name="T94" fmla="*/ 2495 w 2647"/>
                  <a:gd name="T95" fmla="*/ 644 h 921"/>
                  <a:gd name="T96" fmla="*/ 2495 w 2647"/>
                  <a:gd name="T97" fmla="*/ 175 h 921"/>
                  <a:gd name="T98" fmla="*/ 2495 w 2647"/>
                  <a:gd name="T99" fmla="*/ 175 h 921"/>
                  <a:gd name="T100" fmla="*/ 2495 w 2647"/>
                  <a:gd name="T101" fmla="*/ 9 h 921"/>
                  <a:gd name="T102" fmla="*/ 2505 w 2647"/>
                  <a:gd name="T103" fmla="*/ 0 h 921"/>
                  <a:gd name="T104" fmla="*/ 2522 w 2647"/>
                  <a:gd name="T105" fmla="*/ 19 h 921"/>
                  <a:gd name="T106" fmla="*/ 2543 w 2647"/>
                  <a:gd name="T107" fmla="*/ 37 h 921"/>
                  <a:gd name="T108" fmla="*/ 2566 w 2647"/>
                  <a:gd name="T109" fmla="*/ 52 h 9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647" h="921">
                    <a:moveTo>
                      <a:pt x="2566" y="52"/>
                    </a:moveTo>
                    <a:lnTo>
                      <a:pt x="2592" y="64"/>
                    </a:lnTo>
                    <a:lnTo>
                      <a:pt x="2619" y="71"/>
                    </a:lnTo>
                    <a:lnTo>
                      <a:pt x="2647" y="75"/>
                    </a:lnTo>
                    <a:lnTo>
                      <a:pt x="2647" y="644"/>
                    </a:lnTo>
                    <a:lnTo>
                      <a:pt x="2644" y="685"/>
                    </a:lnTo>
                    <a:lnTo>
                      <a:pt x="2634" y="724"/>
                    </a:lnTo>
                    <a:lnTo>
                      <a:pt x="2621" y="761"/>
                    </a:lnTo>
                    <a:lnTo>
                      <a:pt x="2601" y="795"/>
                    </a:lnTo>
                    <a:lnTo>
                      <a:pt x="2578" y="825"/>
                    </a:lnTo>
                    <a:lnTo>
                      <a:pt x="2550" y="853"/>
                    </a:lnTo>
                    <a:lnTo>
                      <a:pt x="2519" y="876"/>
                    </a:lnTo>
                    <a:lnTo>
                      <a:pt x="2485" y="895"/>
                    </a:lnTo>
                    <a:lnTo>
                      <a:pt x="2449" y="909"/>
                    </a:lnTo>
                    <a:lnTo>
                      <a:pt x="2410" y="918"/>
                    </a:lnTo>
                    <a:lnTo>
                      <a:pt x="2369" y="921"/>
                    </a:lnTo>
                    <a:lnTo>
                      <a:pt x="276" y="921"/>
                    </a:lnTo>
                    <a:lnTo>
                      <a:pt x="236" y="918"/>
                    </a:lnTo>
                    <a:lnTo>
                      <a:pt x="197" y="909"/>
                    </a:lnTo>
                    <a:lnTo>
                      <a:pt x="159" y="895"/>
                    </a:lnTo>
                    <a:lnTo>
                      <a:pt x="126" y="876"/>
                    </a:lnTo>
                    <a:lnTo>
                      <a:pt x="95" y="853"/>
                    </a:lnTo>
                    <a:lnTo>
                      <a:pt x="67" y="825"/>
                    </a:lnTo>
                    <a:lnTo>
                      <a:pt x="45" y="795"/>
                    </a:lnTo>
                    <a:lnTo>
                      <a:pt x="26" y="761"/>
                    </a:lnTo>
                    <a:lnTo>
                      <a:pt x="11" y="724"/>
                    </a:lnTo>
                    <a:lnTo>
                      <a:pt x="3" y="685"/>
                    </a:lnTo>
                    <a:lnTo>
                      <a:pt x="0" y="644"/>
                    </a:lnTo>
                    <a:lnTo>
                      <a:pt x="0" y="119"/>
                    </a:lnTo>
                    <a:lnTo>
                      <a:pt x="150" y="119"/>
                    </a:lnTo>
                    <a:lnTo>
                      <a:pt x="150" y="644"/>
                    </a:lnTo>
                    <a:lnTo>
                      <a:pt x="153" y="670"/>
                    </a:lnTo>
                    <a:lnTo>
                      <a:pt x="161" y="694"/>
                    </a:lnTo>
                    <a:lnTo>
                      <a:pt x="172" y="714"/>
                    </a:lnTo>
                    <a:lnTo>
                      <a:pt x="187" y="733"/>
                    </a:lnTo>
                    <a:lnTo>
                      <a:pt x="206" y="748"/>
                    </a:lnTo>
                    <a:lnTo>
                      <a:pt x="228" y="761"/>
                    </a:lnTo>
                    <a:lnTo>
                      <a:pt x="252" y="768"/>
                    </a:lnTo>
                    <a:lnTo>
                      <a:pt x="276" y="770"/>
                    </a:lnTo>
                    <a:lnTo>
                      <a:pt x="2369" y="770"/>
                    </a:lnTo>
                    <a:lnTo>
                      <a:pt x="2394" y="768"/>
                    </a:lnTo>
                    <a:lnTo>
                      <a:pt x="2418" y="761"/>
                    </a:lnTo>
                    <a:lnTo>
                      <a:pt x="2440" y="748"/>
                    </a:lnTo>
                    <a:lnTo>
                      <a:pt x="2458" y="733"/>
                    </a:lnTo>
                    <a:lnTo>
                      <a:pt x="2474" y="714"/>
                    </a:lnTo>
                    <a:lnTo>
                      <a:pt x="2485" y="694"/>
                    </a:lnTo>
                    <a:lnTo>
                      <a:pt x="2493" y="670"/>
                    </a:lnTo>
                    <a:lnTo>
                      <a:pt x="2495" y="644"/>
                    </a:lnTo>
                    <a:lnTo>
                      <a:pt x="2495" y="175"/>
                    </a:lnTo>
                    <a:lnTo>
                      <a:pt x="2495" y="175"/>
                    </a:lnTo>
                    <a:lnTo>
                      <a:pt x="2495" y="9"/>
                    </a:lnTo>
                    <a:lnTo>
                      <a:pt x="2505" y="0"/>
                    </a:lnTo>
                    <a:lnTo>
                      <a:pt x="2522" y="19"/>
                    </a:lnTo>
                    <a:lnTo>
                      <a:pt x="2543" y="37"/>
                    </a:lnTo>
                    <a:lnTo>
                      <a:pt x="2566" y="5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49" name="Freeform 47"/>
              <p:cNvSpPr>
                <a:spLocks/>
              </p:cNvSpPr>
              <p:nvPr/>
            </p:nvSpPr>
            <p:spPr bwMode="auto">
              <a:xfrm>
                <a:off x="4238" y="3118"/>
                <a:ext cx="37" cy="15"/>
              </a:xfrm>
              <a:custGeom>
                <a:avLst/>
                <a:gdLst>
                  <a:gd name="T0" fmla="*/ 385 w 623"/>
                  <a:gd name="T1" fmla="*/ 62 h 255"/>
                  <a:gd name="T2" fmla="*/ 65 w 623"/>
                  <a:gd name="T3" fmla="*/ 62 h 255"/>
                  <a:gd name="T4" fmla="*/ 49 w 623"/>
                  <a:gd name="T5" fmla="*/ 65 h 255"/>
                  <a:gd name="T6" fmla="*/ 33 w 623"/>
                  <a:gd name="T7" fmla="*/ 71 h 255"/>
                  <a:gd name="T8" fmla="*/ 20 w 623"/>
                  <a:gd name="T9" fmla="*/ 82 h 255"/>
                  <a:gd name="T10" fmla="*/ 9 w 623"/>
                  <a:gd name="T11" fmla="*/ 94 h 255"/>
                  <a:gd name="T12" fmla="*/ 3 w 623"/>
                  <a:gd name="T13" fmla="*/ 111 h 255"/>
                  <a:gd name="T14" fmla="*/ 0 w 623"/>
                  <a:gd name="T15" fmla="*/ 127 h 255"/>
                  <a:gd name="T16" fmla="*/ 3 w 623"/>
                  <a:gd name="T17" fmla="*/ 145 h 255"/>
                  <a:gd name="T18" fmla="*/ 9 w 623"/>
                  <a:gd name="T19" fmla="*/ 160 h 255"/>
                  <a:gd name="T20" fmla="*/ 20 w 623"/>
                  <a:gd name="T21" fmla="*/ 174 h 255"/>
                  <a:gd name="T22" fmla="*/ 33 w 623"/>
                  <a:gd name="T23" fmla="*/ 184 h 255"/>
                  <a:gd name="T24" fmla="*/ 49 w 623"/>
                  <a:gd name="T25" fmla="*/ 190 h 255"/>
                  <a:gd name="T26" fmla="*/ 65 w 623"/>
                  <a:gd name="T27" fmla="*/ 192 h 255"/>
                  <a:gd name="T28" fmla="*/ 385 w 623"/>
                  <a:gd name="T29" fmla="*/ 192 h 255"/>
                  <a:gd name="T30" fmla="*/ 401 w 623"/>
                  <a:gd name="T31" fmla="*/ 213 h 255"/>
                  <a:gd name="T32" fmla="*/ 421 w 623"/>
                  <a:gd name="T33" fmla="*/ 231 h 255"/>
                  <a:gd name="T34" fmla="*/ 442 w 623"/>
                  <a:gd name="T35" fmla="*/ 244 h 255"/>
                  <a:gd name="T36" fmla="*/ 468 w 623"/>
                  <a:gd name="T37" fmla="*/ 252 h 255"/>
                  <a:gd name="T38" fmla="*/ 495 w 623"/>
                  <a:gd name="T39" fmla="*/ 255 h 255"/>
                  <a:gd name="T40" fmla="*/ 521 w 623"/>
                  <a:gd name="T41" fmla="*/ 252 h 255"/>
                  <a:gd name="T42" fmla="*/ 545 w 623"/>
                  <a:gd name="T43" fmla="*/ 245 h 255"/>
                  <a:gd name="T44" fmla="*/ 567 w 623"/>
                  <a:gd name="T45" fmla="*/ 234 h 255"/>
                  <a:gd name="T46" fmla="*/ 585 w 623"/>
                  <a:gd name="T47" fmla="*/ 217 h 255"/>
                  <a:gd name="T48" fmla="*/ 601 w 623"/>
                  <a:gd name="T49" fmla="*/ 198 h 255"/>
                  <a:gd name="T50" fmla="*/ 613 w 623"/>
                  <a:gd name="T51" fmla="*/ 177 h 255"/>
                  <a:gd name="T52" fmla="*/ 620 w 623"/>
                  <a:gd name="T53" fmla="*/ 153 h 255"/>
                  <a:gd name="T54" fmla="*/ 623 w 623"/>
                  <a:gd name="T55" fmla="*/ 127 h 255"/>
                  <a:gd name="T56" fmla="*/ 620 w 623"/>
                  <a:gd name="T57" fmla="*/ 101 h 255"/>
                  <a:gd name="T58" fmla="*/ 613 w 623"/>
                  <a:gd name="T59" fmla="*/ 77 h 255"/>
                  <a:gd name="T60" fmla="*/ 601 w 623"/>
                  <a:gd name="T61" fmla="*/ 56 h 255"/>
                  <a:gd name="T62" fmla="*/ 585 w 623"/>
                  <a:gd name="T63" fmla="*/ 37 h 255"/>
                  <a:gd name="T64" fmla="*/ 567 w 623"/>
                  <a:gd name="T65" fmla="*/ 22 h 255"/>
                  <a:gd name="T66" fmla="*/ 545 w 623"/>
                  <a:gd name="T67" fmla="*/ 9 h 255"/>
                  <a:gd name="T68" fmla="*/ 521 w 623"/>
                  <a:gd name="T69" fmla="*/ 2 h 255"/>
                  <a:gd name="T70" fmla="*/ 495 w 623"/>
                  <a:gd name="T71" fmla="*/ 0 h 255"/>
                  <a:gd name="T72" fmla="*/ 468 w 623"/>
                  <a:gd name="T73" fmla="*/ 3 h 255"/>
                  <a:gd name="T74" fmla="*/ 442 w 623"/>
                  <a:gd name="T75" fmla="*/ 11 h 255"/>
                  <a:gd name="T76" fmla="*/ 421 w 623"/>
                  <a:gd name="T77" fmla="*/ 24 h 255"/>
                  <a:gd name="T78" fmla="*/ 401 w 623"/>
                  <a:gd name="T79" fmla="*/ 41 h 255"/>
                  <a:gd name="T80" fmla="*/ 385 w 623"/>
                  <a:gd name="T81" fmla="*/ 62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23" h="255">
                    <a:moveTo>
                      <a:pt x="385" y="62"/>
                    </a:moveTo>
                    <a:lnTo>
                      <a:pt x="65" y="62"/>
                    </a:lnTo>
                    <a:lnTo>
                      <a:pt x="49" y="65"/>
                    </a:lnTo>
                    <a:lnTo>
                      <a:pt x="33" y="71"/>
                    </a:lnTo>
                    <a:lnTo>
                      <a:pt x="20" y="82"/>
                    </a:lnTo>
                    <a:lnTo>
                      <a:pt x="9" y="94"/>
                    </a:lnTo>
                    <a:lnTo>
                      <a:pt x="3" y="111"/>
                    </a:lnTo>
                    <a:lnTo>
                      <a:pt x="0" y="127"/>
                    </a:lnTo>
                    <a:lnTo>
                      <a:pt x="3" y="145"/>
                    </a:lnTo>
                    <a:lnTo>
                      <a:pt x="9" y="160"/>
                    </a:lnTo>
                    <a:lnTo>
                      <a:pt x="20" y="174"/>
                    </a:lnTo>
                    <a:lnTo>
                      <a:pt x="33" y="184"/>
                    </a:lnTo>
                    <a:lnTo>
                      <a:pt x="49" y="190"/>
                    </a:lnTo>
                    <a:lnTo>
                      <a:pt x="65" y="192"/>
                    </a:lnTo>
                    <a:lnTo>
                      <a:pt x="385" y="192"/>
                    </a:lnTo>
                    <a:lnTo>
                      <a:pt x="401" y="213"/>
                    </a:lnTo>
                    <a:lnTo>
                      <a:pt x="421" y="231"/>
                    </a:lnTo>
                    <a:lnTo>
                      <a:pt x="442" y="244"/>
                    </a:lnTo>
                    <a:lnTo>
                      <a:pt x="468" y="252"/>
                    </a:lnTo>
                    <a:lnTo>
                      <a:pt x="495" y="255"/>
                    </a:lnTo>
                    <a:lnTo>
                      <a:pt x="521" y="252"/>
                    </a:lnTo>
                    <a:lnTo>
                      <a:pt x="545" y="245"/>
                    </a:lnTo>
                    <a:lnTo>
                      <a:pt x="567" y="234"/>
                    </a:lnTo>
                    <a:lnTo>
                      <a:pt x="585" y="217"/>
                    </a:lnTo>
                    <a:lnTo>
                      <a:pt x="601" y="198"/>
                    </a:lnTo>
                    <a:lnTo>
                      <a:pt x="613" y="177"/>
                    </a:lnTo>
                    <a:lnTo>
                      <a:pt x="620" y="153"/>
                    </a:lnTo>
                    <a:lnTo>
                      <a:pt x="623" y="127"/>
                    </a:lnTo>
                    <a:lnTo>
                      <a:pt x="620" y="101"/>
                    </a:lnTo>
                    <a:lnTo>
                      <a:pt x="613" y="77"/>
                    </a:lnTo>
                    <a:lnTo>
                      <a:pt x="601" y="56"/>
                    </a:lnTo>
                    <a:lnTo>
                      <a:pt x="585" y="37"/>
                    </a:lnTo>
                    <a:lnTo>
                      <a:pt x="567" y="22"/>
                    </a:lnTo>
                    <a:lnTo>
                      <a:pt x="545" y="9"/>
                    </a:lnTo>
                    <a:lnTo>
                      <a:pt x="521" y="2"/>
                    </a:lnTo>
                    <a:lnTo>
                      <a:pt x="495" y="0"/>
                    </a:lnTo>
                    <a:lnTo>
                      <a:pt x="468" y="3"/>
                    </a:lnTo>
                    <a:lnTo>
                      <a:pt x="442" y="11"/>
                    </a:lnTo>
                    <a:lnTo>
                      <a:pt x="421" y="24"/>
                    </a:lnTo>
                    <a:lnTo>
                      <a:pt x="401" y="41"/>
                    </a:lnTo>
                    <a:lnTo>
                      <a:pt x="385" y="6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50" name="Freeform 48"/>
              <p:cNvSpPr>
                <a:spLocks/>
              </p:cNvSpPr>
              <p:nvPr/>
            </p:nvSpPr>
            <p:spPr bwMode="auto">
              <a:xfrm>
                <a:off x="4238" y="3081"/>
                <a:ext cx="37" cy="15"/>
              </a:xfrm>
              <a:custGeom>
                <a:avLst/>
                <a:gdLst>
                  <a:gd name="T0" fmla="*/ 385 w 623"/>
                  <a:gd name="T1" fmla="*/ 63 h 256"/>
                  <a:gd name="T2" fmla="*/ 65 w 623"/>
                  <a:gd name="T3" fmla="*/ 63 h 256"/>
                  <a:gd name="T4" fmla="*/ 49 w 623"/>
                  <a:gd name="T5" fmla="*/ 65 h 256"/>
                  <a:gd name="T6" fmla="*/ 33 w 623"/>
                  <a:gd name="T7" fmla="*/ 72 h 256"/>
                  <a:gd name="T8" fmla="*/ 20 w 623"/>
                  <a:gd name="T9" fmla="*/ 82 h 256"/>
                  <a:gd name="T10" fmla="*/ 9 w 623"/>
                  <a:gd name="T11" fmla="*/ 95 h 256"/>
                  <a:gd name="T12" fmla="*/ 3 w 623"/>
                  <a:gd name="T13" fmla="*/ 111 h 256"/>
                  <a:gd name="T14" fmla="*/ 0 w 623"/>
                  <a:gd name="T15" fmla="*/ 127 h 256"/>
                  <a:gd name="T16" fmla="*/ 3 w 623"/>
                  <a:gd name="T17" fmla="*/ 146 h 256"/>
                  <a:gd name="T18" fmla="*/ 9 w 623"/>
                  <a:gd name="T19" fmla="*/ 162 h 256"/>
                  <a:gd name="T20" fmla="*/ 20 w 623"/>
                  <a:gd name="T21" fmla="*/ 175 h 256"/>
                  <a:gd name="T22" fmla="*/ 33 w 623"/>
                  <a:gd name="T23" fmla="*/ 184 h 256"/>
                  <a:gd name="T24" fmla="*/ 49 w 623"/>
                  <a:gd name="T25" fmla="*/ 192 h 256"/>
                  <a:gd name="T26" fmla="*/ 65 w 623"/>
                  <a:gd name="T27" fmla="*/ 194 h 256"/>
                  <a:gd name="T28" fmla="*/ 385 w 623"/>
                  <a:gd name="T29" fmla="*/ 194 h 256"/>
                  <a:gd name="T30" fmla="*/ 401 w 623"/>
                  <a:gd name="T31" fmla="*/ 214 h 256"/>
                  <a:gd name="T32" fmla="*/ 421 w 623"/>
                  <a:gd name="T33" fmla="*/ 232 h 256"/>
                  <a:gd name="T34" fmla="*/ 443 w 623"/>
                  <a:gd name="T35" fmla="*/ 244 h 256"/>
                  <a:gd name="T36" fmla="*/ 468 w 623"/>
                  <a:gd name="T37" fmla="*/ 253 h 256"/>
                  <a:gd name="T38" fmla="*/ 495 w 623"/>
                  <a:gd name="T39" fmla="*/ 256 h 256"/>
                  <a:gd name="T40" fmla="*/ 521 w 623"/>
                  <a:gd name="T41" fmla="*/ 254 h 256"/>
                  <a:gd name="T42" fmla="*/ 545 w 623"/>
                  <a:gd name="T43" fmla="*/ 246 h 256"/>
                  <a:gd name="T44" fmla="*/ 567 w 623"/>
                  <a:gd name="T45" fmla="*/ 234 h 256"/>
                  <a:gd name="T46" fmla="*/ 585 w 623"/>
                  <a:gd name="T47" fmla="*/ 218 h 256"/>
                  <a:gd name="T48" fmla="*/ 601 w 623"/>
                  <a:gd name="T49" fmla="*/ 200 h 256"/>
                  <a:gd name="T50" fmla="*/ 613 w 623"/>
                  <a:gd name="T51" fmla="*/ 178 h 256"/>
                  <a:gd name="T52" fmla="*/ 620 w 623"/>
                  <a:gd name="T53" fmla="*/ 154 h 256"/>
                  <a:gd name="T54" fmla="*/ 623 w 623"/>
                  <a:gd name="T55" fmla="*/ 127 h 256"/>
                  <a:gd name="T56" fmla="*/ 620 w 623"/>
                  <a:gd name="T57" fmla="*/ 103 h 256"/>
                  <a:gd name="T58" fmla="*/ 613 w 623"/>
                  <a:gd name="T59" fmla="*/ 79 h 256"/>
                  <a:gd name="T60" fmla="*/ 601 w 623"/>
                  <a:gd name="T61" fmla="*/ 57 h 256"/>
                  <a:gd name="T62" fmla="*/ 585 w 623"/>
                  <a:gd name="T63" fmla="*/ 39 h 256"/>
                  <a:gd name="T64" fmla="*/ 567 w 623"/>
                  <a:gd name="T65" fmla="*/ 23 h 256"/>
                  <a:gd name="T66" fmla="*/ 545 w 623"/>
                  <a:gd name="T67" fmla="*/ 11 h 256"/>
                  <a:gd name="T68" fmla="*/ 521 w 623"/>
                  <a:gd name="T69" fmla="*/ 3 h 256"/>
                  <a:gd name="T70" fmla="*/ 495 w 623"/>
                  <a:gd name="T71" fmla="*/ 0 h 256"/>
                  <a:gd name="T72" fmla="*/ 468 w 623"/>
                  <a:gd name="T73" fmla="*/ 3 h 256"/>
                  <a:gd name="T74" fmla="*/ 443 w 623"/>
                  <a:gd name="T75" fmla="*/ 12 h 256"/>
                  <a:gd name="T76" fmla="*/ 421 w 623"/>
                  <a:gd name="T77" fmla="*/ 25 h 256"/>
                  <a:gd name="T78" fmla="*/ 401 w 623"/>
                  <a:gd name="T79" fmla="*/ 43 h 256"/>
                  <a:gd name="T80" fmla="*/ 385 w 623"/>
                  <a:gd name="T81" fmla="*/ 63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23" h="256">
                    <a:moveTo>
                      <a:pt x="385" y="63"/>
                    </a:moveTo>
                    <a:lnTo>
                      <a:pt x="65" y="63"/>
                    </a:lnTo>
                    <a:lnTo>
                      <a:pt x="49" y="65"/>
                    </a:lnTo>
                    <a:lnTo>
                      <a:pt x="33" y="72"/>
                    </a:lnTo>
                    <a:lnTo>
                      <a:pt x="20" y="82"/>
                    </a:lnTo>
                    <a:lnTo>
                      <a:pt x="9" y="95"/>
                    </a:lnTo>
                    <a:lnTo>
                      <a:pt x="3" y="111"/>
                    </a:lnTo>
                    <a:lnTo>
                      <a:pt x="0" y="127"/>
                    </a:lnTo>
                    <a:lnTo>
                      <a:pt x="3" y="146"/>
                    </a:lnTo>
                    <a:lnTo>
                      <a:pt x="9" y="162"/>
                    </a:lnTo>
                    <a:lnTo>
                      <a:pt x="20" y="175"/>
                    </a:lnTo>
                    <a:lnTo>
                      <a:pt x="33" y="184"/>
                    </a:lnTo>
                    <a:lnTo>
                      <a:pt x="49" y="192"/>
                    </a:lnTo>
                    <a:lnTo>
                      <a:pt x="65" y="194"/>
                    </a:lnTo>
                    <a:lnTo>
                      <a:pt x="385" y="194"/>
                    </a:lnTo>
                    <a:lnTo>
                      <a:pt x="401" y="214"/>
                    </a:lnTo>
                    <a:lnTo>
                      <a:pt x="421" y="232"/>
                    </a:lnTo>
                    <a:lnTo>
                      <a:pt x="443" y="244"/>
                    </a:lnTo>
                    <a:lnTo>
                      <a:pt x="468" y="253"/>
                    </a:lnTo>
                    <a:lnTo>
                      <a:pt x="495" y="256"/>
                    </a:lnTo>
                    <a:lnTo>
                      <a:pt x="521" y="254"/>
                    </a:lnTo>
                    <a:lnTo>
                      <a:pt x="545" y="246"/>
                    </a:lnTo>
                    <a:lnTo>
                      <a:pt x="567" y="234"/>
                    </a:lnTo>
                    <a:lnTo>
                      <a:pt x="585" y="218"/>
                    </a:lnTo>
                    <a:lnTo>
                      <a:pt x="601" y="200"/>
                    </a:lnTo>
                    <a:lnTo>
                      <a:pt x="613" y="178"/>
                    </a:lnTo>
                    <a:lnTo>
                      <a:pt x="620" y="154"/>
                    </a:lnTo>
                    <a:lnTo>
                      <a:pt x="623" y="127"/>
                    </a:lnTo>
                    <a:lnTo>
                      <a:pt x="620" y="103"/>
                    </a:lnTo>
                    <a:lnTo>
                      <a:pt x="613" y="79"/>
                    </a:lnTo>
                    <a:lnTo>
                      <a:pt x="601" y="57"/>
                    </a:lnTo>
                    <a:lnTo>
                      <a:pt x="585" y="39"/>
                    </a:lnTo>
                    <a:lnTo>
                      <a:pt x="567" y="23"/>
                    </a:lnTo>
                    <a:lnTo>
                      <a:pt x="545" y="11"/>
                    </a:lnTo>
                    <a:lnTo>
                      <a:pt x="521" y="3"/>
                    </a:lnTo>
                    <a:lnTo>
                      <a:pt x="495" y="0"/>
                    </a:lnTo>
                    <a:lnTo>
                      <a:pt x="468" y="3"/>
                    </a:lnTo>
                    <a:lnTo>
                      <a:pt x="443" y="12"/>
                    </a:lnTo>
                    <a:lnTo>
                      <a:pt x="421" y="25"/>
                    </a:lnTo>
                    <a:lnTo>
                      <a:pt x="401" y="43"/>
                    </a:lnTo>
                    <a:lnTo>
                      <a:pt x="385" y="63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51" name="Freeform 49"/>
              <p:cNvSpPr>
                <a:spLocks/>
              </p:cNvSpPr>
              <p:nvPr/>
            </p:nvSpPr>
            <p:spPr bwMode="auto">
              <a:xfrm>
                <a:off x="4238" y="3044"/>
                <a:ext cx="37" cy="15"/>
              </a:xfrm>
              <a:custGeom>
                <a:avLst/>
                <a:gdLst>
                  <a:gd name="T0" fmla="*/ 385 w 623"/>
                  <a:gd name="T1" fmla="*/ 63 h 255"/>
                  <a:gd name="T2" fmla="*/ 65 w 623"/>
                  <a:gd name="T3" fmla="*/ 63 h 255"/>
                  <a:gd name="T4" fmla="*/ 49 w 623"/>
                  <a:gd name="T5" fmla="*/ 65 h 255"/>
                  <a:gd name="T6" fmla="*/ 33 w 623"/>
                  <a:gd name="T7" fmla="*/ 71 h 255"/>
                  <a:gd name="T8" fmla="*/ 20 w 623"/>
                  <a:gd name="T9" fmla="*/ 81 h 255"/>
                  <a:gd name="T10" fmla="*/ 9 w 623"/>
                  <a:gd name="T11" fmla="*/ 95 h 255"/>
                  <a:gd name="T12" fmla="*/ 3 w 623"/>
                  <a:gd name="T13" fmla="*/ 110 h 255"/>
                  <a:gd name="T14" fmla="*/ 0 w 623"/>
                  <a:gd name="T15" fmla="*/ 127 h 255"/>
                  <a:gd name="T16" fmla="*/ 3 w 623"/>
                  <a:gd name="T17" fmla="*/ 144 h 255"/>
                  <a:gd name="T18" fmla="*/ 9 w 623"/>
                  <a:gd name="T19" fmla="*/ 160 h 255"/>
                  <a:gd name="T20" fmla="*/ 20 w 623"/>
                  <a:gd name="T21" fmla="*/ 173 h 255"/>
                  <a:gd name="T22" fmla="*/ 33 w 623"/>
                  <a:gd name="T23" fmla="*/ 184 h 255"/>
                  <a:gd name="T24" fmla="*/ 49 w 623"/>
                  <a:gd name="T25" fmla="*/ 190 h 255"/>
                  <a:gd name="T26" fmla="*/ 65 w 623"/>
                  <a:gd name="T27" fmla="*/ 192 h 255"/>
                  <a:gd name="T28" fmla="*/ 385 w 623"/>
                  <a:gd name="T29" fmla="*/ 192 h 255"/>
                  <a:gd name="T30" fmla="*/ 401 w 623"/>
                  <a:gd name="T31" fmla="*/ 214 h 255"/>
                  <a:gd name="T32" fmla="*/ 421 w 623"/>
                  <a:gd name="T33" fmla="*/ 230 h 255"/>
                  <a:gd name="T34" fmla="*/ 442 w 623"/>
                  <a:gd name="T35" fmla="*/ 244 h 255"/>
                  <a:gd name="T36" fmla="*/ 468 w 623"/>
                  <a:gd name="T37" fmla="*/ 252 h 255"/>
                  <a:gd name="T38" fmla="*/ 495 w 623"/>
                  <a:gd name="T39" fmla="*/ 255 h 255"/>
                  <a:gd name="T40" fmla="*/ 521 w 623"/>
                  <a:gd name="T41" fmla="*/ 253 h 255"/>
                  <a:gd name="T42" fmla="*/ 545 w 623"/>
                  <a:gd name="T43" fmla="*/ 245 h 255"/>
                  <a:gd name="T44" fmla="*/ 567 w 623"/>
                  <a:gd name="T45" fmla="*/ 233 h 255"/>
                  <a:gd name="T46" fmla="*/ 585 w 623"/>
                  <a:gd name="T47" fmla="*/ 218 h 255"/>
                  <a:gd name="T48" fmla="*/ 601 w 623"/>
                  <a:gd name="T49" fmla="*/ 199 h 255"/>
                  <a:gd name="T50" fmla="*/ 613 w 623"/>
                  <a:gd name="T51" fmla="*/ 178 h 255"/>
                  <a:gd name="T52" fmla="*/ 620 w 623"/>
                  <a:gd name="T53" fmla="*/ 154 h 255"/>
                  <a:gd name="T54" fmla="*/ 623 w 623"/>
                  <a:gd name="T55" fmla="*/ 128 h 255"/>
                  <a:gd name="T56" fmla="*/ 620 w 623"/>
                  <a:gd name="T57" fmla="*/ 102 h 255"/>
                  <a:gd name="T58" fmla="*/ 613 w 623"/>
                  <a:gd name="T59" fmla="*/ 78 h 255"/>
                  <a:gd name="T60" fmla="*/ 601 w 623"/>
                  <a:gd name="T61" fmla="*/ 57 h 255"/>
                  <a:gd name="T62" fmla="*/ 585 w 623"/>
                  <a:gd name="T63" fmla="*/ 37 h 255"/>
                  <a:gd name="T64" fmla="*/ 567 w 623"/>
                  <a:gd name="T65" fmla="*/ 21 h 255"/>
                  <a:gd name="T66" fmla="*/ 545 w 623"/>
                  <a:gd name="T67" fmla="*/ 10 h 255"/>
                  <a:gd name="T68" fmla="*/ 521 w 623"/>
                  <a:gd name="T69" fmla="*/ 3 h 255"/>
                  <a:gd name="T70" fmla="*/ 495 w 623"/>
                  <a:gd name="T71" fmla="*/ 0 h 255"/>
                  <a:gd name="T72" fmla="*/ 468 w 623"/>
                  <a:gd name="T73" fmla="*/ 3 h 255"/>
                  <a:gd name="T74" fmla="*/ 442 w 623"/>
                  <a:gd name="T75" fmla="*/ 11 h 255"/>
                  <a:gd name="T76" fmla="*/ 421 w 623"/>
                  <a:gd name="T77" fmla="*/ 24 h 255"/>
                  <a:gd name="T78" fmla="*/ 401 w 623"/>
                  <a:gd name="T79" fmla="*/ 42 h 255"/>
                  <a:gd name="T80" fmla="*/ 385 w 623"/>
                  <a:gd name="T81" fmla="*/ 63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23" h="255">
                    <a:moveTo>
                      <a:pt x="385" y="63"/>
                    </a:moveTo>
                    <a:lnTo>
                      <a:pt x="65" y="63"/>
                    </a:lnTo>
                    <a:lnTo>
                      <a:pt x="49" y="65"/>
                    </a:lnTo>
                    <a:lnTo>
                      <a:pt x="33" y="71"/>
                    </a:lnTo>
                    <a:lnTo>
                      <a:pt x="20" y="81"/>
                    </a:lnTo>
                    <a:lnTo>
                      <a:pt x="9" y="95"/>
                    </a:lnTo>
                    <a:lnTo>
                      <a:pt x="3" y="110"/>
                    </a:lnTo>
                    <a:lnTo>
                      <a:pt x="0" y="127"/>
                    </a:lnTo>
                    <a:lnTo>
                      <a:pt x="3" y="144"/>
                    </a:lnTo>
                    <a:lnTo>
                      <a:pt x="9" y="160"/>
                    </a:lnTo>
                    <a:lnTo>
                      <a:pt x="20" y="173"/>
                    </a:lnTo>
                    <a:lnTo>
                      <a:pt x="33" y="184"/>
                    </a:lnTo>
                    <a:lnTo>
                      <a:pt x="49" y="190"/>
                    </a:lnTo>
                    <a:lnTo>
                      <a:pt x="65" y="192"/>
                    </a:lnTo>
                    <a:lnTo>
                      <a:pt x="385" y="192"/>
                    </a:lnTo>
                    <a:lnTo>
                      <a:pt x="401" y="214"/>
                    </a:lnTo>
                    <a:lnTo>
                      <a:pt x="421" y="230"/>
                    </a:lnTo>
                    <a:lnTo>
                      <a:pt x="442" y="244"/>
                    </a:lnTo>
                    <a:lnTo>
                      <a:pt x="468" y="252"/>
                    </a:lnTo>
                    <a:lnTo>
                      <a:pt x="495" y="255"/>
                    </a:lnTo>
                    <a:lnTo>
                      <a:pt x="521" y="253"/>
                    </a:lnTo>
                    <a:lnTo>
                      <a:pt x="545" y="245"/>
                    </a:lnTo>
                    <a:lnTo>
                      <a:pt x="567" y="233"/>
                    </a:lnTo>
                    <a:lnTo>
                      <a:pt x="585" y="218"/>
                    </a:lnTo>
                    <a:lnTo>
                      <a:pt x="601" y="199"/>
                    </a:lnTo>
                    <a:lnTo>
                      <a:pt x="613" y="178"/>
                    </a:lnTo>
                    <a:lnTo>
                      <a:pt x="620" y="154"/>
                    </a:lnTo>
                    <a:lnTo>
                      <a:pt x="623" y="128"/>
                    </a:lnTo>
                    <a:lnTo>
                      <a:pt x="620" y="102"/>
                    </a:lnTo>
                    <a:lnTo>
                      <a:pt x="613" y="78"/>
                    </a:lnTo>
                    <a:lnTo>
                      <a:pt x="601" y="57"/>
                    </a:lnTo>
                    <a:lnTo>
                      <a:pt x="585" y="37"/>
                    </a:lnTo>
                    <a:lnTo>
                      <a:pt x="567" y="21"/>
                    </a:lnTo>
                    <a:lnTo>
                      <a:pt x="545" y="10"/>
                    </a:lnTo>
                    <a:lnTo>
                      <a:pt x="521" y="3"/>
                    </a:lnTo>
                    <a:lnTo>
                      <a:pt x="495" y="0"/>
                    </a:lnTo>
                    <a:lnTo>
                      <a:pt x="468" y="3"/>
                    </a:lnTo>
                    <a:lnTo>
                      <a:pt x="442" y="11"/>
                    </a:lnTo>
                    <a:lnTo>
                      <a:pt x="421" y="24"/>
                    </a:lnTo>
                    <a:lnTo>
                      <a:pt x="401" y="42"/>
                    </a:lnTo>
                    <a:lnTo>
                      <a:pt x="385" y="63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52" name="Freeform 50"/>
              <p:cNvSpPr>
                <a:spLocks/>
              </p:cNvSpPr>
              <p:nvPr/>
            </p:nvSpPr>
            <p:spPr bwMode="auto">
              <a:xfrm>
                <a:off x="4389" y="3063"/>
                <a:ext cx="46" cy="46"/>
              </a:xfrm>
              <a:custGeom>
                <a:avLst/>
                <a:gdLst>
                  <a:gd name="T0" fmla="*/ 517 w 786"/>
                  <a:gd name="T1" fmla="*/ 528 h 777"/>
                  <a:gd name="T2" fmla="*/ 478 w 786"/>
                  <a:gd name="T3" fmla="*/ 567 h 777"/>
                  <a:gd name="T4" fmla="*/ 450 w 786"/>
                  <a:gd name="T5" fmla="*/ 595 h 777"/>
                  <a:gd name="T6" fmla="*/ 430 w 786"/>
                  <a:gd name="T7" fmla="*/ 614 h 777"/>
                  <a:gd name="T8" fmla="*/ 417 w 786"/>
                  <a:gd name="T9" fmla="*/ 628 h 777"/>
                  <a:gd name="T10" fmla="*/ 406 w 786"/>
                  <a:gd name="T11" fmla="*/ 639 h 777"/>
                  <a:gd name="T12" fmla="*/ 394 w 786"/>
                  <a:gd name="T13" fmla="*/ 650 h 777"/>
                  <a:gd name="T14" fmla="*/ 380 w 786"/>
                  <a:gd name="T15" fmla="*/ 664 h 777"/>
                  <a:gd name="T16" fmla="*/ 360 w 786"/>
                  <a:gd name="T17" fmla="*/ 684 h 777"/>
                  <a:gd name="T18" fmla="*/ 332 w 786"/>
                  <a:gd name="T19" fmla="*/ 712 h 777"/>
                  <a:gd name="T20" fmla="*/ 292 w 786"/>
                  <a:gd name="T21" fmla="*/ 752 h 777"/>
                  <a:gd name="T22" fmla="*/ 199 w 786"/>
                  <a:gd name="T23" fmla="*/ 711 h 777"/>
                  <a:gd name="T24" fmla="*/ 65 w 786"/>
                  <a:gd name="T25" fmla="*/ 586 h 777"/>
                  <a:gd name="T26" fmla="*/ 0 w 786"/>
                  <a:gd name="T27" fmla="*/ 519 h 777"/>
                  <a:gd name="T28" fmla="*/ 2 w 786"/>
                  <a:gd name="T29" fmla="*/ 516 h 777"/>
                  <a:gd name="T30" fmla="*/ 35 w 786"/>
                  <a:gd name="T31" fmla="*/ 482 h 777"/>
                  <a:gd name="T32" fmla="*/ 88 w 786"/>
                  <a:gd name="T33" fmla="*/ 430 h 777"/>
                  <a:gd name="T34" fmla="*/ 129 w 786"/>
                  <a:gd name="T35" fmla="*/ 389 h 777"/>
                  <a:gd name="T36" fmla="*/ 162 w 786"/>
                  <a:gd name="T37" fmla="*/ 356 h 777"/>
                  <a:gd name="T38" fmla="*/ 189 w 786"/>
                  <a:gd name="T39" fmla="*/ 329 h 777"/>
                  <a:gd name="T40" fmla="*/ 214 w 786"/>
                  <a:gd name="T41" fmla="*/ 304 h 777"/>
                  <a:gd name="T42" fmla="*/ 239 w 786"/>
                  <a:gd name="T43" fmla="*/ 281 h 777"/>
                  <a:gd name="T44" fmla="*/ 267 w 786"/>
                  <a:gd name="T45" fmla="*/ 254 h 777"/>
                  <a:gd name="T46" fmla="*/ 300 w 786"/>
                  <a:gd name="T47" fmla="*/ 221 h 777"/>
                  <a:gd name="T48" fmla="*/ 342 w 786"/>
                  <a:gd name="T49" fmla="*/ 180 h 777"/>
                  <a:gd name="T50" fmla="*/ 395 w 786"/>
                  <a:gd name="T51" fmla="*/ 129 h 777"/>
                  <a:gd name="T52" fmla="*/ 455 w 786"/>
                  <a:gd name="T53" fmla="*/ 73 h 777"/>
                  <a:gd name="T54" fmla="*/ 519 w 786"/>
                  <a:gd name="T55" fmla="*/ 30 h 777"/>
                  <a:gd name="T56" fmla="*/ 579 w 786"/>
                  <a:gd name="T57" fmla="*/ 3 h 777"/>
                  <a:gd name="T58" fmla="*/ 632 w 786"/>
                  <a:gd name="T59" fmla="*/ 1 h 777"/>
                  <a:gd name="T60" fmla="*/ 683 w 786"/>
                  <a:gd name="T61" fmla="*/ 21 h 777"/>
                  <a:gd name="T62" fmla="*/ 731 w 786"/>
                  <a:gd name="T63" fmla="*/ 58 h 777"/>
                  <a:gd name="T64" fmla="*/ 767 w 786"/>
                  <a:gd name="T65" fmla="*/ 105 h 777"/>
                  <a:gd name="T66" fmla="*/ 784 w 786"/>
                  <a:gd name="T67" fmla="*/ 155 h 777"/>
                  <a:gd name="T68" fmla="*/ 780 w 786"/>
                  <a:gd name="T69" fmla="*/ 209 h 777"/>
                  <a:gd name="T70" fmla="*/ 744 w 786"/>
                  <a:gd name="T71" fmla="*/ 273 h 777"/>
                  <a:gd name="T72" fmla="*/ 690 w 786"/>
                  <a:gd name="T73" fmla="*/ 342 h 777"/>
                  <a:gd name="T74" fmla="*/ 656 w 786"/>
                  <a:gd name="T75" fmla="*/ 384 h 777"/>
                  <a:gd name="T76" fmla="*/ 631 w 786"/>
                  <a:gd name="T77" fmla="*/ 410 h 7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86" h="777">
                    <a:moveTo>
                      <a:pt x="542" y="503"/>
                    </a:moveTo>
                    <a:lnTo>
                      <a:pt x="517" y="528"/>
                    </a:lnTo>
                    <a:lnTo>
                      <a:pt x="497" y="549"/>
                    </a:lnTo>
                    <a:lnTo>
                      <a:pt x="478" y="567"/>
                    </a:lnTo>
                    <a:lnTo>
                      <a:pt x="463" y="582"/>
                    </a:lnTo>
                    <a:lnTo>
                      <a:pt x="450" y="595"/>
                    </a:lnTo>
                    <a:lnTo>
                      <a:pt x="440" y="605"/>
                    </a:lnTo>
                    <a:lnTo>
                      <a:pt x="430" y="614"/>
                    </a:lnTo>
                    <a:lnTo>
                      <a:pt x="423" y="622"/>
                    </a:lnTo>
                    <a:lnTo>
                      <a:pt x="417" y="628"/>
                    </a:lnTo>
                    <a:lnTo>
                      <a:pt x="411" y="634"/>
                    </a:lnTo>
                    <a:lnTo>
                      <a:pt x="406" y="639"/>
                    </a:lnTo>
                    <a:lnTo>
                      <a:pt x="400" y="644"/>
                    </a:lnTo>
                    <a:lnTo>
                      <a:pt x="394" y="650"/>
                    </a:lnTo>
                    <a:lnTo>
                      <a:pt x="388" y="656"/>
                    </a:lnTo>
                    <a:lnTo>
                      <a:pt x="380" y="664"/>
                    </a:lnTo>
                    <a:lnTo>
                      <a:pt x="371" y="672"/>
                    </a:lnTo>
                    <a:lnTo>
                      <a:pt x="360" y="684"/>
                    </a:lnTo>
                    <a:lnTo>
                      <a:pt x="348" y="696"/>
                    </a:lnTo>
                    <a:lnTo>
                      <a:pt x="332" y="712"/>
                    </a:lnTo>
                    <a:lnTo>
                      <a:pt x="313" y="730"/>
                    </a:lnTo>
                    <a:lnTo>
                      <a:pt x="292" y="752"/>
                    </a:lnTo>
                    <a:lnTo>
                      <a:pt x="267" y="777"/>
                    </a:lnTo>
                    <a:lnTo>
                      <a:pt x="199" y="711"/>
                    </a:lnTo>
                    <a:lnTo>
                      <a:pt x="132" y="648"/>
                    </a:lnTo>
                    <a:lnTo>
                      <a:pt x="65" y="586"/>
                    </a:lnTo>
                    <a:lnTo>
                      <a:pt x="0" y="520"/>
                    </a:lnTo>
                    <a:lnTo>
                      <a:pt x="0" y="519"/>
                    </a:lnTo>
                    <a:lnTo>
                      <a:pt x="1" y="518"/>
                    </a:lnTo>
                    <a:lnTo>
                      <a:pt x="2" y="516"/>
                    </a:lnTo>
                    <a:lnTo>
                      <a:pt x="3" y="514"/>
                    </a:lnTo>
                    <a:lnTo>
                      <a:pt x="35" y="482"/>
                    </a:lnTo>
                    <a:lnTo>
                      <a:pt x="63" y="455"/>
                    </a:lnTo>
                    <a:lnTo>
                      <a:pt x="88" y="430"/>
                    </a:lnTo>
                    <a:lnTo>
                      <a:pt x="109" y="409"/>
                    </a:lnTo>
                    <a:lnTo>
                      <a:pt x="129" y="389"/>
                    </a:lnTo>
                    <a:lnTo>
                      <a:pt x="146" y="372"/>
                    </a:lnTo>
                    <a:lnTo>
                      <a:pt x="162" y="356"/>
                    </a:lnTo>
                    <a:lnTo>
                      <a:pt x="176" y="343"/>
                    </a:lnTo>
                    <a:lnTo>
                      <a:pt x="189" y="329"/>
                    </a:lnTo>
                    <a:lnTo>
                      <a:pt x="202" y="317"/>
                    </a:lnTo>
                    <a:lnTo>
                      <a:pt x="214" y="304"/>
                    </a:lnTo>
                    <a:lnTo>
                      <a:pt x="226" y="293"/>
                    </a:lnTo>
                    <a:lnTo>
                      <a:pt x="239" y="281"/>
                    </a:lnTo>
                    <a:lnTo>
                      <a:pt x="252" y="267"/>
                    </a:lnTo>
                    <a:lnTo>
                      <a:pt x="267" y="254"/>
                    </a:lnTo>
                    <a:lnTo>
                      <a:pt x="282" y="238"/>
                    </a:lnTo>
                    <a:lnTo>
                      <a:pt x="300" y="221"/>
                    </a:lnTo>
                    <a:lnTo>
                      <a:pt x="320" y="202"/>
                    </a:lnTo>
                    <a:lnTo>
                      <a:pt x="342" y="180"/>
                    </a:lnTo>
                    <a:lnTo>
                      <a:pt x="367" y="155"/>
                    </a:lnTo>
                    <a:lnTo>
                      <a:pt x="395" y="129"/>
                    </a:lnTo>
                    <a:lnTo>
                      <a:pt x="426" y="98"/>
                    </a:lnTo>
                    <a:lnTo>
                      <a:pt x="455" y="73"/>
                    </a:lnTo>
                    <a:lnTo>
                      <a:pt x="486" y="50"/>
                    </a:lnTo>
                    <a:lnTo>
                      <a:pt x="519" y="30"/>
                    </a:lnTo>
                    <a:lnTo>
                      <a:pt x="553" y="14"/>
                    </a:lnTo>
                    <a:lnTo>
                      <a:pt x="579" y="3"/>
                    </a:lnTo>
                    <a:lnTo>
                      <a:pt x="606" y="0"/>
                    </a:lnTo>
                    <a:lnTo>
                      <a:pt x="632" y="1"/>
                    </a:lnTo>
                    <a:lnTo>
                      <a:pt x="658" y="9"/>
                    </a:lnTo>
                    <a:lnTo>
                      <a:pt x="683" y="21"/>
                    </a:lnTo>
                    <a:lnTo>
                      <a:pt x="707" y="38"/>
                    </a:lnTo>
                    <a:lnTo>
                      <a:pt x="731" y="58"/>
                    </a:lnTo>
                    <a:lnTo>
                      <a:pt x="751" y="81"/>
                    </a:lnTo>
                    <a:lnTo>
                      <a:pt x="767" y="105"/>
                    </a:lnTo>
                    <a:lnTo>
                      <a:pt x="778" y="130"/>
                    </a:lnTo>
                    <a:lnTo>
                      <a:pt x="784" y="155"/>
                    </a:lnTo>
                    <a:lnTo>
                      <a:pt x="786" y="181"/>
                    </a:lnTo>
                    <a:lnTo>
                      <a:pt x="780" y="209"/>
                    </a:lnTo>
                    <a:lnTo>
                      <a:pt x="768" y="237"/>
                    </a:lnTo>
                    <a:lnTo>
                      <a:pt x="744" y="273"/>
                    </a:lnTo>
                    <a:lnTo>
                      <a:pt x="718" y="308"/>
                    </a:lnTo>
                    <a:lnTo>
                      <a:pt x="690" y="342"/>
                    </a:lnTo>
                    <a:lnTo>
                      <a:pt x="663" y="376"/>
                    </a:lnTo>
                    <a:lnTo>
                      <a:pt x="656" y="384"/>
                    </a:lnTo>
                    <a:lnTo>
                      <a:pt x="649" y="393"/>
                    </a:lnTo>
                    <a:lnTo>
                      <a:pt x="631" y="410"/>
                    </a:lnTo>
                    <a:lnTo>
                      <a:pt x="542" y="503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53" name="Freeform 51"/>
              <p:cNvSpPr>
                <a:spLocks/>
              </p:cNvSpPr>
              <p:nvPr/>
            </p:nvSpPr>
            <p:spPr bwMode="auto">
              <a:xfrm>
                <a:off x="4403" y="3088"/>
                <a:ext cx="36" cy="35"/>
              </a:xfrm>
              <a:custGeom>
                <a:avLst/>
                <a:gdLst>
                  <a:gd name="T0" fmla="*/ 584 w 606"/>
                  <a:gd name="T1" fmla="*/ 101 h 608"/>
                  <a:gd name="T2" fmla="*/ 498 w 606"/>
                  <a:gd name="T3" fmla="*/ 189 h 608"/>
                  <a:gd name="T4" fmla="*/ 411 w 606"/>
                  <a:gd name="T5" fmla="*/ 276 h 608"/>
                  <a:gd name="T6" fmla="*/ 103 w 606"/>
                  <a:gd name="T7" fmla="*/ 584 h 608"/>
                  <a:gd name="T8" fmla="*/ 90 w 606"/>
                  <a:gd name="T9" fmla="*/ 597 h 608"/>
                  <a:gd name="T10" fmla="*/ 76 w 606"/>
                  <a:gd name="T11" fmla="*/ 604 h 608"/>
                  <a:gd name="T12" fmla="*/ 61 w 606"/>
                  <a:gd name="T13" fmla="*/ 608 h 608"/>
                  <a:gd name="T14" fmla="*/ 46 w 606"/>
                  <a:gd name="T15" fmla="*/ 608 h 608"/>
                  <a:gd name="T16" fmla="*/ 29 w 606"/>
                  <a:gd name="T17" fmla="*/ 601 h 608"/>
                  <a:gd name="T18" fmla="*/ 16 w 606"/>
                  <a:gd name="T19" fmla="*/ 591 h 608"/>
                  <a:gd name="T20" fmla="*/ 6 w 606"/>
                  <a:gd name="T21" fmla="*/ 580 h 608"/>
                  <a:gd name="T22" fmla="*/ 1 w 606"/>
                  <a:gd name="T23" fmla="*/ 568 h 608"/>
                  <a:gd name="T24" fmla="*/ 0 w 606"/>
                  <a:gd name="T25" fmla="*/ 553 h 608"/>
                  <a:gd name="T26" fmla="*/ 3 w 606"/>
                  <a:gd name="T27" fmla="*/ 538 h 608"/>
                  <a:gd name="T28" fmla="*/ 9 w 606"/>
                  <a:gd name="T29" fmla="*/ 524 h 608"/>
                  <a:gd name="T30" fmla="*/ 20 w 606"/>
                  <a:gd name="T31" fmla="*/ 512 h 608"/>
                  <a:gd name="T32" fmla="*/ 31 w 606"/>
                  <a:gd name="T33" fmla="*/ 499 h 608"/>
                  <a:gd name="T34" fmla="*/ 47 w 606"/>
                  <a:gd name="T35" fmla="*/ 484 h 608"/>
                  <a:gd name="T36" fmla="*/ 65 w 606"/>
                  <a:gd name="T37" fmla="*/ 465 h 608"/>
                  <a:gd name="T38" fmla="*/ 85 w 606"/>
                  <a:gd name="T39" fmla="*/ 445 h 608"/>
                  <a:gd name="T40" fmla="*/ 108 w 606"/>
                  <a:gd name="T41" fmla="*/ 423 h 608"/>
                  <a:gd name="T42" fmla="*/ 132 w 606"/>
                  <a:gd name="T43" fmla="*/ 399 h 608"/>
                  <a:gd name="T44" fmla="*/ 156 w 606"/>
                  <a:gd name="T45" fmla="*/ 373 h 608"/>
                  <a:gd name="T46" fmla="*/ 182 w 606"/>
                  <a:gd name="T47" fmla="*/ 347 h 608"/>
                  <a:gd name="T48" fmla="*/ 209 w 606"/>
                  <a:gd name="T49" fmla="*/ 321 h 608"/>
                  <a:gd name="T50" fmla="*/ 237 w 606"/>
                  <a:gd name="T51" fmla="*/ 293 h 608"/>
                  <a:gd name="T52" fmla="*/ 265 w 606"/>
                  <a:gd name="T53" fmla="*/ 265 h 608"/>
                  <a:gd name="T54" fmla="*/ 292 w 606"/>
                  <a:gd name="T55" fmla="*/ 238 h 608"/>
                  <a:gd name="T56" fmla="*/ 319 w 606"/>
                  <a:gd name="T57" fmla="*/ 210 h 608"/>
                  <a:gd name="T58" fmla="*/ 346 w 606"/>
                  <a:gd name="T59" fmla="*/ 184 h 608"/>
                  <a:gd name="T60" fmla="*/ 371 w 606"/>
                  <a:gd name="T61" fmla="*/ 158 h 608"/>
                  <a:gd name="T62" fmla="*/ 395 w 606"/>
                  <a:gd name="T63" fmla="*/ 134 h 608"/>
                  <a:gd name="T64" fmla="*/ 417 w 606"/>
                  <a:gd name="T65" fmla="*/ 112 h 608"/>
                  <a:gd name="T66" fmla="*/ 438 w 606"/>
                  <a:gd name="T67" fmla="*/ 91 h 608"/>
                  <a:gd name="T68" fmla="*/ 457 w 606"/>
                  <a:gd name="T69" fmla="*/ 72 h 608"/>
                  <a:gd name="T70" fmla="*/ 473 w 606"/>
                  <a:gd name="T71" fmla="*/ 57 h 608"/>
                  <a:gd name="T72" fmla="*/ 487 w 606"/>
                  <a:gd name="T73" fmla="*/ 43 h 608"/>
                  <a:gd name="T74" fmla="*/ 497 w 606"/>
                  <a:gd name="T75" fmla="*/ 33 h 608"/>
                  <a:gd name="T76" fmla="*/ 504 w 606"/>
                  <a:gd name="T77" fmla="*/ 26 h 608"/>
                  <a:gd name="T78" fmla="*/ 507 w 606"/>
                  <a:gd name="T79" fmla="*/ 22 h 608"/>
                  <a:gd name="T80" fmla="*/ 526 w 606"/>
                  <a:gd name="T81" fmla="*/ 8 h 608"/>
                  <a:gd name="T82" fmla="*/ 544 w 606"/>
                  <a:gd name="T83" fmla="*/ 1 h 608"/>
                  <a:gd name="T84" fmla="*/ 560 w 606"/>
                  <a:gd name="T85" fmla="*/ 0 h 608"/>
                  <a:gd name="T86" fmla="*/ 577 w 606"/>
                  <a:gd name="T87" fmla="*/ 6 h 608"/>
                  <a:gd name="T88" fmla="*/ 592 w 606"/>
                  <a:gd name="T89" fmla="*/ 19 h 608"/>
                  <a:gd name="T90" fmla="*/ 601 w 606"/>
                  <a:gd name="T91" fmla="*/ 30 h 608"/>
                  <a:gd name="T92" fmla="*/ 606 w 606"/>
                  <a:gd name="T93" fmla="*/ 43 h 608"/>
                  <a:gd name="T94" fmla="*/ 606 w 606"/>
                  <a:gd name="T95" fmla="*/ 58 h 608"/>
                  <a:gd name="T96" fmla="*/ 603 w 606"/>
                  <a:gd name="T97" fmla="*/ 72 h 608"/>
                  <a:gd name="T98" fmla="*/ 595 w 606"/>
                  <a:gd name="T99" fmla="*/ 87 h 608"/>
                  <a:gd name="T100" fmla="*/ 584 w 606"/>
                  <a:gd name="T101" fmla="*/ 101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06" h="608">
                    <a:moveTo>
                      <a:pt x="584" y="101"/>
                    </a:moveTo>
                    <a:lnTo>
                      <a:pt x="498" y="189"/>
                    </a:lnTo>
                    <a:lnTo>
                      <a:pt x="411" y="276"/>
                    </a:lnTo>
                    <a:lnTo>
                      <a:pt x="103" y="584"/>
                    </a:lnTo>
                    <a:lnTo>
                      <a:pt x="90" y="597"/>
                    </a:lnTo>
                    <a:lnTo>
                      <a:pt x="76" y="604"/>
                    </a:lnTo>
                    <a:lnTo>
                      <a:pt x="61" y="608"/>
                    </a:lnTo>
                    <a:lnTo>
                      <a:pt x="46" y="608"/>
                    </a:lnTo>
                    <a:lnTo>
                      <a:pt x="29" y="601"/>
                    </a:lnTo>
                    <a:lnTo>
                      <a:pt x="16" y="591"/>
                    </a:lnTo>
                    <a:lnTo>
                      <a:pt x="6" y="580"/>
                    </a:lnTo>
                    <a:lnTo>
                      <a:pt x="1" y="568"/>
                    </a:lnTo>
                    <a:lnTo>
                      <a:pt x="0" y="553"/>
                    </a:lnTo>
                    <a:lnTo>
                      <a:pt x="3" y="538"/>
                    </a:lnTo>
                    <a:lnTo>
                      <a:pt x="9" y="524"/>
                    </a:lnTo>
                    <a:lnTo>
                      <a:pt x="20" y="512"/>
                    </a:lnTo>
                    <a:lnTo>
                      <a:pt x="31" y="499"/>
                    </a:lnTo>
                    <a:lnTo>
                      <a:pt x="47" y="484"/>
                    </a:lnTo>
                    <a:lnTo>
                      <a:pt x="65" y="465"/>
                    </a:lnTo>
                    <a:lnTo>
                      <a:pt x="85" y="445"/>
                    </a:lnTo>
                    <a:lnTo>
                      <a:pt x="108" y="423"/>
                    </a:lnTo>
                    <a:lnTo>
                      <a:pt x="132" y="399"/>
                    </a:lnTo>
                    <a:lnTo>
                      <a:pt x="156" y="373"/>
                    </a:lnTo>
                    <a:lnTo>
                      <a:pt x="182" y="347"/>
                    </a:lnTo>
                    <a:lnTo>
                      <a:pt x="209" y="321"/>
                    </a:lnTo>
                    <a:lnTo>
                      <a:pt x="237" y="293"/>
                    </a:lnTo>
                    <a:lnTo>
                      <a:pt x="265" y="265"/>
                    </a:lnTo>
                    <a:lnTo>
                      <a:pt x="292" y="238"/>
                    </a:lnTo>
                    <a:lnTo>
                      <a:pt x="319" y="210"/>
                    </a:lnTo>
                    <a:lnTo>
                      <a:pt x="346" y="184"/>
                    </a:lnTo>
                    <a:lnTo>
                      <a:pt x="371" y="158"/>
                    </a:lnTo>
                    <a:lnTo>
                      <a:pt x="395" y="134"/>
                    </a:lnTo>
                    <a:lnTo>
                      <a:pt x="417" y="112"/>
                    </a:lnTo>
                    <a:lnTo>
                      <a:pt x="438" y="91"/>
                    </a:lnTo>
                    <a:lnTo>
                      <a:pt x="457" y="72"/>
                    </a:lnTo>
                    <a:lnTo>
                      <a:pt x="473" y="57"/>
                    </a:lnTo>
                    <a:lnTo>
                      <a:pt x="487" y="43"/>
                    </a:lnTo>
                    <a:lnTo>
                      <a:pt x="497" y="33"/>
                    </a:lnTo>
                    <a:lnTo>
                      <a:pt x="504" y="26"/>
                    </a:lnTo>
                    <a:lnTo>
                      <a:pt x="507" y="22"/>
                    </a:lnTo>
                    <a:lnTo>
                      <a:pt x="526" y="8"/>
                    </a:lnTo>
                    <a:lnTo>
                      <a:pt x="544" y="1"/>
                    </a:lnTo>
                    <a:lnTo>
                      <a:pt x="560" y="0"/>
                    </a:lnTo>
                    <a:lnTo>
                      <a:pt x="577" y="6"/>
                    </a:lnTo>
                    <a:lnTo>
                      <a:pt x="592" y="19"/>
                    </a:lnTo>
                    <a:lnTo>
                      <a:pt x="601" y="30"/>
                    </a:lnTo>
                    <a:lnTo>
                      <a:pt x="606" y="43"/>
                    </a:lnTo>
                    <a:lnTo>
                      <a:pt x="606" y="58"/>
                    </a:lnTo>
                    <a:lnTo>
                      <a:pt x="603" y="72"/>
                    </a:lnTo>
                    <a:lnTo>
                      <a:pt x="595" y="87"/>
                    </a:lnTo>
                    <a:lnTo>
                      <a:pt x="584" y="101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54" name="Freeform 52"/>
              <p:cNvSpPr>
                <a:spLocks/>
              </p:cNvSpPr>
              <p:nvPr/>
            </p:nvSpPr>
            <p:spPr bwMode="auto">
              <a:xfrm>
                <a:off x="4290" y="3022"/>
                <a:ext cx="91" cy="7"/>
              </a:xfrm>
              <a:custGeom>
                <a:avLst/>
                <a:gdLst>
                  <a:gd name="T0" fmla="*/ 1556 w 1556"/>
                  <a:gd name="T1" fmla="*/ 59 h 119"/>
                  <a:gd name="T2" fmla="*/ 1553 w 1556"/>
                  <a:gd name="T3" fmla="*/ 78 h 119"/>
                  <a:gd name="T4" fmla="*/ 1545 w 1556"/>
                  <a:gd name="T5" fmla="*/ 95 h 119"/>
                  <a:gd name="T6" fmla="*/ 1533 w 1556"/>
                  <a:gd name="T7" fmla="*/ 107 h 119"/>
                  <a:gd name="T8" fmla="*/ 1516 w 1556"/>
                  <a:gd name="T9" fmla="*/ 116 h 119"/>
                  <a:gd name="T10" fmla="*/ 1497 w 1556"/>
                  <a:gd name="T11" fmla="*/ 119 h 119"/>
                  <a:gd name="T12" fmla="*/ 59 w 1556"/>
                  <a:gd name="T13" fmla="*/ 119 h 119"/>
                  <a:gd name="T14" fmla="*/ 40 w 1556"/>
                  <a:gd name="T15" fmla="*/ 116 h 119"/>
                  <a:gd name="T16" fmla="*/ 24 w 1556"/>
                  <a:gd name="T17" fmla="*/ 107 h 119"/>
                  <a:gd name="T18" fmla="*/ 11 w 1556"/>
                  <a:gd name="T19" fmla="*/ 95 h 119"/>
                  <a:gd name="T20" fmla="*/ 3 w 1556"/>
                  <a:gd name="T21" fmla="*/ 78 h 119"/>
                  <a:gd name="T22" fmla="*/ 0 w 1556"/>
                  <a:gd name="T23" fmla="*/ 59 h 119"/>
                  <a:gd name="T24" fmla="*/ 3 w 1556"/>
                  <a:gd name="T25" fmla="*/ 40 h 119"/>
                  <a:gd name="T26" fmla="*/ 11 w 1556"/>
                  <a:gd name="T27" fmla="*/ 24 h 119"/>
                  <a:gd name="T28" fmla="*/ 24 w 1556"/>
                  <a:gd name="T29" fmla="*/ 11 h 119"/>
                  <a:gd name="T30" fmla="*/ 40 w 1556"/>
                  <a:gd name="T31" fmla="*/ 3 h 119"/>
                  <a:gd name="T32" fmla="*/ 59 w 1556"/>
                  <a:gd name="T33" fmla="*/ 0 h 119"/>
                  <a:gd name="T34" fmla="*/ 1497 w 1556"/>
                  <a:gd name="T35" fmla="*/ 0 h 119"/>
                  <a:gd name="T36" fmla="*/ 1516 w 1556"/>
                  <a:gd name="T37" fmla="*/ 3 h 119"/>
                  <a:gd name="T38" fmla="*/ 1533 w 1556"/>
                  <a:gd name="T39" fmla="*/ 11 h 119"/>
                  <a:gd name="T40" fmla="*/ 1545 w 1556"/>
                  <a:gd name="T41" fmla="*/ 24 h 119"/>
                  <a:gd name="T42" fmla="*/ 1553 w 1556"/>
                  <a:gd name="T43" fmla="*/ 40 h 119"/>
                  <a:gd name="T44" fmla="*/ 1556 w 1556"/>
                  <a:gd name="T45" fmla="*/ 5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56" h="119">
                    <a:moveTo>
                      <a:pt x="1556" y="59"/>
                    </a:moveTo>
                    <a:lnTo>
                      <a:pt x="1553" y="78"/>
                    </a:lnTo>
                    <a:lnTo>
                      <a:pt x="1545" y="95"/>
                    </a:lnTo>
                    <a:lnTo>
                      <a:pt x="1533" y="107"/>
                    </a:lnTo>
                    <a:lnTo>
                      <a:pt x="1516" y="116"/>
                    </a:lnTo>
                    <a:lnTo>
                      <a:pt x="1497" y="119"/>
                    </a:lnTo>
                    <a:lnTo>
                      <a:pt x="59" y="119"/>
                    </a:lnTo>
                    <a:lnTo>
                      <a:pt x="40" y="116"/>
                    </a:lnTo>
                    <a:lnTo>
                      <a:pt x="24" y="107"/>
                    </a:lnTo>
                    <a:lnTo>
                      <a:pt x="11" y="95"/>
                    </a:lnTo>
                    <a:lnTo>
                      <a:pt x="3" y="78"/>
                    </a:lnTo>
                    <a:lnTo>
                      <a:pt x="0" y="59"/>
                    </a:lnTo>
                    <a:lnTo>
                      <a:pt x="3" y="40"/>
                    </a:lnTo>
                    <a:lnTo>
                      <a:pt x="11" y="24"/>
                    </a:lnTo>
                    <a:lnTo>
                      <a:pt x="24" y="11"/>
                    </a:lnTo>
                    <a:lnTo>
                      <a:pt x="40" y="3"/>
                    </a:lnTo>
                    <a:lnTo>
                      <a:pt x="59" y="0"/>
                    </a:lnTo>
                    <a:lnTo>
                      <a:pt x="1497" y="0"/>
                    </a:lnTo>
                    <a:lnTo>
                      <a:pt x="1516" y="3"/>
                    </a:lnTo>
                    <a:lnTo>
                      <a:pt x="1533" y="11"/>
                    </a:lnTo>
                    <a:lnTo>
                      <a:pt x="1545" y="24"/>
                    </a:lnTo>
                    <a:lnTo>
                      <a:pt x="1553" y="40"/>
                    </a:lnTo>
                    <a:lnTo>
                      <a:pt x="1556" y="59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55" name="Freeform 53"/>
              <p:cNvSpPr>
                <a:spLocks/>
              </p:cNvSpPr>
              <p:nvPr/>
            </p:nvSpPr>
            <p:spPr bwMode="auto">
              <a:xfrm>
                <a:off x="4290" y="3054"/>
                <a:ext cx="91" cy="7"/>
              </a:xfrm>
              <a:custGeom>
                <a:avLst/>
                <a:gdLst>
                  <a:gd name="T0" fmla="*/ 1556 w 1556"/>
                  <a:gd name="T1" fmla="*/ 60 h 119"/>
                  <a:gd name="T2" fmla="*/ 1553 w 1556"/>
                  <a:gd name="T3" fmla="*/ 79 h 119"/>
                  <a:gd name="T4" fmla="*/ 1545 w 1556"/>
                  <a:gd name="T5" fmla="*/ 95 h 119"/>
                  <a:gd name="T6" fmla="*/ 1533 w 1556"/>
                  <a:gd name="T7" fmla="*/ 108 h 119"/>
                  <a:gd name="T8" fmla="*/ 1516 w 1556"/>
                  <a:gd name="T9" fmla="*/ 116 h 119"/>
                  <a:gd name="T10" fmla="*/ 1497 w 1556"/>
                  <a:gd name="T11" fmla="*/ 119 h 119"/>
                  <a:gd name="T12" fmla="*/ 59 w 1556"/>
                  <a:gd name="T13" fmla="*/ 119 h 119"/>
                  <a:gd name="T14" fmla="*/ 40 w 1556"/>
                  <a:gd name="T15" fmla="*/ 116 h 119"/>
                  <a:gd name="T16" fmla="*/ 24 w 1556"/>
                  <a:gd name="T17" fmla="*/ 108 h 119"/>
                  <a:gd name="T18" fmla="*/ 11 w 1556"/>
                  <a:gd name="T19" fmla="*/ 95 h 119"/>
                  <a:gd name="T20" fmla="*/ 3 w 1556"/>
                  <a:gd name="T21" fmla="*/ 79 h 119"/>
                  <a:gd name="T22" fmla="*/ 0 w 1556"/>
                  <a:gd name="T23" fmla="*/ 60 h 119"/>
                  <a:gd name="T24" fmla="*/ 3 w 1556"/>
                  <a:gd name="T25" fmla="*/ 41 h 119"/>
                  <a:gd name="T26" fmla="*/ 11 w 1556"/>
                  <a:gd name="T27" fmla="*/ 25 h 119"/>
                  <a:gd name="T28" fmla="*/ 24 w 1556"/>
                  <a:gd name="T29" fmla="*/ 12 h 119"/>
                  <a:gd name="T30" fmla="*/ 40 w 1556"/>
                  <a:gd name="T31" fmla="*/ 3 h 119"/>
                  <a:gd name="T32" fmla="*/ 59 w 1556"/>
                  <a:gd name="T33" fmla="*/ 0 h 119"/>
                  <a:gd name="T34" fmla="*/ 1497 w 1556"/>
                  <a:gd name="T35" fmla="*/ 0 h 119"/>
                  <a:gd name="T36" fmla="*/ 1516 w 1556"/>
                  <a:gd name="T37" fmla="*/ 3 h 119"/>
                  <a:gd name="T38" fmla="*/ 1533 w 1556"/>
                  <a:gd name="T39" fmla="*/ 12 h 119"/>
                  <a:gd name="T40" fmla="*/ 1545 w 1556"/>
                  <a:gd name="T41" fmla="*/ 25 h 119"/>
                  <a:gd name="T42" fmla="*/ 1553 w 1556"/>
                  <a:gd name="T43" fmla="*/ 41 h 119"/>
                  <a:gd name="T44" fmla="*/ 1556 w 1556"/>
                  <a:gd name="T45" fmla="*/ 60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56" h="119">
                    <a:moveTo>
                      <a:pt x="1556" y="60"/>
                    </a:moveTo>
                    <a:lnTo>
                      <a:pt x="1553" y="79"/>
                    </a:lnTo>
                    <a:lnTo>
                      <a:pt x="1545" y="95"/>
                    </a:lnTo>
                    <a:lnTo>
                      <a:pt x="1533" y="108"/>
                    </a:lnTo>
                    <a:lnTo>
                      <a:pt x="1516" y="116"/>
                    </a:lnTo>
                    <a:lnTo>
                      <a:pt x="1497" y="119"/>
                    </a:lnTo>
                    <a:lnTo>
                      <a:pt x="59" y="119"/>
                    </a:lnTo>
                    <a:lnTo>
                      <a:pt x="40" y="116"/>
                    </a:lnTo>
                    <a:lnTo>
                      <a:pt x="24" y="108"/>
                    </a:lnTo>
                    <a:lnTo>
                      <a:pt x="11" y="95"/>
                    </a:lnTo>
                    <a:lnTo>
                      <a:pt x="3" y="79"/>
                    </a:lnTo>
                    <a:lnTo>
                      <a:pt x="0" y="60"/>
                    </a:lnTo>
                    <a:lnTo>
                      <a:pt x="3" y="41"/>
                    </a:lnTo>
                    <a:lnTo>
                      <a:pt x="11" y="25"/>
                    </a:lnTo>
                    <a:lnTo>
                      <a:pt x="24" y="12"/>
                    </a:lnTo>
                    <a:lnTo>
                      <a:pt x="40" y="3"/>
                    </a:lnTo>
                    <a:lnTo>
                      <a:pt x="59" y="0"/>
                    </a:lnTo>
                    <a:lnTo>
                      <a:pt x="1497" y="0"/>
                    </a:lnTo>
                    <a:lnTo>
                      <a:pt x="1516" y="3"/>
                    </a:lnTo>
                    <a:lnTo>
                      <a:pt x="1533" y="12"/>
                    </a:lnTo>
                    <a:lnTo>
                      <a:pt x="1545" y="25"/>
                    </a:lnTo>
                    <a:lnTo>
                      <a:pt x="1553" y="41"/>
                    </a:lnTo>
                    <a:lnTo>
                      <a:pt x="1556" y="6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56" name="Freeform 54"/>
              <p:cNvSpPr>
                <a:spLocks/>
              </p:cNvSpPr>
              <p:nvPr/>
            </p:nvSpPr>
            <p:spPr bwMode="auto">
              <a:xfrm>
                <a:off x="4290" y="3085"/>
                <a:ext cx="91" cy="7"/>
              </a:xfrm>
              <a:custGeom>
                <a:avLst/>
                <a:gdLst>
                  <a:gd name="T0" fmla="*/ 1555 w 1555"/>
                  <a:gd name="T1" fmla="*/ 47 h 119"/>
                  <a:gd name="T2" fmla="*/ 1484 w 1555"/>
                  <a:gd name="T3" fmla="*/ 119 h 119"/>
                  <a:gd name="T4" fmla="*/ 59 w 1555"/>
                  <a:gd name="T5" fmla="*/ 119 h 119"/>
                  <a:gd name="T6" fmla="*/ 40 w 1555"/>
                  <a:gd name="T7" fmla="*/ 116 h 119"/>
                  <a:gd name="T8" fmla="*/ 24 w 1555"/>
                  <a:gd name="T9" fmla="*/ 108 h 119"/>
                  <a:gd name="T10" fmla="*/ 11 w 1555"/>
                  <a:gd name="T11" fmla="*/ 95 h 119"/>
                  <a:gd name="T12" fmla="*/ 2 w 1555"/>
                  <a:gd name="T13" fmla="*/ 78 h 119"/>
                  <a:gd name="T14" fmla="*/ 0 w 1555"/>
                  <a:gd name="T15" fmla="*/ 60 h 119"/>
                  <a:gd name="T16" fmla="*/ 2 w 1555"/>
                  <a:gd name="T17" fmla="*/ 41 h 119"/>
                  <a:gd name="T18" fmla="*/ 11 w 1555"/>
                  <a:gd name="T19" fmla="*/ 24 h 119"/>
                  <a:gd name="T20" fmla="*/ 24 w 1555"/>
                  <a:gd name="T21" fmla="*/ 11 h 119"/>
                  <a:gd name="T22" fmla="*/ 40 w 1555"/>
                  <a:gd name="T23" fmla="*/ 3 h 119"/>
                  <a:gd name="T24" fmla="*/ 59 w 1555"/>
                  <a:gd name="T25" fmla="*/ 0 h 119"/>
                  <a:gd name="T26" fmla="*/ 1497 w 1555"/>
                  <a:gd name="T27" fmla="*/ 0 h 119"/>
                  <a:gd name="T28" fmla="*/ 1514 w 1555"/>
                  <a:gd name="T29" fmla="*/ 3 h 119"/>
                  <a:gd name="T30" fmla="*/ 1528 w 1555"/>
                  <a:gd name="T31" fmla="*/ 9 h 119"/>
                  <a:gd name="T32" fmla="*/ 1541 w 1555"/>
                  <a:gd name="T33" fmla="*/ 19 h 119"/>
                  <a:gd name="T34" fmla="*/ 1550 w 1555"/>
                  <a:gd name="T35" fmla="*/ 32 h 119"/>
                  <a:gd name="T36" fmla="*/ 1555 w 1555"/>
                  <a:gd name="T37" fmla="*/ 4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55" h="119">
                    <a:moveTo>
                      <a:pt x="1555" y="47"/>
                    </a:moveTo>
                    <a:lnTo>
                      <a:pt x="1484" y="119"/>
                    </a:lnTo>
                    <a:lnTo>
                      <a:pt x="59" y="119"/>
                    </a:lnTo>
                    <a:lnTo>
                      <a:pt x="40" y="116"/>
                    </a:lnTo>
                    <a:lnTo>
                      <a:pt x="24" y="108"/>
                    </a:lnTo>
                    <a:lnTo>
                      <a:pt x="11" y="95"/>
                    </a:lnTo>
                    <a:lnTo>
                      <a:pt x="2" y="78"/>
                    </a:lnTo>
                    <a:lnTo>
                      <a:pt x="0" y="60"/>
                    </a:lnTo>
                    <a:lnTo>
                      <a:pt x="2" y="41"/>
                    </a:lnTo>
                    <a:lnTo>
                      <a:pt x="11" y="24"/>
                    </a:lnTo>
                    <a:lnTo>
                      <a:pt x="24" y="11"/>
                    </a:lnTo>
                    <a:lnTo>
                      <a:pt x="40" y="3"/>
                    </a:lnTo>
                    <a:lnTo>
                      <a:pt x="59" y="0"/>
                    </a:lnTo>
                    <a:lnTo>
                      <a:pt x="1497" y="0"/>
                    </a:lnTo>
                    <a:lnTo>
                      <a:pt x="1514" y="3"/>
                    </a:lnTo>
                    <a:lnTo>
                      <a:pt x="1528" y="9"/>
                    </a:lnTo>
                    <a:lnTo>
                      <a:pt x="1541" y="19"/>
                    </a:lnTo>
                    <a:lnTo>
                      <a:pt x="1550" y="32"/>
                    </a:lnTo>
                    <a:lnTo>
                      <a:pt x="1555" y="47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57" name="Freeform 55"/>
              <p:cNvSpPr>
                <a:spLocks/>
              </p:cNvSpPr>
              <p:nvPr/>
            </p:nvSpPr>
            <p:spPr bwMode="auto">
              <a:xfrm>
                <a:off x="4334" y="3097"/>
                <a:ext cx="66" cy="67"/>
              </a:xfrm>
              <a:custGeom>
                <a:avLst/>
                <a:gdLst>
                  <a:gd name="T0" fmla="*/ 1113 w 1115"/>
                  <a:gd name="T1" fmla="*/ 270 h 1142"/>
                  <a:gd name="T2" fmla="*/ 1099 w 1115"/>
                  <a:gd name="T3" fmla="*/ 286 h 1142"/>
                  <a:gd name="T4" fmla="*/ 1071 w 1115"/>
                  <a:gd name="T5" fmla="*/ 314 h 1142"/>
                  <a:gd name="T6" fmla="*/ 1031 w 1115"/>
                  <a:gd name="T7" fmla="*/ 354 h 1142"/>
                  <a:gd name="T8" fmla="*/ 983 w 1115"/>
                  <a:gd name="T9" fmla="*/ 403 h 1142"/>
                  <a:gd name="T10" fmla="*/ 928 w 1115"/>
                  <a:gd name="T11" fmla="*/ 458 h 1142"/>
                  <a:gd name="T12" fmla="*/ 867 w 1115"/>
                  <a:gd name="T13" fmla="*/ 518 h 1142"/>
                  <a:gd name="T14" fmla="*/ 803 w 1115"/>
                  <a:gd name="T15" fmla="*/ 582 h 1142"/>
                  <a:gd name="T16" fmla="*/ 737 w 1115"/>
                  <a:gd name="T17" fmla="*/ 647 h 1142"/>
                  <a:gd name="T18" fmla="*/ 672 w 1115"/>
                  <a:gd name="T19" fmla="*/ 711 h 1142"/>
                  <a:gd name="T20" fmla="*/ 610 w 1115"/>
                  <a:gd name="T21" fmla="*/ 771 h 1142"/>
                  <a:gd name="T22" fmla="*/ 552 w 1115"/>
                  <a:gd name="T23" fmla="*/ 825 h 1142"/>
                  <a:gd name="T24" fmla="*/ 501 w 1115"/>
                  <a:gd name="T25" fmla="*/ 873 h 1142"/>
                  <a:gd name="T26" fmla="*/ 458 w 1115"/>
                  <a:gd name="T27" fmla="*/ 912 h 1142"/>
                  <a:gd name="T28" fmla="*/ 426 w 1115"/>
                  <a:gd name="T29" fmla="*/ 939 h 1142"/>
                  <a:gd name="T30" fmla="*/ 411 w 1115"/>
                  <a:gd name="T31" fmla="*/ 949 h 1142"/>
                  <a:gd name="T32" fmla="*/ 395 w 1115"/>
                  <a:gd name="T33" fmla="*/ 961 h 1142"/>
                  <a:gd name="T34" fmla="*/ 365 w 1115"/>
                  <a:gd name="T35" fmla="*/ 982 h 1142"/>
                  <a:gd name="T36" fmla="*/ 324 w 1115"/>
                  <a:gd name="T37" fmla="*/ 1006 h 1142"/>
                  <a:gd name="T38" fmla="*/ 277 w 1115"/>
                  <a:gd name="T39" fmla="*/ 1034 h 1142"/>
                  <a:gd name="T40" fmla="*/ 226 w 1115"/>
                  <a:gd name="T41" fmla="*/ 1061 h 1142"/>
                  <a:gd name="T42" fmla="*/ 174 w 1115"/>
                  <a:gd name="T43" fmla="*/ 1084 h 1142"/>
                  <a:gd name="T44" fmla="*/ 124 w 1115"/>
                  <a:gd name="T45" fmla="*/ 1099 h 1142"/>
                  <a:gd name="T46" fmla="*/ 81 w 1115"/>
                  <a:gd name="T47" fmla="*/ 1104 h 1142"/>
                  <a:gd name="T48" fmla="*/ 76 w 1115"/>
                  <a:gd name="T49" fmla="*/ 1105 h 1142"/>
                  <a:gd name="T50" fmla="*/ 46 w 1115"/>
                  <a:gd name="T51" fmla="*/ 1133 h 1142"/>
                  <a:gd name="T52" fmla="*/ 26 w 1115"/>
                  <a:gd name="T53" fmla="*/ 1142 h 1142"/>
                  <a:gd name="T54" fmla="*/ 8 w 1115"/>
                  <a:gd name="T55" fmla="*/ 1136 h 1142"/>
                  <a:gd name="T56" fmla="*/ 0 w 1115"/>
                  <a:gd name="T57" fmla="*/ 1117 h 1142"/>
                  <a:gd name="T58" fmla="*/ 6 w 1115"/>
                  <a:gd name="T59" fmla="*/ 1097 h 1142"/>
                  <a:gd name="T60" fmla="*/ 28 w 1115"/>
                  <a:gd name="T61" fmla="*/ 1053 h 1142"/>
                  <a:gd name="T62" fmla="*/ 31 w 1115"/>
                  <a:gd name="T63" fmla="*/ 1009 h 1142"/>
                  <a:gd name="T64" fmla="*/ 45 w 1115"/>
                  <a:gd name="T65" fmla="*/ 960 h 1142"/>
                  <a:gd name="T66" fmla="*/ 65 w 1115"/>
                  <a:gd name="T67" fmla="*/ 908 h 1142"/>
                  <a:gd name="T68" fmla="*/ 90 w 1115"/>
                  <a:gd name="T69" fmla="*/ 855 h 1142"/>
                  <a:gd name="T70" fmla="*/ 116 w 1115"/>
                  <a:gd name="T71" fmla="*/ 808 h 1142"/>
                  <a:gd name="T72" fmla="*/ 141 w 1115"/>
                  <a:gd name="T73" fmla="*/ 766 h 1142"/>
                  <a:gd name="T74" fmla="*/ 161 w 1115"/>
                  <a:gd name="T75" fmla="*/ 735 h 1142"/>
                  <a:gd name="T76" fmla="*/ 171 w 1115"/>
                  <a:gd name="T77" fmla="*/ 719 h 1142"/>
                  <a:gd name="T78" fmla="*/ 181 w 1115"/>
                  <a:gd name="T79" fmla="*/ 704 h 1142"/>
                  <a:gd name="T80" fmla="*/ 207 w 1115"/>
                  <a:gd name="T81" fmla="*/ 671 h 1142"/>
                  <a:gd name="T82" fmla="*/ 244 w 1115"/>
                  <a:gd name="T83" fmla="*/ 628 h 1142"/>
                  <a:gd name="T84" fmla="*/ 291 w 1115"/>
                  <a:gd name="T85" fmla="*/ 575 h 1142"/>
                  <a:gd name="T86" fmla="*/ 345 w 1115"/>
                  <a:gd name="T87" fmla="*/ 516 h 1142"/>
                  <a:gd name="T88" fmla="*/ 404 w 1115"/>
                  <a:gd name="T89" fmla="*/ 453 h 1142"/>
                  <a:gd name="T90" fmla="*/ 466 w 1115"/>
                  <a:gd name="T91" fmla="*/ 386 h 1142"/>
                  <a:gd name="T92" fmla="*/ 529 w 1115"/>
                  <a:gd name="T93" fmla="*/ 320 h 1142"/>
                  <a:gd name="T94" fmla="*/ 591 w 1115"/>
                  <a:gd name="T95" fmla="*/ 255 h 1142"/>
                  <a:gd name="T96" fmla="*/ 650 w 1115"/>
                  <a:gd name="T97" fmla="*/ 193 h 1142"/>
                  <a:gd name="T98" fmla="*/ 705 w 1115"/>
                  <a:gd name="T99" fmla="*/ 136 h 1142"/>
                  <a:gd name="T100" fmla="*/ 753 w 1115"/>
                  <a:gd name="T101" fmla="*/ 86 h 1142"/>
                  <a:gd name="T102" fmla="*/ 791 w 1115"/>
                  <a:gd name="T103" fmla="*/ 46 h 1142"/>
                  <a:gd name="T104" fmla="*/ 819 w 1115"/>
                  <a:gd name="T105" fmla="*/ 18 h 1142"/>
                  <a:gd name="T106" fmla="*/ 834 w 1115"/>
                  <a:gd name="T107" fmla="*/ 2 h 1142"/>
                  <a:gd name="T108" fmla="*/ 976 w 1115"/>
                  <a:gd name="T109" fmla="*/ 133 h 1142"/>
                  <a:gd name="T110" fmla="*/ 983 w 1115"/>
                  <a:gd name="T111" fmla="*/ 140 h 1142"/>
                  <a:gd name="T112" fmla="*/ 1001 w 1115"/>
                  <a:gd name="T113" fmla="*/ 156 h 1142"/>
                  <a:gd name="T114" fmla="*/ 1025 w 1115"/>
                  <a:gd name="T115" fmla="*/ 180 h 1142"/>
                  <a:gd name="T116" fmla="*/ 1053 w 1115"/>
                  <a:gd name="T117" fmla="*/ 207 h 1142"/>
                  <a:gd name="T118" fmla="*/ 1080 w 1115"/>
                  <a:gd name="T119" fmla="*/ 233 h 1142"/>
                  <a:gd name="T120" fmla="*/ 1101 w 1115"/>
                  <a:gd name="T121" fmla="*/ 255 h 1142"/>
                  <a:gd name="T122" fmla="*/ 1113 w 1115"/>
                  <a:gd name="T123" fmla="*/ 267 h 1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15" h="1142">
                    <a:moveTo>
                      <a:pt x="1115" y="268"/>
                    </a:moveTo>
                    <a:lnTo>
                      <a:pt x="1113" y="270"/>
                    </a:lnTo>
                    <a:lnTo>
                      <a:pt x="1108" y="276"/>
                    </a:lnTo>
                    <a:lnTo>
                      <a:pt x="1099" y="286"/>
                    </a:lnTo>
                    <a:lnTo>
                      <a:pt x="1086" y="298"/>
                    </a:lnTo>
                    <a:lnTo>
                      <a:pt x="1071" y="314"/>
                    </a:lnTo>
                    <a:lnTo>
                      <a:pt x="1052" y="332"/>
                    </a:lnTo>
                    <a:lnTo>
                      <a:pt x="1031" y="354"/>
                    </a:lnTo>
                    <a:lnTo>
                      <a:pt x="1009" y="377"/>
                    </a:lnTo>
                    <a:lnTo>
                      <a:pt x="983" y="403"/>
                    </a:lnTo>
                    <a:lnTo>
                      <a:pt x="956" y="429"/>
                    </a:lnTo>
                    <a:lnTo>
                      <a:pt x="928" y="458"/>
                    </a:lnTo>
                    <a:lnTo>
                      <a:pt x="898" y="487"/>
                    </a:lnTo>
                    <a:lnTo>
                      <a:pt x="867" y="518"/>
                    </a:lnTo>
                    <a:lnTo>
                      <a:pt x="835" y="550"/>
                    </a:lnTo>
                    <a:lnTo>
                      <a:pt x="803" y="582"/>
                    </a:lnTo>
                    <a:lnTo>
                      <a:pt x="771" y="614"/>
                    </a:lnTo>
                    <a:lnTo>
                      <a:pt x="737" y="647"/>
                    </a:lnTo>
                    <a:lnTo>
                      <a:pt x="704" y="679"/>
                    </a:lnTo>
                    <a:lnTo>
                      <a:pt x="672" y="711"/>
                    </a:lnTo>
                    <a:lnTo>
                      <a:pt x="641" y="741"/>
                    </a:lnTo>
                    <a:lnTo>
                      <a:pt x="610" y="771"/>
                    </a:lnTo>
                    <a:lnTo>
                      <a:pt x="581" y="799"/>
                    </a:lnTo>
                    <a:lnTo>
                      <a:pt x="552" y="825"/>
                    </a:lnTo>
                    <a:lnTo>
                      <a:pt x="526" y="850"/>
                    </a:lnTo>
                    <a:lnTo>
                      <a:pt x="501" y="873"/>
                    </a:lnTo>
                    <a:lnTo>
                      <a:pt x="479" y="894"/>
                    </a:lnTo>
                    <a:lnTo>
                      <a:pt x="458" y="912"/>
                    </a:lnTo>
                    <a:lnTo>
                      <a:pt x="440" y="927"/>
                    </a:lnTo>
                    <a:lnTo>
                      <a:pt x="426" y="939"/>
                    </a:lnTo>
                    <a:lnTo>
                      <a:pt x="413" y="947"/>
                    </a:lnTo>
                    <a:lnTo>
                      <a:pt x="411" y="949"/>
                    </a:lnTo>
                    <a:lnTo>
                      <a:pt x="405" y="954"/>
                    </a:lnTo>
                    <a:lnTo>
                      <a:pt x="395" y="961"/>
                    </a:lnTo>
                    <a:lnTo>
                      <a:pt x="381" y="970"/>
                    </a:lnTo>
                    <a:lnTo>
                      <a:pt x="365" y="982"/>
                    </a:lnTo>
                    <a:lnTo>
                      <a:pt x="346" y="994"/>
                    </a:lnTo>
                    <a:lnTo>
                      <a:pt x="324" y="1006"/>
                    </a:lnTo>
                    <a:lnTo>
                      <a:pt x="301" y="1021"/>
                    </a:lnTo>
                    <a:lnTo>
                      <a:pt x="277" y="1034"/>
                    </a:lnTo>
                    <a:lnTo>
                      <a:pt x="252" y="1049"/>
                    </a:lnTo>
                    <a:lnTo>
                      <a:pt x="226" y="1061"/>
                    </a:lnTo>
                    <a:lnTo>
                      <a:pt x="200" y="1074"/>
                    </a:lnTo>
                    <a:lnTo>
                      <a:pt x="174" y="1084"/>
                    </a:lnTo>
                    <a:lnTo>
                      <a:pt x="149" y="1092"/>
                    </a:lnTo>
                    <a:lnTo>
                      <a:pt x="124" y="1099"/>
                    </a:lnTo>
                    <a:lnTo>
                      <a:pt x="102" y="1102"/>
                    </a:lnTo>
                    <a:lnTo>
                      <a:pt x="81" y="1104"/>
                    </a:lnTo>
                    <a:lnTo>
                      <a:pt x="79" y="1105"/>
                    </a:lnTo>
                    <a:lnTo>
                      <a:pt x="76" y="1105"/>
                    </a:lnTo>
                    <a:lnTo>
                      <a:pt x="74" y="1105"/>
                    </a:lnTo>
                    <a:lnTo>
                      <a:pt x="46" y="1133"/>
                    </a:lnTo>
                    <a:lnTo>
                      <a:pt x="36" y="1140"/>
                    </a:lnTo>
                    <a:lnTo>
                      <a:pt x="26" y="1142"/>
                    </a:lnTo>
                    <a:lnTo>
                      <a:pt x="17" y="1141"/>
                    </a:lnTo>
                    <a:lnTo>
                      <a:pt x="8" y="1136"/>
                    </a:lnTo>
                    <a:lnTo>
                      <a:pt x="2" y="1126"/>
                    </a:lnTo>
                    <a:lnTo>
                      <a:pt x="0" y="1117"/>
                    </a:lnTo>
                    <a:lnTo>
                      <a:pt x="1" y="1107"/>
                    </a:lnTo>
                    <a:lnTo>
                      <a:pt x="6" y="1097"/>
                    </a:lnTo>
                    <a:lnTo>
                      <a:pt x="32" y="1070"/>
                    </a:lnTo>
                    <a:lnTo>
                      <a:pt x="28" y="1053"/>
                    </a:lnTo>
                    <a:lnTo>
                      <a:pt x="28" y="1032"/>
                    </a:lnTo>
                    <a:lnTo>
                      <a:pt x="31" y="1009"/>
                    </a:lnTo>
                    <a:lnTo>
                      <a:pt x="36" y="986"/>
                    </a:lnTo>
                    <a:lnTo>
                      <a:pt x="45" y="960"/>
                    </a:lnTo>
                    <a:lnTo>
                      <a:pt x="54" y="934"/>
                    </a:lnTo>
                    <a:lnTo>
                      <a:pt x="65" y="908"/>
                    </a:lnTo>
                    <a:lnTo>
                      <a:pt x="78" y="881"/>
                    </a:lnTo>
                    <a:lnTo>
                      <a:pt x="90" y="855"/>
                    </a:lnTo>
                    <a:lnTo>
                      <a:pt x="104" y="831"/>
                    </a:lnTo>
                    <a:lnTo>
                      <a:pt x="116" y="808"/>
                    </a:lnTo>
                    <a:lnTo>
                      <a:pt x="130" y="786"/>
                    </a:lnTo>
                    <a:lnTo>
                      <a:pt x="141" y="766"/>
                    </a:lnTo>
                    <a:lnTo>
                      <a:pt x="151" y="750"/>
                    </a:lnTo>
                    <a:lnTo>
                      <a:pt x="161" y="735"/>
                    </a:lnTo>
                    <a:lnTo>
                      <a:pt x="167" y="725"/>
                    </a:lnTo>
                    <a:lnTo>
                      <a:pt x="171" y="719"/>
                    </a:lnTo>
                    <a:lnTo>
                      <a:pt x="173" y="717"/>
                    </a:lnTo>
                    <a:lnTo>
                      <a:pt x="181" y="704"/>
                    </a:lnTo>
                    <a:lnTo>
                      <a:pt x="193" y="690"/>
                    </a:lnTo>
                    <a:lnTo>
                      <a:pt x="207" y="671"/>
                    </a:lnTo>
                    <a:lnTo>
                      <a:pt x="225" y="651"/>
                    </a:lnTo>
                    <a:lnTo>
                      <a:pt x="244" y="628"/>
                    </a:lnTo>
                    <a:lnTo>
                      <a:pt x="267" y="602"/>
                    </a:lnTo>
                    <a:lnTo>
                      <a:pt x="291" y="575"/>
                    </a:lnTo>
                    <a:lnTo>
                      <a:pt x="317" y="546"/>
                    </a:lnTo>
                    <a:lnTo>
                      <a:pt x="345" y="516"/>
                    </a:lnTo>
                    <a:lnTo>
                      <a:pt x="374" y="485"/>
                    </a:lnTo>
                    <a:lnTo>
                      <a:pt x="404" y="453"/>
                    </a:lnTo>
                    <a:lnTo>
                      <a:pt x="435" y="420"/>
                    </a:lnTo>
                    <a:lnTo>
                      <a:pt x="466" y="386"/>
                    </a:lnTo>
                    <a:lnTo>
                      <a:pt x="497" y="353"/>
                    </a:lnTo>
                    <a:lnTo>
                      <a:pt x="529" y="320"/>
                    </a:lnTo>
                    <a:lnTo>
                      <a:pt x="560" y="287"/>
                    </a:lnTo>
                    <a:lnTo>
                      <a:pt x="591" y="255"/>
                    </a:lnTo>
                    <a:lnTo>
                      <a:pt x="621" y="223"/>
                    </a:lnTo>
                    <a:lnTo>
                      <a:pt x="650" y="193"/>
                    </a:lnTo>
                    <a:lnTo>
                      <a:pt x="678" y="163"/>
                    </a:lnTo>
                    <a:lnTo>
                      <a:pt x="705" y="136"/>
                    </a:lnTo>
                    <a:lnTo>
                      <a:pt x="730" y="110"/>
                    </a:lnTo>
                    <a:lnTo>
                      <a:pt x="753" y="86"/>
                    </a:lnTo>
                    <a:lnTo>
                      <a:pt x="774" y="66"/>
                    </a:lnTo>
                    <a:lnTo>
                      <a:pt x="791" y="46"/>
                    </a:lnTo>
                    <a:lnTo>
                      <a:pt x="807" y="30"/>
                    </a:lnTo>
                    <a:lnTo>
                      <a:pt x="819" y="18"/>
                    </a:lnTo>
                    <a:lnTo>
                      <a:pt x="828" y="9"/>
                    </a:lnTo>
                    <a:lnTo>
                      <a:pt x="834" y="2"/>
                    </a:lnTo>
                    <a:lnTo>
                      <a:pt x="836" y="0"/>
                    </a:lnTo>
                    <a:lnTo>
                      <a:pt x="976" y="133"/>
                    </a:lnTo>
                    <a:lnTo>
                      <a:pt x="978" y="135"/>
                    </a:lnTo>
                    <a:lnTo>
                      <a:pt x="983" y="140"/>
                    </a:lnTo>
                    <a:lnTo>
                      <a:pt x="991" y="147"/>
                    </a:lnTo>
                    <a:lnTo>
                      <a:pt x="1001" y="156"/>
                    </a:lnTo>
                    <a:lnTo>
                      <a:pt x="1013" y="168"/>
                    </a:lnTo>
                    <a:lnTo>
                      <a:pt x="1025" y="180"/>
                    </a:lnTo>
                    <a:lnTo>
                      <a:pt x="1040" y="194"/>
                    </a:lnTo>
                    <a:lnTo>
                      <a:pt x="1053" y="207"/>
                    </a:lnTo>
                    <a:lnTo>
                      <a:pt x="1067" y="221"/>
                    </a:lnTo>
                    <a:lnTo>
                      <a:pt x="1080" y="233"/>
                    </a:lnTo>
                    <a:lnTo>
                      <a:pt x="1091" y="244"/>
                    </a:lnTo>
                    <a:lnTo>
                      <a:pt x="1101" y="255"/>
                    </a:lnTo>
                    <a:lnTo>
                      <a:pt x="1109" y="262"/>
                    </a:lnTo>
                    <a:lnTo>
                      <a:pt x="1113" y="267"/>
                    </a:lnTo>
                    <a:lnTo>
                      <a:pt x="1115" y="268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</p:grpSp>
        <p:sp>
          <p:nvSpPr>
            <p:cNvPr id="74" name="Rectangle 73"/>
            <p:cNvSpPr/>
            <p:nvPr/>
          </p:nvSpPr>
          <p:spPr>
            <a:xfrm>
              <a:off x="4816542" y="4976849"/>
              <a:ext cx="1627483" cy="4616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en-US" sz="12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+mj-lt"/>
                  <a:cs typeface="Arial" panose="020B0604020202020204" pitchFamily="34" charset="0"/>
                </a:rPr>
                <a:t>Immigration  Attorney</a:t>
              </a:r>
            </a:p>
          </p:txBody>
        </p:sp>
        <p:grpSp>
          <p:nvGrpSpPr>
            <p:cNvPr id="76" name="Group 79"/>
            <p:cNvGrpSpPr>
              <a:grpSpLocks noChangeAspect="1"/>
            </p:cNvGrpSpPr>
            <p:nvPr/>
          </p:nvGrpSpPr>
          <p:grpSpPr bwMode="auto">
            <a:xfrm>
              <a:off x="5430069" y="4409827"/>
              <a:ext cx="400428" cy="495994"/>
              <a:chOff x="-1272" y="1950"/>
              <a:chExt cx="838" cy="1038"/>
            </a:xfrm>
            <a:solidFill>
              <a:srgbClr val="26867C"/>
            </a:solidFill>
          </p:grpSpPr>
          <p:sp>
            <p:nvSpPr>
              <p:cNvPr id="77" name="Freeform 81"/>
              <p:cNvSpPr>
                <a:spLocks noEditPoints="1"/>
              </p:cNvSpPr>
              <p:nvPr/>
            </p:nvSpPr>
            <p:spPr bwMode="auto">
              <a:xfrm>
                <a:off x="-989" y="1950"/>
                <a:ext cx="330" cy="216"/>
              </a:xfrm>
              <a:custGeom>
                <a:avLst/>
                <a:gdLst>
                  <a:gd name="T0" fmla="*/ 512 w 628"/>
                  <a:gd name="T1" fmla="*/ 269 h 413"/>
                  <a:gd name="T2" fmla="*/ 292 w 628"/>
                  <a:gd name="T3" fmla="*/ 229 h 413"/>
                  <a:gd name="T4" fmla="*/ 300 w 628"/>
                  <a:gd name="T5" fmla="*/ 293 h 413"/>
                  <a:gd name="T6" fmla="*/ 516 w 628"/>
                  <a:gd name="T7" fmla="*/ 293 h 413"/>
                  <a:gd name="T8" fmla="*/ 232 w 628"/>
                  <a:gd name="T9" fmla="*/ 405 h 413"/>
                  <a:gd name="T10" fmla="*/ 16 w 628"/>
                  <a:gd name="T11" fmla="*/ 377 h 413"/>
                  <a:gd name="T12" fmla="*/ 144 w 628"/>
                  <a:gd name="T13" fmla="*/ 293 h 413"/>
                  <a:gd name="T14" fmla="*/ 160 w 628"/>
                  <a:gd name="T15" fmla="*/ 229 h 413"/>
                  <a:gd name="T16" fmla="*/ 128 w 628"/>
                  <a:gd name="T17" fmla="*/ 273 h 413"/>
                  <a:gd name="T18" fmla="*/ 104 w 628"/>
                  <a:gd name="T19" fmla="*/ 85 h 413"/>
                  <a:gd name="T20" fmla="*/ 588 w 628"/>
                  <a:gd name="T21" fmla="*/ 169 h 413"/>
                  <a:gd name="T22" fmla="*/ 512 w 628"/>
                  <a:gd name="T23" fmla="*/ 269 h 413"/>
                  <a:gd name="T24" fmla="*/ 196 w 628"/>
                  <a:gd name="T25" fmla="*/ 217 h 413"/>
                  <a:gd name="T26" fmla="*/ 180 w 628"/>
                  <a:gd name="T27" fmla="*/ 285 h 413"/>
                  <a:gd name="T28" fmla="*/ 272 w 628"/>
                  <a:gd name="T29" fmla="*/ 277 h 413"/>
                  <a:gd name="T30" fmla="*/ 252 w 628"/>
                  <a:gd name="T31" fmla="*/ 217 h 413"/>
                  <a:gd name="T32" fmla="*/ 196 w 628"/>
                  <a:gd name="T33" fmla="*/ 217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28" h="413">
                    <a:moveTo>
                      <a:pt x="512" y="269"/>
                    </a:moveTo>
                    <a:cubicBezTo>
                      <a:pt x="479" y="215"/>
                      <a:pt x="366" y="241"/>
                      <a:pt x="292" y="229"/>
                    </a:cubicBezTo>
                    <a:cubicBezTo>
                      <a:pt x="285" y="244"/>
                      <a:pt x="314" y="270"/>
                      <a:pt x="300" y="293"/>
                    </a:cubicBezTo>
                    <a:cubicBezTo>
                      <a:pt x="372" y="293"/>
                      <a:pt x="444" y="293"/>
                      <a:pt x="516" y="293"/>
                    </a:cubicBezTo>
                    <a:cubicBezTo>
                      <a:pt x="471" y="362"/>
                      <a:pt x="349" y="397"/>
                      <a:pt x="232" y="405"/>
                    </a:cubicBezTo>
                    <a:cubicBezTo>
                      <a:pt x="157" y="410"/>
                      <a:pt x="67" y="413"/>
                      <a:pt x="16" y="377"/>
                    </a:cubicBezTo>
                    <a:cubicBezTo>
                      <a:pt x="36" y="326"/>
                      <a:pt x="83" y="303"/>
                      <a:pt x="144" y="293"/>
                    </a:cubicBezTo>
                    <a:cubicBezTo>
                      <a:pt x="148" y="270"/>
                      <a:pt x="153" y="249"/>
                      <a:pt x="160" y="229"/>
                    </a:cubicBezTo>
                    <a:cubicBezTo>
                      <a:pt x="135" y="229"/>
                      <a:pt x="138" y="258"/>
                      <a:pt x="128" y="273"/>
                    </a:cubicBezTo>
                    <a:cubicBezTo>
                      <a:pt x="0" y="270"/>
                      <a:pt x="34" y="134"/>
                      <a:pt x="104" y="85"/>
                    </a:cubicBezTo>
                    <a:cubicBezTo>
                      <a:pt x="226" y="0"/>
                      <a:pt x="547" y="119"/>
                      <a:pt x="588" y="169"/>
                    </a:cubicBezTo>
                    <a:cubicBezTo>
                      <a:pt x="628" y="217"/>
                      <a:pt x="580" y="270"/>
                      <a:pt x="512" y="269"/>
                    </a:cubicBezTo>
                    <a:close/>
                    <a:moveTo>
                      <a:pt x="196" y="217"/>
                    </a:moveTo>
                    <a:cubicBezTo>
                      <a:pt x="207" y="251"/>
                      <a:pt x="173" y="252"/>
                      <a:pt x="180" y="285"/>
                    </a:cubicBezTo>
                    <a:cubicBezTo>
                      <a:pt x="190" y="327"/>
                      <a:pt x="261" y="325"/>
                      <a:pt x="272" y="277"/>
                    </a:cubicBezTo>
                    <a:cubicBezTo>
                      <a:pt x="266" y="255"/>
                      <a:pt x="247" y="239"/>
                      <a:pt x="252" y="217"/>
                    </a:cubicBezTo>
                    <a:cubicBezTo>
                      <a:pt x="231" y="213"/>
                      <a:pt x="217" y="213"/>
                      <a:pt x="196" y="21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78" name="Freeform 82"/>
              <p:cNvSpPr>
                <a:spLocks/>
              </p:cNvSpPr>
              <p:nvPr/>
            </p:nvSpPr>
            <p:spPr bwMode="auto">
              <a:xfrm>
                <a:off x="-898" y="2061"/>
                <a:ext cx="52" cy="60"/>
              </a:xfrm>
              <a:custGeom>
                <a:avLst/>
                <a:gdLst>
                  <a:gd name="T0" fmla="*/ 79 w 99"/>
                  <a:gd name="T1" fmla="*/ 4 h 114"/>
                  <a:gd name="T2" fmla="*/ 99 w 99"/>
                  <a:gd name="T3" fmla="*/ 64 h 114"/>
                  <a:gd name="T4" fmla="*/ 7 w 99"/>
                  <a:gd name="T5" fmla="*/ 72 h 114"/>
                  <a:gd name="T6" fmla="*/ 23 w 99"/>
                  <a:gd name="T7" fmla="*/ 4 h 114"/>
                  <a:gd name="T8" fmla="*/ 79 w 99"/>
                  <a:gd name="T9" fmla="*/ 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9" h="114">
                    <a:moveTo>
                      <a:pt x="79" y="4"/>
                    </a:moveTo>
                    <a:cubicBezTo>
                      <a:pt x="74" y="26"/>
                      <a:pt x="93" y="42"/>
                      <a:pt x="99" y="64"/>
                    </a:cubicBezTo>
                    <a:cubicBezTo>
                      <a:pt x="88" y="112"/>
                      <a:pt x="17" y="114"/>
                      <a:pt x="7" y="72"/>
                    </a:cubicBezTo>
                    <a:cubicBezTo>
                      <a:pt x="0" y="39"/>
                      <a:pt x="34" y="38"/>
                      <a:pt x="23" y="4"/>
                    </a:cubicBezTo>
                    <a:cubicBezTo>
                      <a:pt x="44" y="0"/>
                      <a:pt x="58" y="0"/>
                      <a:pt x="79" y="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79" name="Freeform 83"/>
              <p:cNvSpPr>
                <a:spLocks/>
              </p:cNvSpPr>
              <p:nvPr/>
            </p:nvSpPr>
            <p:spPr bwMode="auto">
              <a:xfrm>
                <a:off x="-934" y="2137"/>
                <a:ext cx="227" cy="256"/>
              </a:xfrm>
              <a:custGeom>
                <a:avLst/>
                <a:gdLst>
                  <a:gd name="T0" fmla="*/ 7 w 432"/>
                  <a:gd name="T1" fmla="*/ 92 h 489"/>
                  <a:gd name="T2" fmla="*/ 407 w 432"/>
                  <a:gd name="T3" fmla="*/ 0 h 489"/>
                  <a:gd name="T4" fmla="*/ 415 w 432"/>
                  <a:gd name="T5" fmla="*/ 4 h 489"/>
                  <a:gd name="T6" fmla="*/ 311 w 432"/>
                  <a:gd name="T7" fmla="*/ 364 h 489"/>
                  <a:gd name="T8" fmla="*/ 7 w 432"/>
                  <a:gd name="T9" fmla="*/ 92 h 4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2" h="489">
                    <a:moveTo>
                      <a:pt x="7" y="92"/>
                    </a:moveTo>
                    <a:cubicBezTo>
                      <a:pt x="167" y="88"/>
                      <a:pt x="319" y="76"/>
                      <a:pt x="407" y="0"/>
                    </a:cubicBezTo>
                    <a:cubicBezTo>
                      <a:pt x="410" y="1"/>
                      <a:pt x="411" y="4"/>
                      <a:pt x="415" y="4"/>
                    </a:cubicBezTo>
                    <a:cubicBezTo>
                      <a:pt x="432" y="154"/>
                      <a:pt x="391" y="299"/>
                      <a:pt x="311" y="364"/>
                    </a:cubicBezTo>
                    <a:cubicBezTo>
                      <a:pt x="156" y="489"/>
                      <a:pt x="0" y="274"/>
                      <a:pt x="7" y="9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80" name="Freeform 84"/>
              <p:cNvSpPr>
                <a:spLocks noEditPoints="1"/>
              </p:cNvSpPr>
              <p:nvPr/>
            </p:nvSpPr>
            <p:spPr bwMode="auto">
              <a:xfrm>
                <a:off x="-1272" y="2150"/>
                <a:ext cx="548" cy="603"/>
              </a:xfrm>
              <a:custGeom>
                <a:avLst/>
                <a:gdLst>
                  <a:gd name="T0" fmla="*/ 249 w 1045"/>
                  <a:gd name="T1" fmla="*/ 147 h 1151"/>
                  <a:gd name="T2" fmla="*/ 289 w 1045"/>
                  <a:gd name="T3" fmla="*/ 147 h 1151"/>
                  <a:gd name="T4" fmla="*/ 377 w 1045"/>
                  <a:gd name="T5" fmla="*/ 495 h 1151"/>
                  <a:gd name="T6" fmla="*/ 249 w 1045"/>
                  <a:gd name="T7" fmla="*/ 531 h 1151"/>
                  <a:gd name="T8" fmla="*/ 361 w 1045"/>
                  <a:gd name="T9" fmla="*/ 739 h 1151"/>
                  <a:gd name="T10" fmla="*/ 885 w 1045"/>
                  <a:gd name="T11" fmla="*/ 415 h 1151"/>
                  <a:gd name="T12" fmla="*/ 1045 w 1045"/>
                  <a:gd name="T13" fmla="*/ 463 h 1151"/>
                  <a:gd name="T14" fmla="*/ 561 w 1045"/>
                  <a:gd name="T15" fmla="*/ 1151 h 1151"/>
                  <a:gd name="T16" fmla="*/ 557 w 1045"/>
                  <a:gd name="T17" fmla="*/ 927 h 1151"/>
                  <a:gd name="T18" fmla="*/ 449 w 1045"/>
                  <a:gd name="T19" fmla="*/ 1003 h 1151"/>
                  <a:gd name="T20" fmla="*/ 249 w 1045"/>
                  <a:gd name="T21" fmla="*/ 1059 h 1151"/>
                  <a:gd name="T22" fmla="*/ 213 w 1045"/>
                  <a:gd name="T23" fmla="*/ 1011 h 1151"/>
                  <a:gd name="T24" fmla="*/ 109 w 1045"/>
                  <a:gd name="T25" fmla="*/ 771 h 1151"/>
                  <a:gd name="T26" fmla="*/ 57 w 1045"/>
                  <a:gd name="T27" fmla="*/ 651 h 1151"/>
                  <a:gd name="T28" fmla="*/ 9 w 1045"/>
                  <a:gd name="T29" fmla="*/ 531 h 1151"/>
                  <a:gd name="T30" fmla="*/ 89 w 1045"/>
                  <a:gd name="T31" fmla="*/ 407 h 1151"/>
                  <a:gd name="T32" fmla="*/ 41 w 1045"/>
                  <a:gd name="T33" fmla="*/ 215 h 1151"/>
                  <a:gd name="T34" fmla="*/ 109 w 1045"/>
                  <a:gd name="T35" fmla="*/ 115 h 1151"/>
                  <a:gd name="T36" fmla="*/ 201 w 1045"/>
                  <a:gd name="T37" fmla="*/ 7 h 1151"/>
                  <a:gd name="T38" fmla="*/ 249 w 1045"/>
                  <a:gd name="T39" fmla="*/ 147 h 1151"/>
                  <a:gd name="T40" fmla="*/ 113 w 1045"/>
                  <a:gd name="T41" fmla="*/ 183 h 1151"/>
                  <a:gd name="T42" fmla="*/ 205 w 1045"/>
                  <a:gd name="T43" fmla="*/ 163 h 1151"/>
                  <a:gd name="T44" fmla="*/ 181 w 1045"/>
                  <a:gd name="T45" fmla="*/ 79 h 1151"/>
                  <a:gd name="T46" fmla="*/ 113 w 1045"/>
                  <a:gd name="T47" fmla="*/ 183 h 1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45" h="1151">
                    <a:moveTo>
                      <a:pt x="249" y="147"/>
                    </a:moveTo>
                    <a:cubicBezTo>
                      <a:pt x="254" y="155"/>
                      <a:pt x="279" y="134"/>
                      <a:pt x="289" y="147"/>
                    </a:cubicBezTo>
                    <a:cubicBezTo>
                      <a:pt x="320" y="261"/>
                      <a:pt x="353" y="374"/>
                      <a:pt x="377" y="495"/>
                    </a:cubicBezTo>
                    <a:cubicBezTo>
                      <a:pt x="340" y="512"/>
                      <a:pt x="292" y="519"/>
                      <a:pt x="249" y="531"/>
                    </a:cubicBezTo>
                    <a:cubicBezTo>
                      <a:pt x="286" y="601"/>
                      <a:pt x="327" y="666"/>
                      <a:pt x="361" y="739"/>
                    </a:cubicBezTo>
                    <a:cubicBezTo>
                      <a:pt x="525" y="640"/>
                      <a:pt x="621" y="404"/>
                      <a:pt x="885" y="415"/>
                    </a:cubicBezTo>
                    <a:cubicBezTo>
                      <a:pt x="952" y="418"/>
                      <a:pt x="992" y="439"/>
                      <a:pt x="1045" y="463"/>
                    </a:cubicBezTo>
                    <a:cubicBezTo>
                      <a:pt x="889" y="697"/>
                      <a:pt x="720" y="920"/>
                      <a:pt x="561" y="1151"/>
                    </a:cubicBezTo>
                    <a:cubicBezTo>
                      <a:pt x="552" y="1084"/>
                      <a:pt x="560" y="1000"/>
                      <a:pt x="557" y="927"/>
                    </a:cubicBezTo>
                    <a:cubicBezTo>
                      <a:pt x="517" y="938"/>
                      <a:pt x="487" y="975"/>
                      <a:pt x="449" y="1003"/>
                    </a:cubicBezTo>
                    <a:cubicBezTo>
                      <a:pt x="403" y="1037"/>
                      <a:pt x="316" y="1120"/>
                      <a:pt x="249" y="1059"/>
                    </a:cubicBezTo>
                    <a:cubicBezTo>
                      <a:pt x="241" y="1052"/>
                      <a:pt x="219" y="1022"/>
                      <a:pt x="213" y="1011"/>
                    </a:cubicBezTo>
                    <a:cubicBezTo>
                      <a:pt x="176" y="943"/>
                      <a:pt x="150" y="867"/>
                      <a:pt x="109" y="771"/>
                    </a:cubicBezTo>
                    <a:cubicBezTo>
                      <a:pt x="92" y="731"/>
                      <a:pt x="74" y="689"/>
                      <a:pt x="57" y="651"/>
                    </a:cubicBezTo>
                    <a:cubicBezTo>
                      <a:pt x="38" y="608"/>
                      <a:pt x="12" y="558"/>
                      <a:pt x="9" y="531"/>
                    </a:cubicBezTo>
                    <a:cubicBezTo>
                      <a:pt x="0" y="463"/>
                      <a:pt x="46" y="420"/>
                      <a:pt x="89" y="407"/>
                    </a:cubicBezTo>
                    <a:cubicBezTo>
                      <a:pt x="92" y="357"/>
                      <a:pt x="34" y="271"/>
                      <a:pt x="41" y="215"/>
                    </a:cubicBezTo>
                    <a:cubicBezTo>
                      <a:pt x="45" y="183"/>
                      <a:pt x="88" y="145"/>
                      <a:pt x="109" y="115"/>
                    </a:cubicBezTo>
                    <a:cubicBezTo>
                      <a:pt x="135" y="78"/>
                      <a:pt x="168" y="0"/>
                      <a:pt x="201" y="7"/>
                    </a:cubicBezTo>
                    <a:cubicBezTo>
                      <a:pt x="237" y="15"/>
                      <a:pt x="228" y="121"/>
                      <a:pt x="249" y="147"/>
                    </a:cubicBezTo>
                    <a:close/>
                    <a:moveTo>
                      <a:pt x="113" y="183"/>
                    </a:moveTo>
                    <a:cubicBezTo>
                      <a:pt x="147" y="180"/>
                      <a:pt x="172" y="167"/>
                      <a:pt x="205" y="163"/>
                    </a:cubicBezTo>
                    <a:cubicBezTo>
                      <a:pt x="200" y="132"/>
                      <a:pt x="198" y="98"/>
                      <a:pt x="181" y="79"/>
                    </a:cubicBezTo>
                    <a:cubicBezTo>
                      <a:pt x="163" y="118"/>
                      <a:pt x="132" y="145"/>
                      <a:pt x="113" y="18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81" name="Freeform 85"/>
              <p:cNvSpPr>
                <a:spLocks/>
              </p:cNvSpPr>
              <p:nvPr/>
            </p:nvSpPr>
            <p:spPr bwMode="auto">
              <a:xfrm>
                <a:off x="-1213" y="2191"/>
                <a:ext cx="48" cy="55"/>
              </a:xfrm>
              <a:custGeom>
                <a:avLst/>
                <a:gdLst>
                  <a:gd name="T0" fmla="*/ 68 w 92"/>
                  <a:gd name="T1" fmla="*/ 0 h 104"/>
                  <a:gd name="T2" fmla="*/ 92 w 92"/>
                  <a:gd name="T3" fmla="*/ 84 h 104"/>
                  <a:gd name="T4" fmla="*/ 0 w 92"/>
                  <a:gd name="T5" fmla="*/ 104 h 104"/>
                  <a:gd name="T6" fmla="*/ 68 w 92"/>
                  <a:gd name="T7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2" h="104">
                    <a:moveTo>
                      <a:pt x="68" y="0"/>
                    </a:moveTo>
                    <a:cubicBezTo>
                      <a:pt x="85" y="19"/>
                      <a:pt x="87" y="53"/>
                      <a:pt x="92" y="84"/>
                    </a:cubicBezTo>
                    <a:cubicBezTo>
                      <a:pt x="59" y="88"/>
                      <a:pt x="34" y="101"/>
                      <a:pt x="0" y="104"/>
                    </a:cubicBezTo>
                    <a:cubicBezTo>
                      <a:pt x="19" y="66"/>
                      <a:pt x="50" y="39"/>
                      <a:pt x="68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82" name="Freeform 86"/>
              <p:cNvSpPr>
                <a:spLocks/>
              </p:cNvSpPr>
              <p:nvPr/>
            </p:nvSpPr>
            <p:spPr bwMode="auto">
              <a:xfrm>
                <a:off x="-930" y="2451"/>
                <a:ext cx="496" cy="401"/>
              </a:xfrm>
              <a:custGeom>
                <a:avLst/>
                <a:gdLst>
                  <a:gd name="T0" fmla="*/ 600 w 946"/>
                  <a:gd name="T1" fmla="*/ 764 h 764"/>
                  <a:gd name="T2" fmla="*/ 600 w 946"/>
                  <a:gd name="T3" fmla="*/ 528 h 764"/>
                  <a:gd name="T4" fmla="*/ 636 w 946"/>
                  <a:gd name="T5" fmla="*/ 476 h 764"/>
                  <a:gd name="T6" fmla="*/ 680 w 946"/>
                  <a:gd name="T7" fmla="*/ 432 h 764"/>
                  <a:gd name="T8" fmla="*/ 612 w 946"/>
                  <a:gd name="T9" fmla="*/ 372 h 764"/>
                  <a:gd name="T10" fmla="*/ 544 w 946"/>
                  <a:gd name="T11" fmla="*/ 316 h 764"/>
                  <a:gd name="T12" fmla="*/ 548 w 946"/>
                  <a:gd name="T13" fmla="*/ 736 h 764"/>
                  <a:gd name="T14" fmla="*/ 0 w 946"/>
                  <a:gd name="T15" fmla="*/ 736 h 764"/>
                  <a:gd name="T16" fmla="*/ 516 w 946"/>
                  <a:gd name="T17" fmla="*/ 0 h 764"/>
                  <a:gd name="T18" fmla="*/ 824 w 946"/>
                  <a:gd name="T19" fmla="*/ 276 h 764"/>
                  <a:gd name="T20" fmla="*/ 916 w 946"/>
                  <a:gd name="T21" fmla="*/ 456 h 764"/>
                  <a:gd name="T22" fmla="*/ 760 w 946"/>
                  <a:gd name="T23" fmla="*/ 616 h 764"/>
                  <a:gd name="T24" fmla="*/ 600 w 946"/>
                  <a:gd name="T25" fmla="*/ 764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46" h="764">
                    <a:moveTo>
                      <a:pt x="600" y="764"/>
                    </a:moveTo>
                    <a:cubicBezTo>
                      <a:pt x="614" y="672"/>
                      <a:pt x="581" y="606"/>
                      <a:pt x="600" y="528"/>
                    </a:cubicBezTo>
                    <a:cubicBezTo>
                      <a:pt x="603" y="516"/>
                      <a:pt x="622" y="492"/>
                      <a:pt x="636" y="476"/>
                    </a:cubicBezTo>
                    <a:cubicBezTo>
                      <a:pt x="645" y="466"/>
                      <a:pt x="680" y="439"/>
                      <a:pt x="680" y="432"/>
                    </a:cubicBezTo>
                    <a:cubicBezTo>
                      <a:pt x="680" y="415"/>
                      <a:pt x="622" y="381"/>
                      <a:pt x="612" y="372"/>
                    </a:cubicBezTo>
                    <a:cubicBezTo>
                      <a:pt x="584" y="348"/>
                      <a:pt x="571" y="330"/>
                      <a:pt x="544" y="316"/>
                    </a:cubicBezTo>
                    <a:cubicBezTo>
                      <a:pt x="546" y="456"/>
                      <a:pt x="550" y="593"/>
                      <a:pt x="548" y="736"/>
                    </a:cubicBezTo>
                    <a:cubicBezTo>
                      <a:pt x="365" y="736"/>
                      <a:pt x="183" y="736"/>
                      <a:pt x="0" y="736"/>
                    </a:cubicBezTo>
                    <a:cubicBezTo>
                      <a:pt x="169" y="487"/>
                      <a:pt x="348" y="249"/>
                      <a:pt x="516" y="0"/>
                    </a:cubicBezTo>
                    <a:cubicBezTo>
                      <a:pt x="606" y="77"/>
                      <a:pt x="720" y="183"/>
                      <a:pt x="824" y="276"/>
                    </a:cubicBezTo>
                    <a:cubicBezTo>
                      <a:pt x="873" y="320"/>
                      <a:pt x="946" y="363"/>
                      <a:pt x="916" y="456"/>
                    </a:cubicBezTo>
                    <a:cubicBezTo>
                      <a:pt x="897" y="515"/>
                      <a:pt x="808" y="568"/>
                      <a:pt x="760" y="616"/>
                    </a:cubicBezTo>
                    <a:cubicBezTo>
                      <a:pt x="700" y="676"/>
                      <a:pt x="650" y="730"/>
                      <a:pt x="600" y="7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83" name="Freeform 87"/>
              <p:cNvSpPr>
                <a:spLocks/>
              </p:cNvSpPr>
              <p:nvPr/>
            </p:nvSpPr>
            <p:spPr bwMode="auto">
              <a:xfrm>
                <a:off x="-983" y="2915"/>
                <a:ext cx="340" cy="73"/>
              </a:xfrm>
              <a:custGeom>
                <a:avLst/>
                <a:gdLst>
                  <a:gd name="T0" fmla="*/ 9 w 649"/>
                  <a:gd name="T1" fmla="*/ 0 h 140"/>
                  <a:gd name="T2" fmla="*/ 649 w 649"/>
                  <a:gd name="T3" fmla="*/ 0 h 140"/>
                  <a:gd name="T4" fmla="*/ 649 w 649"/>
                  <a:gd name="T5" fmla="*/ 140 h 140"/>
                  <a:gd name="T6" fmla="*/ 5 w 649"/>
                  <a:gd name="T7" fmla="*/ 140 h 140"/>
                  <a:gd name="T8" fmla="*/ 9 w 649"/>
                  <a:gd name="T9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9" h="140">
                    <a:moveTo>
                      <a:pt x="9" y="0"/>
                    </a:moveTo>
                    <a:cubicBezTo>
                      <a:pt x="222" y="0"/>
                      <a:pt x="436" y="0"/>
                      <a:pt x="649" y="0"/>
                    </a:cubicBezTo>
                    <a:cubicBezTo>
                      <a:pt x="649" y="47"/>
                      <a:pt x="649" y="93"/>
                      <a:pt x="649" y="140"/>
                    </a:cubicBezTo>
                    <a:cubicBezTo>
                      <a:pt x="434" y="140"/>
                      <a:pt x="220" y="140"/>
                      <a:pt x="5" y="140"/>
                    </a:cubicBezTo>
                    <a:cubicBezTo>
                      <a:pt x="8" y="95"/>
                      <a:pt x="0" y="39"/>
                      <a:pt x="9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</p:grpSp>
        <p:sp>
          <p:nvSpPr>
            <p:cNvPr id="97" name="Rectangle 96"/>
            <p:cNvSpPr/>
            <p:nvPr/>
          </p:nvSpPr>
          <p:spPr>
            <a:xfrm>
              <a:off x="4893691" y="6122207"/>
              <a:ext cx="1473184" cy="4616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en-US" sz="12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+mj-lt"/>
                  <a:cs typeface="Arial" panose="020B0604020202020204" pitchFamily="34" charset="0"/>
                </a:rPr>
                <a:t>Other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en-US" sz="12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+mj-lt"/>
                  <a:cs typeface="Arial" panose="020B0604020202020204" pitchFamily="34" charset="0"/>
                </a:rPr>
                <a:t>Specialists</a:t>
              </a:r>
            </a:p>
          </p:txBody>
        </p:sp>
        <p:grpSp>
          <p:nvGrpSpPr>
            <p:cNvPr id="103" name="Group 102"/>
            <p:cNvGrpSpPr/>
            <p:nvPr/>
          </p:nvGrpSpPr>
          <p:grpSpPr>
            <a:xfrm>
              <a:off x="5424705" y="5679488"/>
              <a:ext cx="411157" cy="378451"/>
              <a:chOff x="2857500" y="1641476"/>
              <a:chExt cx="2514600" cy="2314574"/>
            </a:xfrm>
            <a:solidFill>
              <a:srgbClr val="33B3A6"/>
            </a:solidFill>
          </p:grpSpPr>
          <p:sp>
            <p:nvSpPr>
              <p:cNvPr id="104" name="Freeform 5"/>
              <p:cNvSpPr>
                <a:spLocks/>
              </p:cNvSpPr>
              <p:nvPr/>
            </p:nvSpPr>
            <p:spPr bwMode="auto">
              <a:xfrm>
                <a:off x="3543300" y="1641476"/>
                <a:ext cx="1143000" cy="1581150"/>
              </a:xfrm>
              <a:custGeom>
                <a:avLst/>
                <a:gdLst>
                  <a:gd name="T0" fmla="*/ 1560 w 7196"/>
                  <a:gd name="T1" fmla="*/ 8970 h 9963"/>
                  <a:gd name="T2" fmla="*/ 3598 w 7196"/>
                  <a:gd name="T3" fmla="*/ 9951 h 9963"/>
                  <a:gd name="T4" fmla="*/ 5635 w 7196"/>
                  <a:gd name="T5" fmla="*/ 8970 h 9963"/>
                  <a:gd name="T6" fmla="*/ 7111 w 7196"/>
                  <a:gd name="T7" fmla="*/ 5049 h 9963"/>
                  <a:gd name="T8" fmla="*/ 6455 w 7196"/>
                  <a:gd name="T9" fmla="*/ 1370 h 9963"/>
                  <a:gd name="T10" fmla="*/ 3598 w 7196"/>
                  <a:gd name="T11" fmla="*/ 6 h 9963"/>
                  <a:gd name="T12" fmla="*/ 741 w 7196"/>
                  <a:gd name="T13" fmla="*/ 1370 h 9963"/>
                  <a:gd name="T14" fmla="*/ 84 w 7196"/>
                  <a:gd name="T15" fmla="*/ 5049 h 9963"/>
                  <a:gd name="T16" fmla="*/ 1560 w 7196"/>
                  <a:gd name="T17" fmla="*/ 8970 h 99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96" h="9963">
                    <a:moveTo>
                      <a:pt x="1560" y="8970"/>
                    </a:moveTo>
                    <a:cubicBezTo>
                      <a:pt x="2181" y="9963"/>
                      <a:pt x="3595" y="9951"/>
                      <a:pt x="3598" y="9951"/>
                    </a:cubicBezTo>
                    <a:cubicBezTo>
                      <a:pt x="3600" y="9951"/>
                      <a:pt x="5015" y="9963"/>
                      <a:pt x="5635" y="8970"/>
                    </a:cubicBezTo>
                    <a:cubicBezTo>
                      <a:pt x="6243" y="7997"/>
                      <a:pt x="7026" y="6239"/>
                      <a:pt x="7111" y="5049"/>
                    </a:cubicBezTo>
                    <a:cubicBezTo>
                      <a:pt x="7196" y="3859"/>
                      <a:pt x="6956" y="2100"/>
                      <a:pt x="6455" y="1370"/>
                    </a:cubicBezTo>
                    <a:cubicBezTo>
                      <a:pt x="5515" y="0"/>
                      <a:pt x="3600" y="6"/>
                      <a:pt x="3598" y="6"/>
                    </a:cubicBezTo>
                    <a:cubicBezTo>
                      <a:pt x="3595" y="6"/>
                      <a:pt x="1680" y="0"/>
                      <a:pt x="741" y="1370"/>
                    </a:cubicBezTo>
                    <a:cubicBezTo>
                      <a:pt x="240" y="2100"/>
                      <a:pt x="0" y="3859"/>
                      <a:pt x="84" y="5049"/>
                    </a:cubicBezTo>
                    <a:cubicBezTo>
                      <a:pt x="169" y="6239"/>
                      <a:pt x="952" y="7997"/>
                      <a:pt x="1560" y="897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105" name="Freeform 6"/>
              <p:cNvSpPr>
                <a:spLocks/>
              </p:cNvSpPr>
              <p:nvPr/>
            </p:nvSpPr>
            <p:spPr bwMode="auto">
              <a:xfrm>
                <a:off x="2857500" y="3127375"/>
                <a:ext cx="939800" cy="828675"/>
              </a:xfrm>
              <a:custGeom>
                <a:avLst/>
                <a:gdLst>
                  <a:gd name="T0" fmla="*/ 5076 w 5928"/>
                  <a:gd name="T1" fmla="*/ 0 h 5224"/>
                  <a:gd name="T2" fmla="*/ 2289 w 5928"/>
                  <a:gd name="T3" fmla="*/ 704 h 5224"/>
                  <a:gd name="T4" fmla="*/ 436 w 5928"/>
                  <a:gd name="T5" fmla="*/ 2683 h 5224"/>
                  <a:gd name="T6" fmla="*/ 32 w 5928"/>
                  <a:gd name="T7" fmla="*/ 4302 h 5224"/>
                  <a:gd name="T8" fmla="*/ 0 w 5928"/>
                  <a:gd name="T9" fmla="*/ 4545 h 5224"/>
                  <a:gd name="T10" fmla="*/ 707 w 5928"/>
                  <a:gd name="T11" fmla="*/ 5224 h 5224"/>
                  <a:gd name="T12" fmla="*/ 5928 w 5928"/>
                  <a:gd name="T13" fmla="*/ 5224 h 5224"/>
                  <a:gd name="T14" fmla="*/ 5076 w 5928"/>
                  <a:gd name="T15" fmla="*/ 0 h 5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928" h="5224">
                    <a:moveTo>
                      <a:pt x="5076" y="0"/>
                    </a:moveTo>
                    <a:cubicBezTo>
                      <a:pt x="4384" y="116"/>
                      <a:pt x="3399" y="326"/>
                      <a:pt x="2289" y="704"/>
                    </a:cubicBezTo>
                    <a:cubicBezTo>
                      <a:pt x="1413" y="1002"/>
                      <a:pt x="760" y="1795"/>
                      <a:pt x="436" y="2683"/>
                    </a:cubicBezTo>
                    <a:cubicBezTo>
                      <a:pt x="218" y="3283"/>
                      <a:pt x="98" y="3854"/>
                      <a:pt x="32" y="4302"/>
                    </a:cubicBezTo>
                    <a:cubicBezTo>
                      <a:pt x="19" y="4388"/>
                      <a:pt x="9" y="4469"/>
                      <a:pt x="0" y="4545"/>
                    </a:cubicBezTo>
                    <a:cubicBezTo>
                      <a:pt x="17" y="4922"/>
                      <a:pt x="326" y="5224"/>
                      <a:pt x="707" y="5224"/>
                    </a:cubicBezTo>
                    <a:lnTo>
                      <a:pt x="5928" y="5224"/>
                    </a:lnTo>
                    <a:lnTo>
                      <a:pt x="507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106" name="Freeform 7"/>
              <p:cNvSpPr>
                <a:spLocks/>
              </p:cNvSpPr>
              <p:nvPr/>
            </p:nvSpPr>
            <p:spPr bwMode="auto">
              <a:xfrm>
                <a:off x="3944938" y="3346450"/>
                <a:ext cx="339725" cy="609600"/>
              </a:xfrm>
              <a:custGeom>
                <a:avLst/>
                <a:gdLst>
                  <a:gd name="T0" fmla="*/ 1593 w 2135"/>
                  <a:gd name="T1" fmla="*/ 0 h 3841"/>
                  <a:gd name="T2" fmla="*/ 1070 w 2135"/>
                  <a:gd name="T3" fmla="*/ 45 h 3841"/>
                  <a:gd name="T4" fmla="*/ 1068 w 2135"/>
                  <a:gd name="T5" fmla="*/ 45 h 3841"/>
                  <a:gd name="T6" fmla="*/ 1065 w 2135"/>
                  <a:gd name="T7" fmla="*/ 45 h 3841"/>
                  <a:gd name="T8" fmla="*/ 542 w 2135"/>
                  <a:gd name="T9" fmla="*/ 0 h 3841"/>
                  <a:gd name="T10" fmla="*/ 0 w 2135"/>
                  <a:gd name="T11" fmla="*/ 3841 h 3841"/>
                  <a:gd name="T12" fmla="*/ 1068 w 2135"/>
                  <a:gd name="T13" fmla="*/ 3841 h 3841"/>
                  <a:gd name="T14" fmla="*/ 2135 w 2135"/>
                  <a:gd name="T15" fmla="*/ 3841 h 3841"/>
                  <a:gd name="T16" fmla="*/ 1593 w 2135"/>
                  <a:gd name="T17" fmla="*/ 0 h 3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35" h="3841">
                    <a:moveTo>
                      <a:pt x="1593" y="0"/>
                    </a:moveTo>
                    <a:cubicBezTo>
                      <a:pt x="1325" y="41"/>
                      <a:pt x="1128" y="45"/>
                      <a:pt x="1070" y="45"/>
                    </a:cubicBezTo>
                    <a:cubicBezTo>
                      <a:pt x="1069" y="45"/>
                      <a:pt x="1068" y="45"/>
                      <a:pt x="1068" y="45"/>
                    </a:cubicBezTo>
                    <a:cubicBezTo>
                      <a:pt x="1067" y="45"/>
                      <a:pt x="1066" y="45"/>
                      <a:pt x="1065" y="45"/>
                    </a:cubicBezTo>
                    <a:cubicBezTo>
                      <a:pt x="1007" y="45"/>
                      <a:pt x="810" y="41"/>
                      <a:pt x="542" y="0"/>
                    </a:cubicBezTo>
                    <a:lnTo>
                      <a:pt x="0" y="3841"/>
                    </a:lnTo>
                    <a:lnTo>
                      <a:pt x="1068" y="3841"/>
                    </a:lnTo>
                    <a:lnTo>
                      <a:pt x="2135" y="3841"/>
                    </a:lnTo>
                    <a:lnTo>
                      <a:pt x="159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107" name="Freeform 8"/>
              <p:cNvSpPr>
                <a:spLocks/>
              </p:cNvSpPr>
              <p:nvPr/>
            </p:nvSpPr>
            <p:spPr bwMode="auto">
              <a:xfrm>
                <a:off x="4432300" y="3127375"/>
                <a:ext cx="939800" cy="828675"/>
              </a:xfrm>
              <a:custGeom>
                <a:avLst/>
                <a:gdLst>
                  <a:gd name="T0" fmla="*/ 5896 w 5928"/>
                  <a:gd name="T1" fmla="*/ 4302 h 5224"/>
                  <a:gd name="T2" fmla="*/ 5492 w 5928"/>
                  <a:gd name="T3" fmla="*/ 2683 h 5224"/>
                  <a:gd name="T4" fmla="*/ 3639 w 5928"/>
                  <a:gd name="T5" fmla="*/ 704 h 5224"/>
                  <a:gd name="T6" fmla="*/ 853 w 5928"/>
                  <a:gd name="T7" fmla="*/ 0 h 5224"/>
                  <a:gd name="T8" fmla="*/ 0 w 5928"/>
                  <a:gd name="T9" fmla="*/ 5224 h 5224"/>
                  <a:gd name="T10" fmla="*/ 5220 w 5928"/>
                  <a:gd name="T11" fmla="*/ 5224 h 5224"/>
                  <a:gd name="T12" fmla="*/ 5928 w 5928"/>
                  <a:gd name="T13" fmla="*/ 4545 h 5224"/>
                  <a:gd name="T14" fmla="*/ 5896 w 5928"/>
                  <a:gd name="T15" fmla="*/ 4302 h 5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928" h="5224">
                    <a:moveTo>
                      <a:pt x="5896" y="4302"/>
                    </a:moveTo>
                    <a:cubicBezTo>
                      <a:pt x="5830" y="3854"/>
                      <a:pt x="5711" y="3283"/>
                      <a:pt x="5492" y="2683"/>
                    </a:cubicBezTo>
                    <a:cubicBezTo>
                      <a:pt x="5169" y="1795"/>
                      <a:pt x="4515" y="1002"/>
                      <a:pt x="3639" y="704"/>
                    </a:cubicBezTo>
                    <a:cubicBezTo>
                      <a:pt x="2529" y="326"/>
                      <a:pt x="1545" y="116"/>
                      <a:pt x="853" y="0"/>
                    </a:cubicBezTo>
                    <a:lnTo>
                      <a:pt x="0" y="5224"/>
                    </a:lnTo>
                    <a:lnTo>
                      <a:pt x="5220" y="5224"/>
                    </a:lnTo>
                    <a:cubicBezTo>
                      <a:pt x="5602" y="5224"/>
                      <a:pt x="5911" y="4922"/>
                      <a:pt x="5928" y="4545"/>
                    </a:cubicBezTo>
                    <a:cubicBezTo>
                      <a:pt x="5919" y="4469"/>
                      <a:pt x="5909" y="4388"/>
                      <a:pt x="5896" y="430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</p:grpSp>
      </p:grpSp>
      <p:sp>
        <p:nvSpPr>
          <p:cNvPr id="109" name="Rectangle 108"/>
          <p:cNvSpPr/>
          <p:nvPr/>
        </p:nvSpPr>
        <p:spPr>
          <a:xfrm>
            <a:off x="4657081" y="1512227"/>
            <a:ext cx="2877839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en-US" dirty="0">
                <a:solidFill>
                  <a:prstClr val="black">
                    <a:lumMod val="85000"/>
                    <a:lumOff val="15000"/>
                  </a:prstClr>
                </a:solidFill>
                <a:latin typeface="+mj-lt"/>
                <a:ea typeface="Adobe Fan Heiti Std B" panose="020B0700000000000000" pitchFamily="34" charset="-128"/>
                <a:cs typeface="Arial" panose="020B0604020202020204" pitchFamily="34" charset="0"/>
              </a:rPr>
              <a:t>Our Strategic Partners</a:t>
            </a:r>
          </a:p>
        </p:txBody>
      </p:sp>
    </p:spTree>
    <p:extLst>
      <p:ext uri="{BB962C8B-B14F-4D97-AF65-F5344CB8AC3E}">
        <p14:creationId xmlns:p14="http://schemas.microsoft.com/office/powerpoint/2010/main" val="34738204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     BENEFITS OF THE ALOHA COMMITMENT</a:t>
            </a:r>
            <a:r>
              <a:rPr lang="en-US" dirty="0"/>
              <a:t> </a:t>
            </a:r>
            <a:r>
              <a:rPr lang="en-US" sz="3600" dirty="0"/>
              <a:t>TRU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9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758190" y="1447800"/>
            <a:ext cx="1082421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0" rtlCol="0" anchor="ctr"/>
          <a:lstStyle/>
          <a:p>
            <a:r>
              <a:rPr lang="en-US" dirty="0">
                <a:solidFill>
                  <a:schemeClr val="tx1"/>
                </a:solidFill>
              </a:rPr>
              <a:t>    Your clients first and foremost—asset protection and confidentiality.  He/she must know how .</a:t>
            </a:r>
          </a:p>
          <a:p>
            <a:r>
              <a:rPr lang="en-US" dirty="0">
                <a:solidFill>
                  <a:schemeClr val="tx1"/>
                </a:solidFill>
              </a:rPr>
              <a:t>     this is achieved.</a:t>
            </a:r>
          </a:p>
        </p:txBody>
      </p:sp>
      <p:sp>
        <p:nvSpPr>
          <p:cNvPr id="6" name="Rectangle 5"/>
          <p:cNvSpPr/>
          <p:nvPr/>
        </p:nvSpPr>
        <p:spPr>
          <a:xfrm>
            <a:off x="758190" y="2408035"/>
            <a:ext cx="1082421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0" rtlCol="0" anchor="ctr"/>
          <a:lstStyle/>
          <a:p>
            <a:r>
              <a:rPr lang="en-US" dirty="0">
                <a:solidFill>
                  <a:schemeClr val="tx1"/>
                </a:solidFill>
              </a:rPr>
              <a:t>       YOU MUST EDUCATE AND PROTECT YOUR CLIENT AND NOT MISLEAD THEM IF    </a:t>
            </a:r>
          </a:p>
          <a:p>
            <a:r>
              <a:rPr lang="en-US" dirty="0">
                <a:solidFill>
                  <a:schemeClr val="tx1"/>
                </a:solidFill>
              </a:rPr>
              <a:t>       THEY ARE TO RECEIVE THE BENEFITS.</a:t>
            </a:r>
          </a:p>
        </p:txBody>
      </p:sp>
      <p:sp>
        <p:nvSpPr>
          <p:cNvPr id="7" name="Rectangle 6"/>
          <p:cNvSpPr/>
          <p:nvPr/>
        </p:nvSpPr>
        <p:spPr>
          <a:xfrm>
            <a:off x="758190" y="3368269"/>
            <a:ext cx="1082421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0" rtlCol="0" anchor="ctr"/>
          <a:lstStyle/>
          <a:p>
            <a:r>
              <a:rPr lang="en-US" dirty="0">
                <a:solidFill>
                  <a:schemeClr val="tx1"/>
                </a:solidFill>
              </a:rPr>
              <a:t>     This trust elevates to include gratitude, kindness. Compassion, love and peace.</a:t>
            </a:r>
          </a:p>
        </p:txBody>
      </p:sp>
      <p:sp>
        <p:nvSpPr>
          <p:cNvPr id="8" name="Rectangle 7"/>
          <p:cNvSpPr/>
          <p:nvPr/>
        </p:nvSpPr>
        <p:spPr>
          <a:xfrm>
            <a:off x="758190" y="4328504"/>
            <a:ext cx="1082421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0" rtlCol="0" anchor="ctr"/>
          <a:lstStyle/>
          <a:p>
            <a:r>
              <a:rPr lang="en-US" dirty="0">
                <a:solidFill>
                  <a:schemeClr val="tx1"/>
                </a:solidFill>
              </a:rPr>
              <a:t>      Aloha is much more than a greeting and the decisions are driven by the client’s desires.</a:t>
            </a:r>
          </a:p>
        </p:txBody>
      </p:sp>
      <p:sp>
        <p:nvSpPr>
          <p:cNvPr id="9" name="Rectangle 8"/>
          <p:cNvSpPr/>
          <p:nvPr/>
        </p:nvSpPr>
        <p:spPr>
          <a:xfrm>
            <a:off x="758190" y="5288739"/>
            <a:ext cx="1082421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0" rtlCol="0" anchor="ctr"/>
          <a:lstStyle/>
          <a:p>
            <a:r>
              <a:rPr lang="en-US" dirty="0">
                <a:solidFill>
                  <a:schemeClr val="tx1"/>
                </a:solidFill>
              </a:rPr>
              <a:t>      COMMITMENT IS MORE OFTEN KEPT BECAUSE BOTH PARTIES ENHANCE THEIR </a:t>
            </a:r>
          </a:p>
          <a:p>
            <a:r>
              <a:rPr lang="en-US" dirty="0">
                <a:solidFill>
                  <a:schemeClr val="tx1"/>
                </a:solidFill>
              </a:rPr>
              <a:t>      COMMITMENT TO ONE ANOTHER..</a:t>
            </a:r>
          </a:p>
        </p:txBody>
      </p:sp>
      <p:sp>
        <p:nvSpPr>
          <p:cNvPr id="10" name="Rectangle 9"/>
          <p:cNvSpPr/>
          <p:nvPr/>
        </p:nvSpPr>
        <p:spPr>
          <a:xfrm>
            <a:off x="609600" y="1447800"/>
            <a:ext cx="91440" cy="883461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609600" y="2408035"/>
            <a:ext cx="91440" cy="883461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609600" y="3368269"/>
            <a:ext cx="91440" cy="883461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609600" y="4328504"/>
            <a:ext cx="91440" cy="883461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09600" y="5288739"/>
            <a:ext cx="91440" cy="883461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10668000" y="2301162"/>
            <a:ext cx="914400" cy="30099"/>
          </a:xfrm>
          <a:prstGeom prst="rect">
            <a:avLst/>
          </a:prstGeom>
          <a:solidFill>
            <a:srgbClr val="26867C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10668000" y="4221632"/>
            <a:ext cx="914400" cy="30099"/>
          </a:xfrm>
          <a:prstGeom prst="rect">
            <a:avLst/>
          </a:prstGeom>
          <a:solidFill>
            <a:srgbClr val="26867C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10668000" y="5181867"/>
            <a:ext cx="914400" cy="30099"/>
          </a:xfrm>
          <a:prstGeom prst="rect">
            <a:avLst/>
          </a:prstGeom>
          <a:solidFill>
            <a:srgbClr val="26867C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10668000" y="6142101"/>
            <a:ext cx="914400" cy="30099"/>
          </a:xfrm>
          <a:prstGeom prst="rect">
            <a:avLst/>
          </a:prstGeom>
          <a:solidFill>
            <a:srgbClr val="26867C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/>
        </p:nvSpPr>
        <p:spPr>
          <a:xfrm>
            <a:off x="10668000" y="3261397"/>
            <a:ext cx="914400" cy="30099"/>
          </a:xfrm>
          <a:prstGeom prst="rect">
            <a:avLst/>
          </a:prstGeom>
          <a:solidFill>
            <a:srgbClr val="26867C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2"/>
          <p:cNvGrpSpPr/>
          <p:nvPr/>
        </p:nvGrpSpPr>
        <p:grpSpPr>
          <a:xfrm>
            <a:off x="10923393" y="1641656"/>
            <a:ext cx="430532" cy="465651"/>
            <a:chOff x="131577" y="928520"/>
            <a:chExt cx="3552918" cy="3842742"/>
          </a:xfrm>
          <a:solidFill>
            <a:srgbClr val="26867C"/>
          </a:solidFill>
        </p:grpSpPr>
        <p:sp>
          <p:nvSpPr>
            <p:cNvPr id="26" name="Freeform 6"/>
            <p:cNvSpPr>
              <a:spLocks noEditPoints="1"/>
            </p:cNvSpPr>
            <p:nvPr/>
          </p:nvSpPr>
          <p:spPr bwMode="auto">
            <a:xfrm>
              <a:off x="131577" y="928520"/>
              <a:ext cx="3552918" cy="3842742"/>
            </a:xfrm>
            <a:custGeom>
              <a:avLst/>
              <a:gdLst>
                <a:gd name="T0" fmla="*/ 4832 w 15226"/>
                <a:gd name="T1" fmla="*/ 896 h 16467"/>
                <a:gd name="T2" fmla="*/ 1605 w 15226"/>
                <a:gd name="T3" fmla="*/ 7033 h 16467"/>
                <a:gd name="T4" fmla="*/ 304 w 15226"/>
                <a:gd name="T5" fmla="*/ 9224 h 16467"/>
                <a:gd name="T6" fmla="*/ 1058 w 15226"/>
                <a:gd name="T7" fmla="*/ 10928 h 16467"/>
                <a:gd name="T8" fmla="*/ 1422 w 15226"/>
                <a:gd name="T9" fmla="*/ 12190 h 16467"/>
                <a:gd name="T10" fmla="*/ 2984 w 15226"/>
                <a:gd name="T11" fmla="*/ 14527 h 16467"/>
                <a:gd name="T12" fmla="*/ 4829 w 15226"/>
                <a:gd name="T13" fmla="*/ 15055 h 16467"/>
                <a:gd name="T14" fmla="*/ 12782 w 15226"/>
                <a:gd name="T15" fmla="*/ 16467 h 16467"/>
                <a:gd name="T16" fmla="*/ 12300 w 15226"/>
                <a:gd name="T17" fmla="*/ 11850 h 16467"/>
                <a:gd name="T18" fmla="*/ 14839 w 15226"/>
                <a:gd name="T19" fmla="*/ 6845 h 16467"/>
                <a:gd name="T20" fmla="*/ 13183 w 15226"/>
                <a:gd name="T21" fmla="*/ 4884 h 16467"/>
                <a:gd name="T22" fmla="*/ 12974 w 15226"/>
                <a:gd name="T23" fmla="*/ 7580 h 16467"/>
                <a:gd name="T24" fmla="*/ 12990 w 15226"/>
                <a:gd name="T25" fmla="*/ 8137 h 16467"/>
                <a:gd name="T26" fmla="*/ 11564 w 15226"/>
                <a:gd name="T27" fmla="*/ 8803 h 16467"/>
                <a:gd name="T28" fmla="*/ 9576 w 15226"/>
                <a:gd name="T29" fmla="*/ 9556 h 16467"/>
                <a:gd name="T30" fmla="*/ 9292 w 15226"/>
                <a:gd name="T31" fmla="*/ 10313 h 16467"/>
                <a:gd name="T32" fmla="*/ 8706 w 15226"/>
                <a:gd name="T33" fmla="*/ 10320 h 16467"/>
                <a:gd name="T34" fmla="*/ 7839 w 15226"/>
                <a:gd name="T35" fmla="*/ 8485 h 16467"/>
                <a:gd name="T36" fmla="*/ 5955 w 15226"/>
                <a:gd name="T37" fmla="*/ 7333 h 16467"/>
                <a:gd name="T38" fmla="*/ 5045 w 15226"/>
                <a:gd name="T39" fmla="*/ 7333 h 16467"/>
                <a:gd name="T40" fmla="*/ 3688 w 15226"/>
                <a:gd name="T41" fmla="*/ 5821 h 16467"/>
                <a:gd name="T42" fmla="*/ 3816 w 15226"/>
                <a:gd name="T43" fmla="*/ 3624 h 16467"/>
                <a:gd name="T44" fmla="*/ 3890 w 15226"/>
                <a:gd name="T45" fmla="*/ 3517 h 16467"/>
                <a:gd name="T46" fmla="*/ 4340 w 15226"/>
                <a:gd name="T47" fmla="*/ 2966 h 16467"/>
                <a:gd name="T48" fmla="*/ 6121 w 15226"/>
                <a:gd name="T49" fmla="*/ 2105 h 16467"/>
                <a:gd name="T50" fmla="*/ 6264 w 15226"/>
                <a:gd name="T51" fmla="*/ 2138 h 16467"/>
                <a:gd name="T52" fmla="*/ 7575 w 15226"/>
                <a:gd name="T53" fmla="*/ 1688 h 16467"/>
                <a:gd name="T54" fmla="*/ 8580 w 15226"/>
                <a:gd name="T55" fmla="*/ 1347 h 16467"/>
                <a:gd name="T56" fmla="*/ 9313 w 15226"/>
                <a:gd name="T57" fmla="*/ 1689 h 16467"/>
                <a:gd name="T58" fmla="*/ 9910 w 15226"/>
                <a:gd name="T59" fmla="*/ 1627 h 16467"/>
                <a:gd name="T60" fmla="*/ 10645 w 15226"/>
                <a:gd name="T61" fmla="*/ 2180 h 16467"/>
                <a:gd name="T62" fmla="*/ 11452 w 15226"/>
                <a:gd name="T63" fmla="*/ 2381 h 16467"/>
                <a:gd name="T64" fmla="*/ 11765 w 15226"/>
                <a:gd name="T65" fmla="*/ 2398 h 16467"/>
                <a:gd name="T66" fmla="*/ 12518 w 15226"/>
                <a:gd name="T67" fmla="*/ 3326 h 16467"/>
                <a:gd name="T68" fmla="*/ 13130 w 15226"/>
                <a:gd name="T69" fmla="*/ 4042 h 16467"/>
                <a:gd name="T70" fmla="*/ 13183 w 15226"/>
                <a:gd name="T71" fmla="*/ 4884 h 16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226" h="16467">
                  <a:moveTo>
                    <a:pt x="10368" y="416"/>
                  </a:moveTo>
                  <a:cubicBezTo>
                    <a:pt x="8478" y="0"/>
                    <a:pt x="6596" y="26"/>
                    <a:pt x="4832" y="896"/>
                  </a:cubicBezTo>
                  <a:cubicBezTo>
                    <a:pt x="2904" y="1847"/>
                    <a:pt x="1993" y="3579"/>
                    <a:pt x="1538" y="5586"/>
                  </a:cubicBezTo>
                  <a:cubicBezTo>
                    <a:pt x="1432" y="6054"/>
                    <a:pt x="1196" y="6558"/>
                    <a:pt x="1605" y="7033"/>
                  </a:cubicBezTo>
                  <a:cubicBezTo>
                    <a:pt x="1694" y="7136"/>
                    <a:pt x="1523" y="7277"/>
                    <a:pt x="1451" y="7391"/>
                  </a:cubicBezTo>
                  <a:cubicBezTo>
                    <a:pt x="1067" y="8001"/>
                    <a:pt x="668" y="8603"/>
                    <a:pt x="304" y="9224"/>
                  </a:cubicBezTo>
                  <a:cubicBezTo>
                    <a:pt x="0" y="9742"/>
                    <a:pt x="65" y="9931"/>
                    <a:pt x="617" y="10108"/>
                  </a:cubicBezTo>
                  <a:cubicBezTo>
                    <a:pt x="1059" y="10249"/>
                    <a:pt x="1276" y="10436"/>
                    <a:pt x="1058" y="10928"/>
                  </a:cubicBezTo>
                  <a:cubicBezTo>
                    <a:pt x="895" y="11292"/>
                    <a:pt x="1194" y="11405"/>
                    <a:pt x="1491" y="11491"/>
                  </a:cubicBezTo>
                  <a:cubicBezTo>
                    <a:pt x="1028" y="11792"/>
                    <a:pt x="1016" y="11870"/>
                    <a:pt x="1422" y="12190"/>
                  </a:cubicBezTo>
                  <a:cubicBezTo>
                    <a:pt x="1598" y="12328"/>
                    <a:pt x="1643" y="12442"/>
                    <a:pt x="1549" y="12654"/>
                  </a:cubicBezTo>
                  <a:cubicBezTo>
                    <a:pt x="975" y="13937"/>
                    <a:pt x="1574" y="14691"/>
                    <a:pt x="2984" y="14527"/>
                  </a:cubicBezTo>
                  <a:cubicBezTo>
                    <a:pt x="3319" y="14488"/>
                    <a:pt x="3653" y="14436"/>
                    <a:pt x="3986" y="14387"/>
                  </a:cubicBezTo>
                  <a:cubicBezTo>
                    <a:pt x="4569" y="14301"/>
                    <a:pt x="4773" y="14445"/>
                    <a:pt x="4829" y="15055"/>
                  </a:cubicBezTo>
                  <a:cubicBezTo>
                    <a:pt x="4873" y="15530"/>
                    <a:pt x="4913" y="16003"/>
                    <a:pt x="5027" y="16467"/>
                  </a:cubicBezTo>
                  <a:cubicBezTo>
                    <a:pt x="7612" y="16467"/>
                    <a:pt x="10197" y="16467"/>
                    <a:pt x="12782" y="16467"/>
                  </a:cubicBezTo>
                  <a:cubicBezTo>
                    <a:pt x="12903" y="16279"/>
                    <a:pt x="12716" y="16164"/>
                    <a:pt x="12656" y="16035"/>
                  </a:cubicBezTo>
                  <a:cubicBezTo>
                    <a:pt x="12030" y="14680"/>
                    <a:pt x="11981" y="13284"/>
                    <a:pt x="12300" y="11850"/>
                  </a:cubicBezTo>
                  <a:cubicBezTo>
                    <a:pt x="12418" y="11319"/>
                    <a:pt x="12716" y="10905"/>
                    <a:pt x="13068" y="10511"/>
                  </a:cubicBezTo>
                  <a:cubicBezTo>
                    <a:pt x="14008" y="9460"/>
                    <a:pt x="14655" y="8275"/>
                    <a:pt x="14839" y="6845"/>
                  </a:cubicBezTo>
                  <a:cubicBezTo>
                    <a:pt x="15226" y="3831"/>
                    <a:pt x="13333" y="1070"/>
                    <a:pt x="10368" y="416"/>
                  </a:cubicBezTo>
                  <a:close/>
                  <a:moveTo>
                    <a:pt x="13183" y="4884"/>
                  </a:moveTo>
                  <a:cubicBezTo>
                    <a:pt x="13866" y="5359"/>
                    <a:pt x="13615" y="6325"/>
                    <a:pt x="13615" y="6325"/>
                  </a:cubicBezTo>
                  <a:cubicBezTo>
                    <a:pt x="13583" y="6773"/>
                    <a:pt x="13370" y="7188"/>
                    <a:pt x="12974" y="7580"/>
                  </a:cubicBezTo>
                  <a:cubicBezTo>
                    <a:pt x="12908" y="7646"/>
                    <a:pt x="12897" y="7705"/>
                    <a:pt x="12896" y="7767"/>
                  </a:cubicBezTo>
                  <a:cubicBezTo>
                    <a:pt x="12954" y="7878"/>
                    <a:pt x="12990" y="8003"/>
                    <a:pt x="12990" y="8137"/>
                  </a:cubicBezTo>
                  <a:cubicBezTo>
                    <a:pt x="12990" y="8582"/>
                    <a:pt x="12815" y="8826"/>
                    <a:pt x="12185" y="8943"/>
                  </a:cubicBezTo>
                  <a:cubicBezTo>
                    <a:pt x="11734" y="9026"/>
                    <a:pt x="11564" y="8803"/>
                    <a:pt x="11564" y="8803"/>
                  </a:cubicBezTo>
                  <a:cubicBezTo>
                    <a:pt x="11564" y="9383"/>
                    <a:pt x="11050" y="10063"/>
                    <a:pt x="10470" y="10063"/>
                  </a:cubicBezTo>
                  <a:cubicBezTo>
                    <a:pt x="10090" y="10063"/>
                    <a:pt x="9760" y="9859"/>
                    <a:pt x="9576" y="9556"/>
                  </a:cubicBezTo>
                  <a:cubicBezTo>
                    <a:pt x="9544" y="9531"/>
                    <a:pt x="9513" y="9507"/>
                    <a:pt x="9481" y="9479"/>
                  </a:cubicBezTo>
                  <a:cubicBezTo>
                    <a:pt x="9412" y="9775"/>
                    <a:pt x="9334" y="10042"/>
                    <a:pt x="9292" y="10313"/>
                  </a:cubicBezTo>
                  <a:cubicBezTo>
                    <a:pt x="9266" y="10480"/>
                    <a:pt x="9214" y="10556"/>
                    <a:pt x="9034" y="10551"/>
                  </a:cubicBezTo>
                  <a:cubicBezTo>
                    <a:pt x="8863" y="10547"/>
                    <a:pt x="8759" y="10519"/>
                    <a:pt x="8706" y="10320"/>
                  </a:cubicBezTo>
                  <a:cubicBezTo>
                    <a:pt x="8600" y="9921"/>
                    <a:pt x="8450" y="9535"/>
                    <a:pt x="8320" y="9143"/>
                  </a:cubicBezTo>
                  <a:cubicBezTo>
                    <a:pt x="8221" y="8846"/>
                    <a:pt x="8056" y="8633"/>
                    <a:pt x="7839" y="8485"/>
                  </a:cubicBezTo>
                  <a:cubicBezTo>
                    <a:pt x="7662" y="8576"/>
                    <a:pt x="7462" y="8628"/>
                    <a:pt x="7250" y="8628"/>
                  </a:cubicBezTo>
                  <a:cubicBezTo>
                    <a:pt x="6535" y="8628"/>
                    <a:pt x="5955" y="8048"/>
                    <a:pt x="5955" y="7333"/>
                  </a:cubicBezTo>
                  <a:cubicBezTo>
                    <a:pt x="5955" y="7187"/>
                    <a:pt x="5980" y="7048"/>
                    <a:pt x="6024" y="6917"/>
                  </a:cubicBezTo>
                  <a:cubicBezTo>
                    <a:pt x="5776" y="7173"/>
                    <a:pt x="5429" y="7333"/>
                    <a:pt x="5045" y="7333"/>
                  </a:cubicBezTo>
                  <a:cubicBezTo>
                    <a:pt x="4291" y="7333"/>
                    <a:pt x="3680" y="6721"/>
                    <a:pt x="3680" y="5968"/>
                  </a:cubicBezTo>
                  <a:cubicBezTo>
                    <a:pt x="3680" y="5918"/>
                    <a:pt x="3683" y="5869"/>
                    <a:pt x="3688" y="5821"/>
                  </a:cubicBezTo>
                  <a:cubicBezTo>
                    <a:pt x="3254" y="5655"/>
                    <a:pt x="2945" y="5235"/>
                    <a:pt x="2945" y="4743"/>
                  </a:cubicBezTo>
                  <a:cubicBezTo>
                    <a:pt x="2945" y="4203"/>
                    <a:pt x="3316" y="3751"/>
                    <a:pt x="3816" y="3624"/>
                  </a:cubicBezTo>
                  <a:cubicBezTo>
                    <a:pt x="3843" y="3601"/>
                    <a:pt x="3869" y="3576"/>
                    <a:pt x="3894" y="3551"/>
                  </a:cubicBezTo>
                  <a:cubicBezTo>
                    <a:pt x="3893" y="3540"/>
                    <a:pt x="3890" y="3529"/>
                    <a:pt x="3890" y="3517"/>
                  </a:cubicBezTo>
                  <a:cubicBezTo>
                    <a:pt x="3890" y="3249"/>
                    <a:pt x="4079" y="3025"/>
                    <a:pt x="4332" y="2971"/>
                  </a:cubicBezTo>
                  <a:cubicBezTo>
                    <a:pt x="4335" y="2969"/>
                    <a:pt x="4337" y="2967"/>
                    <a:pt x="4340" y="2966"/>
                  </a:cubicBezTo>
                  <a:cubicBezTo>
                    <a:pt x="4464" y="2401"/>
                    <a:pt x="4968" y="1977"/>
                    <a:pt x="5570" y="1977"/>
                  </a:cubicBezTo>
                  <a:cubicBezTo>
                    <a:pt x="5768" y="1977"/>
                    <a:pt x="5954" y="2024"/>
                    <a:pt x="6121" y="2105"/>
                  </a:cubicBezTo>
                  <a:cubicBezTo>
                    <a:pt x="6158" y="2113"/>
                    <a:pt x="6195" y="2120"/>
                    <a:pt x="6234" y="2133"/>
                  </a:cubicBezTo>
                  <a:cubicBezTo>
                    <a:pt x="6245" y="2136"/>
                    <a:pt x="6254" y="2137"/>
                    <a:pt x="6264" y="2138"/>
                  </a:cubicBezTo>
                  <a:cubicBezTo>
                    <a:pt x="6396" y="1798"/>
                    <a:pt x="6724" y="1557"/>
                    <a:pt x="7110" y="1557"/>
                  </a:cubicBezTo>
                  <a:cubicBezTo>
                    <a:pt x="7281" y="1557"/>
                    <a:pt x="7438" y="1607"/>
                    <a:pt x="7575" y="1688"/>
                  </a:cubicBezTo>
                  <a:cubicBezTo>
                    <a:pt x="7688" y="1730"/>
                    <a:pt x="7786" y="1735"/>
                    <a:pt x="7890" y="1710"/>
                  </a:cubicBezTo>
                  <a:cubicBezTo>
                    <a:pt x="8042" y="1491"/>
                    <a:pt x="8294" y="1347"/>
                    <a:pt x="8580" y="1347"/>
                  </a:cubicBezTo>
                  <a:cubicBezTo>
                    <a:pt x="8828" y="1347"/>
                    <a:pt x="9048" y="1457"/>
                    <a:pt x="9202" y="1627"/>
                  </a:cubicBezTo>
                  <a:cubicBezTo>
                    <a:pt x="9239" y="1646"/>
                    <a:pt x="9276" y="1665"/>
                    <a:pt x="9313" y="1689"/>
                  </a:cubicBezTo>
                  <a:cubicBezTo>
                    <a:pt x="9375" y="1729"/>
                    <a:pt x="9431" y="1753"/>
                    <a:pt x="9494" y="1757"/>
                  </a:cubicBezTo>
                  <a:cubicBezTo>
                    <a:pt x="9612" y="1676"/>
                    <a:pt x="9755" y="1627"/>
                    <a:pt x="9910" y="1627"/>
                  </a:cubicBezTo>
                  <a:cubicBezTo>
                    <a:pt x="10237" y="1627"/>
                    <a:pt x="10511" y="1843"/>
                    <a:pt x="10607" y="2139"/>
                  </a:cubicBezTo>
                  <a:cubicBezTo>
                    <a:pt x="10619" y="2154"/>
                    <a:pt x="10632" y="2168"/>
                    <a:pt x="10645" y="2180"/>
                  </a:cubicBezTo>
                  <a:cubicBezTo>
                    <a:pt x="10735" y="2118"/>
                    <a:pt x="10843" y="2083"/>
                    <a:pt x="10960" y="2083"/>
                  </a:cubicBezTo>
                  <a:cubicBezTo>
                    <a:pt x="11174" y="2083"/>
                    <a:pt x="11358" y="2204"/>
                    <a:pt x="11452" y="2381"/>
                  </a:cubicBezTo>
                  <a:cubicBezTo>
                    <a:pt x="11477" y="2401"/>
                    <a:pt x="11502" y="2420"/>
                    <a:pt x="11528" y="2438"/>
                  </a:cubicBezTo>
                  <a:cubicBezTo>
                    <a:pt x="11603" y="2414"/>
                    <a:pt x="11682" y="2398"/>
                    <a:pt x="11765" y="2398"/>
                  </a:cubicBezTo>
                  <a:cubicBezTo>
                    <a:pt x="12190" y="2398"/>
                    <a:pt x="12535" y="2742"/>
                    <a:pt x="12535" y="3167"/>
                  </a:cubicBezTo>
                  <a:cubicBezTo>
                    <a:pt x="12535" y="3222"/>
                    <a:pt x="12529" y="3275"/>
                    <a:pt x="12518" y="3326"/>
                  </a:cubicBezTo>
                  <a:cubicBezTo>
                    <a:pt x="12521" y="3334"/>
                    <a:pt x="12523" y="3343"/>
                    <a:pt x="12525" y="3352"/>
                  </a:cubicBezTo>
                  <a:cubicBezTo>
                    <a:pt x="12866" y="3399"/>
                    <a:pt x="13130" y="3688"/>
                    <a:pt x="13130" y="4042"/>
                  </a:cubicBezTo>
                  <a:cubicBezTo>
                    <a:pt x="13130" y="4147"/>
                    <a:pt x="13106" y="4245"/>
                    <a:pt x="13064" y="4334"/>
                  </a:cubicBezTo>
                  <a:cubicBezTo>
                    <a:pt x="13065" y="4334"/>
                    <a:pt x="13480" y="4550"/>
                    <a:pt x="13183" y="48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7" name="Group 26"/>
            <p:cNvGrpSpPr/>
            <p:nvPr/>
          </p:nvGrpSpPr>
          <p:grpSpPr>
            <a:xfrm>
              <a:off x="1622524" y="1603080"/>
              <a:ext cx="1152823" cy="1114500"/>
              <a:chOff x="1190992" y="3966801"/>
              <a:chExt cx="2949531" cy="2851481"/>
            </a:xfrm>
            <a:grpFill/>
          </p:grpSpPr>
          <p:sp>
            <p:nvSpPr>
              <p:cNvPr id="28" name="Freeform 27"/>
              <p:cNvSpPr/>
              <p:nvPr/>
            </p:nvSpPr>
            <p:spPr>
              <a:xfrm rot="20110930">
                <a:off x="1190992" y="3966801"/>
                <a:ext cx="1971644" cy="1968573"/>
              </a:xfrm>
              <a:custGeom>
                <a:avLst/>
                <a:gdLst>
                  <a:gd name="connsiteX0" fmla="*/ 3064893 w 6123903"/>
                  <a:gd name="connsiteY0" fmla="*/ 1851552 h 6114381"/>
                  <a:gd name="connsiteX1" fmla="*/ 1845693 w 6123903"/>
                  <a:gd name="connsiteY1" fmla="*/ 3070752 h 6114381"/>
                  <a:gd name="connsiteX2" fmla="*/ 3064893 w 6123903"/>
                  <a:gd name="connsiteY2" fmla="*/ 4289952 h 6114381"/>
                  <a:gd name="connsiteX3" fmla="*/ 4284093 w 6123903"/>
                  <a:gd name="connsiteY3" fmla="*/ 3070752 h 6114381"/>
                  <a:gd name="connsiteX4" fmla="*/ 3064893 w 6123903"/>
                  <a:gd name="connsiteY4" fmla="*/ 1851552 h 6114381"/>
                  <a:gd name="connsiteX5" fmla="*/ 2686685 w 6123903"/>
                  <a:gd name="connsiteY5" fmla="*/ 0 h 6114381"/>
                  <a:gd name="connsiteX6" fmla="*/ 3422929 w 6123903"/>
                  <a:gd name="connsiteY6" fmla="*/ 0 h 6114381"/>
                  <a:gd name="connsiteX7" fmla="*/ 3678191 w 6123903"/>
                  <a:gd name="connsiteY7" fmla="*/ 710255 h 6114381"/>
                  <a:gd name="connsiteX8" fmla="*/ 3818556 w 6123903"/>
                  <a:gd name="connsiteY8" fmla="*/ 751055 h 6114381"/>
                  <a:gd name="connsiteX9" fmla="*/ 4227179 w 6123903"/>
                  <a:gd name="connsiteY9" fmla="*/ 926655 h 6114381"/>
                  <a:gd name="connsiteX10" fmla="*/ 4282555 w 6123903"/>
                  <a:gd name="connsiteY10" fmla="*/ 960296 h 6114381"/>
                  <a:gd name="connsiteX11" fmla="*/ 4970765 w 6123903"/>
                  <a:gd name="connsiteY11" fmla="*/ 634253 h 6114381"/>
                  <a:gd name="connsiteX12" fmla="*/ 5488211 w 6123903"/>
                  <a:gd name="connsiteY12" fmla="*/ 1157995 h 6114381"/>
                  <a:gd name="connsiteX13" fmla="*/ 5164247 w 6123903"/>
                  <a:gd name="connsiteY13" fmla="*/ 1834816 h 6114381"/>
                  <a:gd name="connsiteX14" fmla="*/ 5208991 w 6123903"/>
                  <a:gd name="connsiteY14" fmla="*/ 1908466 h 6114381"/>
                  <a:gd name="connsiteX15" fmla="*/ 5384591 w 6123903"/>
                  <a:gd name="connsiteY15" fmla="*/ 2317090 h 6114381"/>
                  <a:gd name="connsiteX16" fmla="*/ 5421936 w 6123903"/>
                  <a:gd name="connsiteY16" fmla="*/ 2445569 h 6114381"/>
                  <a:gd name="connsiteX17" fmla="*/ 6123903 w 6123903"/>
                  <a:gd name="connsiteY17" fmla="*/ 2691449 h 6114381"/>
                  <a:gd name="connsiteX18" fmla="*/ 6123903 w 6123903"/>
                  <a:gd name="connsiteY18" fmla="*/ 3427693 h 6114381"/>
                  <a:gd name="connsiteX19" fmla="*/ 5426625 w 6123903"/>
                  <a:gd name="connsiteY19" fmla="*/ 3678291 h 6114381"/>
                  <a:gd name="connsiteX20" fmla="*/ 5390304 w 6123903"/>
                  <a:gd name="connsiteY20" fmla="*/ 3806584 h 6114381"/>
                  <a:gd name="connsiteX21" fmla="*/ 5222916 w 6123903"/>
                  <a:gd name="connsiteY21" fmla="*/ 4207031 h 6114381"/>
                  <a:gd name="connsiteX22" fmla="*/ 5171917 w 6123903"/>
                  <a:gd name="connsiteY22" fmla="*/ 4295117 h 6114381"/>
                  <a:gd name="connsiteX23" fmla="*/ 5484219 w 6123903"/>
                  <a:gd name="connsiteY23" fmla="*/ 4978630 h 6114381"/>
                  <a:gd name="connsiteX24" fmla="*/ 4953361 w 6123903"/>
                  <a:gd name="connsiteY24" fmla="*/ 5488772 h 6114381"/>
                  <a:gd name="connsiteX25" fmla="*/ 4307701 w 6123903"/>
                  <a:gd name="connsiteY25" fmla="*/ 5168660 h 6114381"/>
                  <a:gd name="connsiteX26" fmla="*/ 4148601 w 6123903"/>
                  <a:gd name="connsiteY26" fmla="*/ 5255702 h 6114381"/>
                  <a:gd name="connsiteX27" fmla="*/ 3789999 w 6123903"/>
                  <a:gd name="connsiteY27" fmla="*/ 5399527 h 6114381"/>
                  <a:gd name="connsiteX28" fmla="*/ 3672243 w 6123903"/>
                  <a:gd name="connsiteY28" fmla="*/ 5429805 h 6114381"/>
                  <a:gd name="connsiteX29" fmla="*/ 3432454 w 6123903"/>
                  <a:gd name="connsiteY29" fmla="*/ 6114381 h 6114381"/>
                  <a:gd name="connsiteX30" fmla="*/ 2696210 w 6123903"/>
                  <a:gd name="connsiteY30" fmla="*/ 6114381 h 6114381"/>
                  <a:gd name="connsiteX31" fmla="*/ 2450436 w 6123903"/>
                  <a:gd name="connsiteY31" fmla="*/ 5430525 h 6114381"/>
                  <a:gd name="connsiteX32" fmla="*/ 2329062 w 6123903"/>
                  <a:gd name="connsiteY32" fmla="*/ 5396163 h 6114381"/>
                  <a:gd name="connsiteX33" fmla="*/ 1928614 w 6123903"/>
                  <a:gd name="connsiteY33" fmla="*/ 5228775 h 6114381"/>
                  <a:gd name="connsiteX34" fmla="*/ 1815331 w 6123903"/>
                  <a:gd name="connsiteY34" fmla="*/ 5163187 h 6114381"/>
                  <a:gd name="connsiteX35" fmla="*/ 1167731 w 6123903"/>
                  <a:gd name="connsiteY35" fmla="*/ 5490605 h 6114381"/>
                  <a:gd name="connsiteX36" fmla="*/ 637011 w 6123903"/>
                  <a:gd name="connsiteY36" fmla="*/ 4980320 h 6114381"/>
                  <a:gd name="connsiteX37" fmla="*/ 949593 w 6123903"/>
                  <a:gd name="connsiteY37" fmla="*/ 4281769 h 6114381"/>
                  <a:gd name="connsiteX38" fmla="*/ 879944 w 6123903"/>
                  <a:gd name="connsiteY38" fmla="*/ 4154460 h 6114381"/>
                  <a:gd name="connsiteX39" fmla="*/ 736119 w 6123903"/>
                  <a:gd name="connsiteY39" fmla="*/ 3795858 h 6114381"/>
                  <a:gd name="connsiteX40" fmla="*/ 704946 w 6123903"/>
                  <a:gd name="connsiteY40" fmla="*/ 3674624 h 6114381"/>
                  <a:gd name="connsiteX41" fmla="*/ 0 w 6123903"/>
                  <a:gd name="connsiteY41" fmla="*/ 3427700 h 6114381"/>
                  <a:gd name="connsiteX42" fmla="*/ 0 w 6123903"/>
                  <a:gd name="connsiteY42" fmla="*/ 2691456 h 6114381"/>
                  <a:gd name="connsiteX43" fmla="*/ 710874 w 6123903"/>
                  <a:gd name="connsiteY43" fmla="*/ 2435971 h 6114381"/>
                  <a:gd name="connsiteX44" fmla="*/ 739483 w 6123903"/>
                  <a:gd name="connsiteY44" fmla="*/ 2334920 h 6114381"/>
                  <a:gd name="connsiteX45" fmla="*/ 906871 w 6123903"/>
                  <a:gd name="connsiteY45" fmla="*/ 1934473 h 6114381"/>
                  <a:gd name="connsiteX46" fmla="*/ 966845 w 6123903"/>
                  <a:gd name="connsiteY46" fmla="*/ 1830886 h 6114381"/>
                  <a:gd name="connsiteX47" fmla="*/ 638488 w 6123903"/>
                  <a:gd name="connsiteY47" fmla="*/ 1160565 h 6114381"/>
                  <a:gd name="connsiteX48" fmla="*/ 1155427 w 6123903"/>
                  <a:gd name="connsiteY48" fmla="*/ 636323 h 6114381"/>
                  <a:gd name="connsiteX49" fmla="*/ 1849874 w 6123903"/>
                  <a:gd name="connsiteY49" fmla="*/ 957643 h 6114381"/>
                  <a:gd name="connsiteX50" fmla="*/ 1981186 w 6123903"/>
                  <a:gd name="connsiteY50" fmla="*/ 885803 h 6114381"/>
                  <a:gd name="connsiteX51" fmla="*/ 2339788 w 6123903"/>
                  <a:gd name="connsiteY51" fmla="*/ 741978 h 6114381"/>
                  <a:gd name="connsiteX52" fmla="*/ 2435401 w 6123903"/>
                  <a:gd name="connsiteY52" fmla="*/ 717393 h 611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6123903" h="6114381">
                    <a:moveTo>
                      <a:pt x="3064893" y="1851552"/>
                    </a:moveTo>
                    <a:cubicBezTo>
                      <a:pt x="2391547" y="1851552"/>
                      <a:pt x="1845693" y="2397406"/>
                      <a:pt x="1845693" y="3070752"/>
                    </a:cubicBezTo>
                    <a:cubicBezTo>
                      <a:pt x="1845693" y="3744098"/>
                      <a:pt x="2391547" y="4289952"/>
                      <a:pt x="3064893" y="4289952"/>
                    </a:cubicBezTo>
                    <a:cubicBezTo>
                      <a:pt x="3738239" y="4289952"/>
                      <a:pt x="4284093" y="3744098"/>
                      <a:pt x="4284093" y="3070752"/>
                    </a:cubicBezTo>
                    <a:cubicBezTo>
                      <a:pt x="4284093" y="2397406"/>
                      <a:pt x="3738239" y="1851552"/>
                      <a:pt x="3064893" y="1851552"/>
                    </a:cubicBezTo>
                    <a:close/>
                    <a:moveTo>
                      <a:pt x="2686685" y="0"/>
                    </a:moveTo>
                    <a:lnTo>
                      <a:pt x="3422929" y="0"/>
                    </a:lnTo>
                    <a:lnTo>
                      <a:pt x="3678191" y="710255"/>
                    </a:lnTo>
                    <a:lnTo>
                      <a:pt x="3818556" y="751055"/>
                    </a:lnTo>
                    <a:cubicBezTo>
                      <a:pt x="3960958" y="797289"/>
                      <a:pt x="4097615" y="856271"/>
                      <a:pt x="4227179" y="926655"/>
                    </a:cubicBezTo>
                    <a:lnTo>
                      <a:pt x="4282555" y="960296"/>
                    </a:lnTo>
                    <a:lnTo>
                      <a:pt x="4970765" y="634253"/>
                    </a:lnTo>
                    <a:lnTo>
                      <a:pt x="5488211" y="1157995"/>
                    </a:lnTo>
                    <a:lnTo>
                      <a:pt x="5164247" y="1834816"/>
                    </a:lnTo>
                    <a:lnTo>
                      <a:pt x="5208991" y="1908466"/>
                    </a:lnTo>
                    <a:cubicBezTo>
                      <a:pt x="5279375" y="2038031"/>
                      <a:pt x="5338357" y="2174687"/>
                      <a:pt x="5384591" y="2317090"/>
                    </a:cubicBezTo>
                    <a:lnTo>
                      <a:pt x="5421936" y="2445569"/>
                    </a:lnTo>
                    <a:lnTo>
                      <a:pt x="6123903" y="2691449"/>
                    </a:lnTo>
                    <a:lnTo>
                      <a:pt x="6123903" y="3427693"/>
                    </a:lnTo>
                    <a:lnTo>
                      <a:pt x="5426625" y="3678291"/>
                    </a:lnTo>
                    <a:lnTo>
                      <a:pt x="5390304" y="3806584"/>
                    </a:lnTo>
                    <a:cubicBezTo>
                      <a:pt x="5346264" y="3945892"/>
                      <a:pt x="5290052" y="4079790"/>
                      <a:pt x="5222916" y="4207031"/>
                    </a:cubicBezTo>
                    <a:lnTo>
                      <a:pt x="5171917" y="4295117"/>
                    </a:lnTo>
                    <a:lnTo>
                      <a:pt x="5484219" y="4978630"/>
                    </a:lnTo>
                    <a:lnTo>
                      <a:pt x="4953361" y="5488772"/>
                    </a:lnTo>
                    <a:lnTo>
                      <a:pt x="4307701" y="5168660"/>
                    </a:lnTo>
                    <a:lnTo>
                      <a:pt x="4148601" y="5255702"/>
                    </a:lnTo>
                    <a:cubicBezTo>
                      <a:pt x="4033899" y="5312702"/>
                      <a:pt x="3914073" y="5360936"/>
                      <a:pt x="3789999" y="5399527"/>
                    </a:cubicBezTo>
                    <a:lnTo>
                      <a:pt x="3672243" y="5429805"/>
                    </a:lnTo>
                    <a:lnTo>
                      <a:pt x="3432454" y="6114381"/>
                    </a:lnTo>
                    <a:lnTo>
                      <a:pt x="2696210" y="6114381"/>
                    </a:lnTo>
                    <a:lnTo>
                      <a:pt x="2450436" y="5430525"/>
                    </a:lnTo>
                    <a:lnTo>
                      <a:pt x="2329062" y="5396163"/>
                    </a:lnTo>
                    <a:cubicBezTo>
                      <a:pt x="2189754" y="5352123"/>
                      <a:pt x="2055856" y="5295911"/>
                      <a:pt x="1928614" y="5228775"/>
                    </a:cubicBezTo>
                    <a:lnTo>
                      <a:pt x="1815331" y="5163187"/>
                    </a:lnTo>
                    <a:lnTo>
                      <a:pt x="1167731" y="5490605"/>
                    </a:lnTo>
                    <a:lnTo>
                      <a:pt x="637011" y="4980320"/>
                    </a:lnTo>
                    <a:lnTo>
                      <a:pt x="949593" y="4281769"/>
                    </a:lnTo>
                    <a:lnTo>
                      <a:pt x="879944" y="4154460"/>
                    </a:lnTo>
                    <a:cubicBezTo>
                      <a:pt x="822944" y="4039758"/>
                      <a:pt x="774710" y="3919932"/>
                      <a:pt x="736119" y="3795858"/>
                    </a:cubicBezTo>
                    <a:lnTo>
                      <a:pt x="704946" y="3674624"/>
                    </a:lnTo>
                    <a:lnTo>
                      <a:pt x="0" y="3427700"/>
                    </a:lnTo>
                    <a:lnTo>
                      <a:pt x="0" y="2691456"/>
                    </a:lnTo>
                    <a:lnTo>
                      <a:pt x="710874" y="2435971"/>
                    </a:lnTo>
                    <a:lnTo>
                      <a:pt x="739483" y="2334920"/>
                    </a:lnTo>
                    <a:cubicBezTo>
                      <a:pt x="783523" y="2195614"/>
                      <a:pt x="839735" y="2061715"/>
                      <a:pt x="906871" y="1934473"/>
                    </a:cubicBezTo>
                    <a:lnTo>
                      <a:pt x="966845" y="1830886"/>
                    </a:lnTo>
                    <a:lnTo>
                      <a:pt x="638488" y="1160565"/>
                    </a:lnTo>
                    <a:lnTo>
                      <a:pt x="1155427" y="636323"/>
                    </a:lnTo>
                    <a:lnTo>
                      <a:pt x="1849874" y="957643"/>
                    </a:lnTo>
                    <a:lnTo>
                      <a:pt x="1981186" y="885803"/>
                    </a:lnTo>
                    <a:cubicBezTo>
                      <a:pt x="2095887" y="828803"/>
                      <a:pt x="2215713" y="780570"/>
                      <a:pt x="2339788" y="741978"/>
                    </a:cubicBezTo>
                    <a:lnTo>
                      <a:pt x="2435401" y="717393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9" name="Freeform 28"/>
              <p:cNvSpPr/>
              <p:nvPr/>
            </p:nvSpPr>
            <p:spPr>
              <a:xfrm rot="21290135">
                <a:off x="1788507" y="5851303"/>
                <a:ext cx="968485" cy="966979"/>
              </a:xfrm>
              <a:custGeom>
                <a:avLst/>
                <a:gdLst>
                  <a:gd name="connsiteX0" fmla="*/ 3064893 w 6123903"/>
                  <a:gd name="connsiteY0" fmla="*/ 1851552 h 6114381"/>
                  <a:gd name="connsiteX1" fmla="*/ 1845693 w 6123903"/>
                  <a:gd name="connsiteY1" fmla="*/ 3070752 h 6114381"/>
                  <a:gd name="connsiteX2" fmla="*/ 3064893 w 6123903"/>
                  <a:gd name="connsiteY2" fmla="*/ 4289952 h 6114381"/>
                  <a:gd name="connsiteX3" fmla="*/ 4284093 w 6123903"/>
                  <a:gd name="connsiteY3" fmla="*/ 3070752 h 6114381"/>
                  <a:gd name="connsiteX4" fmla="*/ 3064893 w 6123903"/>
                  <a:gd name="connsiteY4" fmla="*/ 1851552 h 6114381"/>
                  <a:gd name="connsiteX5" fmla="*/ 2686685 w 6123903"/>
                  <a:gd name="connsiteY5" fmla="*/ 0 h 6114381"/>
                  <a:gd name="connsiteX6" fmla="*/ 3422929 w 6123903"/>
                  <a:gd name="connsiteY6" fmla="*/ 0 h 6114381"/>
                  <a:gd name="connsiteX7" fmla="*/ 3678191 w 6123903"/>
                  <a:gd name="connsiteY7" fmla="*/ 710255 h 6114381"/>
                  <a:gd name="connsiteX8" fmla="*/ 3818556 w 6123903"/>
                  <a:gd name="connsiteY8" fmla="*/ 751055 h 6114381"/>
                  <a:gd name="connsiteX9" fmla="*/ 4227179 w 6123903"/>
                  <a:gd name="connsiteY9" fmla="*/ 926655 h 6114381"/>
                  <a:gd name="connsiteX10" fmla="*/ 4282555 w 6123903"/>
                  <a:gd name="connsiteY10" fmla="*/ 960296 h 6114381"/>
                  <a:gd name="connsiteX11" fmla="*/ 4970765 w 6123903"/>
                  <a:gd name="connsiteY11" fmla="*/ 634253 h 6114381"/>
                  <a:gd name="connsiteX12" fmla="*/ 5488211 w 6123903"/>
                  <a:gd name="connsiteY12" fmla="*/ 1157995 h 6114381"/>
                  <a:gd name="connsiteX13" fmla="*/ 5164247 w 6123903"/>
                  <a:gd name="connsiteY13" fmla="*/ 1834816 h 6114381"/>
                  <a:gd name="connsiteX14" fmla="*/ 5208991 w 6123903"/>
                  <a:gd name="connsiteY14" fmla="*/ 1908466 h 6114381"/>
                  <a:gd name="connsiteX15" fmla="*/ 5384591 w 6123903"/>
                  <a:gd name="connsiteY15" fmla="*/ 2317090 h 6114381"/>
                  <a:gd name="connsiteX16" fmla="*/ 5421936 w 6123903"/>
                  <a:gd name="connsiteY16" fmla="*/ 2445569 h 6114381"/>
                  <a:gd name="connsiteX17" fmla="*/ 6123903 w 6123903"/>
                  <a:gd name="connsiteY17" fmla="*/ 2691449 h 6114381"/>
                  <a:gd name="connsiteX18" fmla="*/ 6123903 w 6123903"/>
                  <a:gd name="connsiteY18" fmla="*/ 3427693 h 6114381"/>
                  <a:gd name="connsiteX19" fmla="*/ 5426625 w 6123903"/>
                  <a:gd name="connsiteY19" fmla="*/ 3678291 h 6114381"/>
                  <a:gd name="connsiteX20" fmla="*/ 5390304 w 6123903"/>
                  <a:gd name="connsiteY20" fmla="*/ 3806584 h 6114381"/>
                  <a:gd name="connsiteX21" fmla="*/ 5222916 w 6123903"/>
                  <a:gd name="connsiteY21" fmla="*/ 4207031 h 6114381"/>
                  <a:gd name="connsiteX22" fmla="*/ 5171917 w 6123903"/>
                  <a:gd name="connsiteY22" fmla="*/ 4295117 h 6114381"/>
                  <a:gd name="connsiteX23" fmla="*/ 5484219 w 6123903"/>
                  <a:gd name="connsiteY23" fmla="*/ 4978630 h 6114381"/>
                  <a:gd name="connsiteX24" fmla="*/ 4953361 w 6123903"/>
                  <a:gd name="connsiteY24" fmla="*/ 5488772 h 6114381"/>
                  <a:gd name="connsiteX25" fmla="*/ 4307701 w 6123903"/>
                  <a:gd name="connsiteY25" fmla="*/ 5168660 h 6114381"/>
                  <a:gd name="connsiteX26" fmla="*/ 4148601 w 6123903"/>
                  <a:gd name="connsiteY26" fmla="*/ 5255702 h 6114381"/>
                  <a:gd name="connsiteX27" fmla="*/ 3789999 w 6123903"/>
                  <a:gd name="connsiteY27" fmla="*/ 5399527 h 6114381"/>
                  <a:gd name="connsiteX28" fmla="*/ 3672243 w 6123903"/>
                  <a:gd name="connsiteY28" fmla="*/ 5429805 h 6114381"/>
                  <a:gd name="connsiteX29" fmla="*/ 3432454 w 6123903"/>
                  <a:gd name="connsiteY29" fmla="*/ 6114381 h 6114381"/>
                  <a:gd name="connsiteX30" fmla="*/ 2696210 w 6123903"/>
                  <a:gd name="connsiteY30" fmla="*/ 6114381 h 6114381"/>
                  <a:gd name="connsiteX31" fmla="*/ 2450436 w 6123903"/>
                  <a:gd name="connsiteY31" fmla="*/ 5430525 h 6114381"/>
                  <a:gd name="connsiteX32" fmla="*/ 2329062 w 6123903"/>
                  <a:gd name="connsiteY32" fmla="*/ 5396163 h 6114381"/>
                  <a:gd name="connsiteX33" fmla="*/ 1928614 w 6123903"/>
                  <a:gd name="connsiteY33" fmla="*/ 5228775 h 6114381"/>
                  <a:gd name="connsiteX34" fmla="*/ 1815331 w 6123903"/>
                  <a:gd name="connsiteY34" fmla="*/ 5163187 h 6114381"/>
                  <a:gd name="connsiteX35" fmla="*/ 1167731 w 6123903"/>
                  <a:gd name="connsiteY35" fmla="*/ 5490605 h 6114381"/>
                  <a:gd name="connsiteX36" fmla="*/ 637011 w 6123903"/>
                  <a:gd name="connsiteY36" fmla="*/ 4980320 h 6114381"/>
                  <a:gd name="connsiteX37" fmla="*/ 949593 w 6123903"/>
                  <a:gd name="connsiteY37" fmla="*/ 4281769 h 6114381"/>
                  <a:gd name="connsiteX38" fmla="*/ 879944 w 6123903"/>
                  <a:gd name="connsiteY38" fmla="*/ 4154460 h 6114381"/>
                  <a:gd name="connsiteX39" fmla="*/ 736119 w 6123903"/>
                  <a:gd name="connsiteY39" fmla="*/ 3795858 h 6114381"/>
                  <a:gd name="connsiteX40" fmla="*/ 704946 w 6123903"/>
                  <a:gd name="connsiteY40" fmla="*/ 3674624 h 6114381"/>
                  <a:gd name="connsiteX41" fmla="*/ 0 w 6123903"/>
                  <a:gd name="connsiteY41" fmla="*/ 3427700 h 6114381"/>
                  <a:gd name="connsiteX42" fmla="*/ 0 w 6123903"/>
                  <a:gd name="connsiteY42" fmla="*/ 2691456 h 6114381"/>
                  <a:gd name="connsiteX43" fmla="*/ 710874 w 6123903"/>
                  <a:gd name="connsiteY43" fmla="*/ 2435971 h 6114381"/>
                  <a:gd name="connsiteX44" fmla="*/ 739483 w 6123903"/>
                  <a:gd name="connsiteY44" fmla="*/ 2334920 h 6114381"/>
                  <a:gd name="connsiteX45" fmla="*/ 906871 w 6123903"/>
                  <a:gd name="connsiteY45" fmla="*/ 1934473 h 6114381"/>
                  <a:gd name="connsiteX46" fmla="*/ 966845 w 6123903"/>
                  <a:gd name="connsiteY46" fmla="*/ 1830886 h 6114381"/>
                  <a:gd name="connsiteX47" fmla="*/ 638488 w 6123903"/>
                  <a:gd name="connsiteY47" fmla="*/ 1160565 h 6114381"/>
                  <a:gd name="connsiteX48" fmla="*/ 1155427 w 6123903"/>
                  <a:gd name="connsiteY48" fmla="*/ 636323 h 6114381"/>
                  <a:gd name="connsiteX49" fmla="*/ 1849874 w 6123903"/>
                  <a:gd name="connsiteY49" fmla="*/ 957643 h 6114381"/>
                  <a:gd name="connsiteX50" fmla="*/ 1981186 w 6123903"/>
                  <a:gd name="connsiteY50" fmla="*/ 885803 h 6114381"/>
                  <a:gd name="connsiteX51" fmla="*/ 2339788 w 6123903"/>
                  <a:gd name="connsiteY51" fmla="*/ 741978 h 6114381"/>
                  <a:gd name="connsiteX52" fmla="*/ 2435401 w 6123903"/>
                  <a:gd name="connsiteY52" fmla="*/ 717393 h 611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6123903" h="6114381">
                    <a:moveTo>
                      <a:pt x="3064893" y="1851552"/>
                    </a:moveTo>
                    <a:cubicBezTo>
                      <a:pt x="2391547" y="1851552"/>
                      <a:pt x="1845693" y="2397406"/>
                      <a:pt x="1845693" y="3070752"/>
                    </a:cubicBezTo>
                    <a:cubicBezTo>
                      <a:pt x="1845693" y="3744098"/>
                      <a:pt x="2391547" y="4289952"/>
                      <a:pt x="3064893" y="4289952"/>
                    </a:cubicBezTo>
                    <a:cubicBezTo>
                      <a:pt x="3738239" y="4289952"/>
                      <a:pt x="4284093" y="3744098"/>
                      <a:pt x="4284093" y="3070752"/>
                    </a:cubicBezTo>
                    <a:cubicBezTo>
                      <a:pt x="4284093" y="2397406"/>
                      <a:pt x="3738239" y="1851552"/>
                      <a:pt x="3064893" y="1851552"/>
                    </a:cubicBezTo>
                    <a:close/>
                    <a:moveTo>
                      <a:pt x="2686685" y="0"/>
                    </a:moveTo>
                    <a:lnTo>
                      <a:pt x="3422929" y="0"/>
                    </a:lnTo>
                    <a:lnTo>
                      <a:pt x="3678191" y="710255"/>
                    </a:lnTo>
                    <a:lnTo>
                      <a:pt x="3818556" y="751055"/>
                    </a:lnTo>
                    <a:cubicBezTo>
                      <a:pt x="3960958" y="797289"/>
                      <a:pt x="4097615" y="856271"/>
                      <a:pt x="4227179" y="926655"/>
                    </a:cubicBezTo>
                    <a:lnTo>
                      <a:pt x="4282555" y="960296"/>
                    </a:lnTo>
                    <a:lnTo>
                      <a:pt x="4970765" y="634253"/>
                    </a:lnTo>
                    <a:lnTo>
                      <a:pt x="5488211" y="1157995"/>
                    </a:lnTo>
                    <a:lnTo>
                      <a:pt x="5164247" y="1834816"/>
                    </a:lnTo>
                    <a:lnTo>
                      <a:pt x="5208991" y="1908466"/>
                    </a:lnTo>
                    <a:cubicBezTo>
                      <a:pt x="5279375" y="2038031"/>
                      <a:pt x="5338357" y="2174687"/>
                      <a:pt x="5384591" y="2317090"/>
                    </a:cubicBezTo>
                    <a:lnTo>
                      <a:pt x="5421936" y="2445569"/>
                    </a:lnTo>
                    <a:lnTo>
                      <a:pt x="6123903" y="2691449"/>
                    </a:lnTo>
                    <a:lnTo>
                      <a:pt x="6123903" y="3427693"/>
                    </a:lnTo>
                    <a:lnTo>
                      <a:pt x="5426625" y="3678291"/>
                    </a:lnTo>
                    <a:lnTo>
                      <a:pt x="5390304" y="3806584"/>
                    </a:lnTo>
                    <a:cubicBezTo>
                      <a:pt x="5346264" y="3945892"/>
                      <a:pt x="5290052" y="4079790"/>
                      <a:pt x="5222916" y="4207031"/>
                    </a:cubicBezTo>
                    <a:lnTo>
                      <a:pt x="5171917" y="4295117"/>
                    </a:lnTo>
                    <a:lnTo>
                      <a:pt x="5484219" y="4978630"/>
                    </a:lnTo>
                    <a:lnTo>
                      <a:pt x="4953361" y="5488772"/>
                    </a:lnTo>
                    <a:lnTo>
                      <a:pt x="4307701" y="5168660"/>
                    </a:lnTo>
                    <a:lnTo>
                      <a:pt x="4148601" y="5255702"/>
                    </a:lnTo>
                    <a:cubicBezTo>
                      <a:pt x="4033899" y="5312702"/>
                      <a:pt x="3914073" y="5360936"/>
                      <a:pt x="3789999" y="5399527"/>
                    </a:cubicBezTo>
                    <a:lnTo>
                      <a:pt x="3672243" y="5429805"/>
                    </a:lnTo>
                    <a:lnTo>
                      <a:pt x="3432454" y="6114381"/>
                    </a:lnTo>
                    <a:lnTo>
                      <a:pt x="2696210" y="6114381"/>
                    </a:lnTo>
                    <a:lnTo>
                      <a:pt x="2450436" y="5430525"/>
                    </a:lnTo>
                    <a:lnTo>
                      <a:pt x="2329062" y="5396163"/>
                    </a:lnTo>
                    <a:cubicBezTo>
                      <a:pt x="2189754" y="5352123"/>
                      <a:pt x="2055856" y="5295911"/>
                      <a:pt x="1928614" y="5228775"/>
                    </a:cubicBezTo>
                    <a:lnTo>
                      <a:pt x="1815331" y="5163187"/>
                    </a:lnTo>
                    <a:lnTo>
                      <a:pt x="1167731" y="5490605"/>
                    </a:lnTo>
                    <a:lnTo>
                      <a:pt x="637011" y="4980320"/>
                    </a:lnTo>
                    <a:lnTo>
                      <a:pt x="949593" y="4281769"/>
                    </a:lnTo>
                    <a:lnTo>
                      <a:pt x="879944" y="4154460"/>
                    </a:lnTo>
                    <a:cubicBezTo>
                      <a:pt x="822944" y="4039758"/>
                      <a:pt x="774710" y="3919932"/>
                      <a:pt x="736119" y="3795858"/>
                    </a:cubicBezTo>
                    <a:lnTo>
                      <a:pt x="704946" y="3674624"/>
                    </a:lnTo>
                    <a:lnTo>
                      <a:pt x="0" y="3427700"/>
                    </a:lnTo>
                    <a:lnTo>
                      <a:pt x="0" y="2691456"/>
                    </a:lnTo>
                    <a:lnTo>
                      <a:pt x="710874" y="2435971"/>
                    </a:lnTo>
                    <a:lnTo>
                      <a:pt x="739483" y="2334920"/>
                    </a:lnTo>
                    <a:cubicBezTo>
                      <a:pt x="783523" y="2195614"/>
                      <a:pt x="839735" y="2061715"/>
                      <a:pt x="906871" y="1934473"/>
                    </a:cubicBezTo>
                    <a:lnTo>
                      <a:pt x="966845" y="1830886"/>
                    </a:lnTo>
                    <a:lnTo>
                      <a:pt x="638488" y="1160565"/>
                    </a:lnTo>
                    <a:lnTo>
                      <a:pt x="1155427" y="636323"/>
                    </a:lnTo>
                    <a:lnTo>
                      <a:pt x="1849874" y="957643"/>
                    </a:lnTo>
                    <a:lnTo>
                      <a:pt x="1981186" y="885803"/>
                    </a:lnTo>
                    <a:cubicBezTo>
                      <a:pt x="2095887" y="828803"/>
                      <a:pt x="2215713" y="780570"/>
                      <a:pt x="2339788" y="741978"/>
                    </a:cubicBezTo>
                    <a:lnTo>
                      <a:pt x="2435401" y="717393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30" name="Freeform 29"/>
              <p:cNvSpPr/>
              <p:nvPr/>
            </p:nvSpPr>
            <p:spPr>
              <a:xfrm rot="21290135">
                <a:off x="2817783" y="5466494"/>
                <a:ext cx="968485" cy="966979"/>
              </a:xfrm>
              <a:custGeom>
                <a:avLst/>
                <a:gdLst>
                  <a:gd name="connsiteX0" fmla="*/ 3064893 w 6123903"/>
                  <a:gd name="connsiteY0" fmla="*/ 1851552 h 6114381"/>
                  <a:gd name="connsiteX1" fmla="*/ 1845693 w 6123903"/>
                  <a:gd name="connsiteY1" fmla="*/ 3070752 h 6114381"/>
                  <a:gd name="connsiteX2" fmla="*/ 3064893 w 6123903"/>
                  <a:gd name="connsiteY2" fmla="*/ 4289952 h 6114381"/>
                  <a:gd name="connsiteX3" fmla="*/ 4284093 w 6123903"/>
                  <a:gd name="connsiteY3" fmla="*/ 3070752 h 6114381"/>
                  <a:gd name="connsiteX4" fmla="*/ 3064893 w 6123903"/>
                  <a:gd name="connsiteY4" fmla="*/ 1851552 h 6114381"/>
                  <a:gd name="connsiteX5" fmla="*/ 2686685 w 6123903"/>
                  <a:gd name="connsiteY5" fmla="*/ 0 h 6114381"/>
                  <a:gd name="connsiteX6" fmla="*/ 3422929 w 6123903"/>
                  <a:gd name="connsiteY6" fmla="*/ 0 h 6114381"/>
                  <a:gd name="connsiteX7" fmla="*/ 3678191 w 6123903"/>
                  <a:gd name="connsiteY7" fmla="*/ 710255 h 6114381"/>
                  <a:gd name="connsiteX8" fmla="*/ 3818556 w 6123903"/>
                  <a:gd name="connsiteY8" fmla="*/ 751055 h 6114381"/>
                  <a:gd name="connsiteX9" fmla="*/ 4227179 w 6123903"/>
                  <a:gd name="connsiteY9" fmla="*/ 926655 h 6114381"/>
                  <a:gd name="connsiteX10" fmla="*/ 4282555 w 6123903"/>
                  <a:gd name="connsiteY10" fmla="*/ 960296 h 6114381"/>
                  <a:gd name="connsiteX11" fmla="*/ 4970765 w 6123903"/>
                  <a:gd name="connsiteY11" fmla="*/ 634253 h 6114381"/>
                  <a:gd name="connsiteX12" fmla="*/ 5488211 w 6123903"/>
                  <a:gd name="connsiteY12" fmla="*/ 1157995 h 6114381"/>
                  <a:gd name="connsiteX13" fmla="*/ 5164247 w 6123903"/>
                  <a:gd name="connsiteY13" fmla="*/ 1834816 h 6114381"/>
                  <a:gd name="connsiteX14" fmla="*/ 5208991 w 6123903"/>
                  <a:gd name="connsiteY14" fmla="*/ 1908466 h 6114381"/>
                  <a:gd name="connsiteX15" fmla="*/ 5384591 w 6123903"/>
                  <a:gd name="connsiteY15" fmla="*/ 2317090 h 6114381"/>
                  <a:gd name="connsiteX16" fmla="*/ 5421936 w 6123903"/>
                  <a:gd name="connsiteY16" fmla="*/ 2445569 h 6114381"/>
                  <a:gd name="connsiteX17" fmla="*/ 6123903 w 6123903"/>
                  <a:gd name="connsiteY17" fmla="*/ 2691449 h 6114381"/>
                  <a:gd name="connsiteX18" fmla="*/ 6123903 w 6123903"/>
                  <a:gd name="connsiteY18" fmla="*/ 3427693 h 6114381"/>
                  <a:gd name="connsiteX19" fmla="*/ 5426625 w 6123903"/>
                  <a:gd name="connsiteY19" fmla="*/ 3678291 h 6114381"/>
                  <a:gd name="connsiteX20" fmla="*/ 5390304 w 6123903"/>
                  <a:gd name="connsiteY20" fmla="*/ 3806584 h 6114381"/>
                  <a:gd name="connsiteX21" fmla="*/ 5222916 w 6123903"/>
                  <a:gd name="connsiteY21" fmla="*/ 4207031 h 6114381"/>
                  <a:gd name="connsiteX22" fmla="*/ 5171917 w 6123903"/>
                  <a:gd name="connsiteY22" fmla="*/ 4295117 h 6114381"/>
                  <a:gd name="connsiteX23" fmla="*/ 5484219 w 6123903"/>
                  <a:gd name="connsiteY23" fmla="*/ 4978630 h 6114381"/>
                  <a:gd name="connsiteX24" fmla="*/ 4953361 w 6123903"/>
                  <a:gd name="connsiteY24" fmla="*/ 5488772 h 6114381"/>
                  <a:gd name="connsiteX25" fmla="*/ 4307701 w 6123903"/>
                  <a:gd name="connsiteY25" fmla="*/ 5168660 h 6114381"/>
                  <a:gd name="connsiteX26" fmla="*/ 4148601 w 6123903"/>
                  <a:gd name="connsiteY26" fmla="*/ 5255702 h 6114381"/>
                  <a:gd name="connsiteX27" fmla="*/ 3789999 w 6123903"/>
                  <a:gd name="connsiteY27" fmla="*/ 5399527 h 6114381"/>
                  <a:gd name="connsiteX28" fmla="*/ 3672243 w 6123903"/>
                  <a:gd name="connsiteY28" fmla="*/ 5429805 h 6114381"/>
                  <a:gd name="connsiteX29" fmla="*/ 3432454 w 6123903"/>
                  <a:gd name="connsiteY29" fmla="*/ 6114381 h 6114381"/>
                  <a:gd name="connsiteX30" fmla="*/ 2696210 w 6123903"/>
                  <a:gd name="connsiteY30" fmla="*/ 6114381 h 6114381"/>
                  <a:gd name="connsiteX31" fmla="*/ 2450436 w 6123903"/>
                  <a:gd name="connsiteY31" fmla="*/ 5430525 h 6114381"/>
                  <a:gd name="connsiteX32" fmla="*/ 2329062 w 6123903"/>
                  <a:gd name="connsiteY32" fmla="*/ 5396163 h 6114381"/>
                  <a:gd name="connsiteX33" fmla="*/ 1928614 w 6123903"/>
                  <a:gd name="connsiteY33" fmla="*/ 5228775 h 6114381"/>
                  <a:gd name="connsiteX34" fmla="*/ 1815331 w 6123903"/>
                  <a:gd name="connsiteY34" fmla="*/ 5163187 h 6114381"/>
                  <a:gd name="connsiteX35" fmla="*/ 1167731 w 6123903"/>
                  <a:gd name="connsiteY35" fmla="*/ 5490605 h 6114381"/>
                  <a:gd name="connsiteX36" fmla="*/ 637011 w 6123903"/>
                  <a:gd name="connsiteY36" fmla="*/ 4980320 h 6114381"/>
                  <a:gd name="connsiteX37" fmla="*/ 949593 w 6123903"/>
                  <a:gd name="connsiteY37" fmla="*/ 4281769 h 6114381"/>
                  <a:gd name="connsiteX38" fmla="*/ 879944 w 6123903"/>
                  <a:gd name="connsiteY38" fmla="*/ 4154460 h 6114381"/>
                  <a:gd name="connsiteX39" fmla="*/ 736119 w 6123903"/>
                  <a:gd name="connsiteY39" fmla="*/ 3795858 h 6114381"/>
                  <a:gd name="connsiteX40" fmla="*/ 704946 w 6123903"/>
                  <a:gd name="connsiteY40" fmla="*/ 3674624 h 6114381"/>
                  <a:gd name="connsiteX41" fmla="*/ 0 w 6123903"/>
                  <a:gd name="connsiteY41" fmla="*/ 3427700 h 6114381"/>
                  <a:gd name="connsiteX42" fmla="*/ 0 w 6123903"/>
                  <a:gd name="connsiteY42" fmla="*/ 2691456 h 6114381"/>
                  <a:gd name="connsiteX43" fmla="*/ 710874 w 6123903"/>
                  <a:gd name="connsiteY43" fmla="*/ 2435971 h 6114381"/>
                  <a:gd name="connsiteX44" fmla="*/ 739483 w 6123903"/>
                  <a:gd name="connsiteY44" fmla="*/ 2334920 h 6114381"/>
                  <a:gd name="connsiteX45" fmla="*/ 906871 w 6123903"/>
                  <a:gd name="connsiteY45" fmla="*/ 1934473 h 6114381"/>
                  <a:gd name="connsiteX46" fmla="*/ 966845 w 6123903"/>
                  <a:gd name="connsiteY46" fmla="*/ 1830886 h 6114381"/>
                  <a:gd name="connsiteX47" fmla="*/ 638488 w 6123903"/>
                  <a:gd name="connsiteY47" fmla="*/ 1160565 h 6114381"/>
                  <a:gd name="connsiteX48" fmla="*/ 1155427 w 6123903"/>
                  <a:gd name="connsiteY48" fmla="*/ 636323 h 6114381"/>
                  <a:gd name="connsiteX49" fmla="*/ 1849874 w 6123903"/>
                  <a:gd name="connsiteY49" fmla="*/ 957643 h 6114381"/>
                  <a:gd name="connsiteX50" fmla="*/ 1981186 w 6123903"/>
                  <a:gd name="connsiteY50" fmla="*/ 885803 h 6114381"/>
                  <a:gd name="connsiteX51" fmla="*/ 2339788 w 6123903"/>
                  <a:gd name="connsiteY51" fmla="*/ 741978 h 6114381"/>
                  <a:gd name="connsiteX52" fmla="*/ 2435401 w 6123903"/>
                  <a:gd name="connsiteY52" fmla="*/ 717393 h 611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6123903" h="6114381">
                    <a:moveTo>
                      <a:pt x="3064893" y="1851552"/>
                    </a:moveTo>
                    <a:cubicBezTo>
                      <a:pt x="2391547" y="1851552"/>
                      <a:pt x="1845693" y="2397406"/>
                      <a:pt x="1845693" y="3070752"/>
                    </a:cubicBezTo>
                    <a:cubicBezTo>
                      <a:pt x="1845693" y="3744098"/>
                      <a:pt x="2391547" y="4289952"/>
                      <a:pt x="3064893" y="4289952"/>
                    </a:cubicBezTo>
                    <a:cubicBezTo>
                      <a:pt x="3738239" y="4289952"/>
                      <a:pt x="4284093" y="3744098"/>
                      <a:pt x="4284093" y="3070752"/>
                    </a:cubicBezTo>
                    <a:cubicBezTo>
                      <a:pt x="4284093" y="2397406"/>
                      <a:pt x="3738239" y="1851552"/>
                      <a:pt x="3064893" y="1851552"/>
                    </a:cubicBezTo>
                    <a:close/>
                    <a:moveTo>
                      <a:pt x="2686685" y="0"/>
                    </a:moveTo>
                    <a:lnTo>
                      <a:pt x="3422929" y="0"/>
                    </a:lnTo>
                    <a:lnTo>
                      <a:pt x="3678191" y="710255"/>
                    </a:lnTo>
                    <a:lnTo>
                      <a:pt x="3818556" y="751055"/>
                    </a:lnTo>
                    <a:cubicBezTo>
                      <a:pt x="3960958" y="797289"/>
                      <a:pt x="4097615" y="856271"/>
                      <a:pt x="4227179" y="926655"/>
                    </a:cubicBezTo>
                    <a:lnTo>
                      <a:pt x="4282555" y="960296"/>
                    </a:lnTo>
                    <a:lnTo>
                      <a:pt x="4970765" y="634253"/>
                    </a:lnTo>
                    <a:lnTo>
                      <a:pt x="5488211" y="1157995"/>
                    </a:lnTo>
                    <a:lnTo>
                      <a:pt x="5164247" y="1834816"/>
                    </a:lnTo>
                    <a:lnTo>
                      <a:pt x="5208991" y="1908466"/>
                    </a:lnTo>
                    <a:cubicBezTo>
                      <a:pt x="5279375" y="2038031"/>
                      <a:pt x="5338357" y="2174687"/>
                      <a:pt x="5384591" y="2317090"/>
                    </a:cubicBezTo>
                    <a:lnTo>
                      <a:pt x="5421936" y="2445569"/>
                    </a:lnTo>
                    <a:lnTo>
                      <a:pt x="6123903" y="2691449"/>
                    </a:lnTo>
                    <a:lnTo>
                      <a:pt x="6123903" y="3427693"/>
                    </a:lnTo>
                    <a:lnTo>
                      <a:pt x="5426625" y="3678291"/>
                    </a:lnTo>
                    <a:lnTo>
                      <a:pt x="5390304" y="3806584"/>
                    </a:lnTo>
                    <a:cubicBezTo>
                      <a:pt x="5346264" y="3945892"/>
                      <a:pt x="5290052" y="4079790"/>
                      <a:pt x="5222916" y="4207031"/>
                    </a:cubicBezTo>
                    <a:lnTo>
                      <a:pt x="5171917" y="4295117"/>
                    </a:lnTo>
                    <a:lnTo>
                      <a:pt x="5484219" y="4978630"/>
                    </a:lnTo>
                    <a:lnTo>
                      <a:pt x="4953361" y="5488772"/>
                    </a:lnTo>
                    <a:lnTo>
                      <a:pt x="4307701" y="5168660"/>
                    </a:lnTo>
                    <a:lnTo>
                      <a:pt x="4148601" y="5255702"/>
                    </a:lnTo>
                    <a:cubicBezTo>
                      <a:pt x="4033899" y="5312702"/>
                      <a:pt x="3914073" y="5360936"/>
                      <a:pt x="3789999" y="5399527"/>
                    </a:cubicBezTo>
                    <a:lnTo>
                      <a:pt x="3672243" y="5429805"/>
                    </a:lnTo>
                    <a:lnTo>
                      <a:pt x="3432454" y="6114381"/>
                    </a:lnTo>
                    <a:lnTo>
                      <a:pt x="2696210" y="6114381"/>
                    </a:lnTo>
                    <a:lnTo>
                      <a:pt x="2450436" y="5430525"/>
                    </a:lnTo>
                    <a:lnTo>
                      <a:pt x="2329062" y="5396163"/>
                    </a:lnTo>
                    <a:cubicBezTo>
                      <a:pt x="2189754" y="5352123"/>
                      <a:pt x="2055856" y="5295911"/>
                      <a:pt x="1928614" y="5228775"/>
                    </a:cubicBezTo>
                    <a:lnTo>
                      <a:pt x="1815331" y="5163187"/>
                    </a:lnTo>
                    <a:lnTo>
                      <a:pt x="1167731" y="5490605"/>
                    </a:lnTo>
                    <a:lnTo>
                      <a:pt x="637011" y="4980320"/>
                    </a:lnTo>
                    <a:lnTo>
                      <a:pt x="949593" y="4281769"/>
                    </a:lnTo>
                    <a:lnTo>
                      <a:pt x="879944" y="4154460"/>
                    </a:lnTo>
                    <a:cubicBezTo>
                      <a:pt x="822944" y="4039758"/>
                      <a:pt x="774710" y="3919932"/>
                      <a:pt x="736119" y="3795858"/>
                    </a:cubicBezTo>
                    <a:lnTo>
                      <a:pt x="704946" y="3674624"/>
                    </a:lnTo>
                    <a:lnTo>
                      <a:pt x="0" y="3427700"/>
                    </a:lnTo>
                    <a:lnTo>
                      <a:pt x="0" y="2691456"/>
                    </a:lnTo>
                    <a:lnTo>
                      <a:pt x="710874" y="2435971"/>
                    </a:lnTo>
                    <a:lnTo>
                      <a:pt x="739483" y="2334920"/>
                    </a:lnTo>
                    <a:cubicBezTo>
                      <a:pt x="783523" y="2195614"/>
                      <a:pt x="839735" y="2061715"/>
                      <a:pt x="906871" y="1934473"/>
                    </a:cubicBezTo>
                    <a:lnTo>
                      <a:pt x="966845" y="1830886"/>
                    </a:lnTo>
                    <a:lnTo>
                      <a:pt x="638488" y="1160565"/>
                    </a:lnTo>
                    <a:lnTo>
                      <a:pt x="1155427" y="636323"/>
                    </a:lnTo>
                    <a:lnTo>
                      <a:pt x="1849874" y="957643"/>
                    </a:lnTo>
                    <a:lnTo>
                      <a:pt x="1981186" y="885803"/>
                    </a:lnTo>
                    <a:cubicBezTo>
                      <a:pt x="2095887" y="828803"/>
                      <a:pt x="2215713" y="780570"/>
                      <a:pt x="2339788" y="741978"/>
                    </a:cubicBezTo>
                    <a:lnTo>
                      <a:pt x="2435401" y="717393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31" name="Freeform 30"/>
              <p:cNvSpPr/>
              <p:nvPr/>
            </p:nvSpPr>
            <p:spPr>
              <a:xfrm rot="21290135">
                <a:off x="3172038" y="4372492"/>
                <a:ext cx="968485" cy="966979"/>
              </a:xfrm>
              <a:custGeom>
                <a:avLst/>
                <a:gdLst>
                  <a:gd name="connsiteX0" fmla="*/ 3064893 w 6123903"/>
                  <a:gd name="connsiteY0" fmla="*/ 1851552 h 6114381"/>
                  <a:gd name="connsiteX1" fmla="*/ 1845693 w 6123903"/>
                  <a:gd name="connsiteY1" fmla="*/ 3070752 h 6114381"/>
                  <a:gd name="connsiteX2" fmla="*/ 3064893 w 6123903"/>
                  <a:gd name="connsiteY2" fmla="*/ 4289952 h 6114381"/>
                  <a:gd name="connsiteX3" fmla="*/ 4284093 w 6123903"/>
                  <a:gd name="connsiteY3" fmla="*/ 3070752 h 6114381"/>
                  <a:gd name="connsiteX4" fmla="*/ 3064893 w 6123903"/>
                  <a:gd name="connsiteY4" fmla="*/ 1851552 h 6114381"/>
                  <a:gd name="connsiteX5" fmla="*/ 2686685 w 6123903"/>
                  <a:gd name="connsiteY5" fmla="*/ 0 h 6114381"/>
                  <a:gd name="connsiteX6" fmla="*/ 3422929 w 6123903"/>
                  <a:gd name="connsiteY6" fmla="*/ 0 h 6114381"/>
                  <a:gd name="connsiteX7" fmla="*/ 3678191 w 6123903"/>
                  <a:gd name="connsiteY7" fmla="*/ 710255 h 6114381"/>
                  <a:gd name="connsiteX8" fmla="*/ 3818556 w 6123903"/>
                  <a:gd name="connsiteY8" fmla="*/ 751055 h 6114381"/>
                  <a:gd name="connsiteX9" fmla="*/ 4227179 w 6123903"/>
                  <a:gd name="connsiteY9" fmla="*/ 926655 h 6114381"/>
                  <a:gd name="connsiteX10" fmla="*/ 4282555 w 6123903"/>
                  <a:gd name="connsiteY10" fmla="*/ 960296 h 6114381"/>
                  <a:gd name="connsiteX11" fmla="*/ 4970765 w 6123903"/>
                  <a:gd name="connsiteY11" fmla="*/ 634253 h 6114381"/>
                  <a:gd name="connsiteX12" fmla="*/ 5488211 w 6123903"/>
                  <a:gd name="connsiteY12" fmla="*/ 1157995 h 6114381"/>
                  <a:gd name="connsiteX13" fmla="*/ 5164247 w 6123903"/>
                  <a:gd name="connsiteY13" fmla="*/ 1834816 h 6114381"/>
                  <a:gd name="connsiteX14" fmla="*/ 5208991 w 6123903"/>
                  <a:gd name="connsiteY14" fmla="*/ 1908466 h 6114381"/>
                  <a:gd name="connsiteX15" fmla="*/ 5384591 w 6123903"/>
                  <a:gd name="connsiteY15" fmla="*/ 2317090 h 6114381"/>
                  <a:gd name="connsiteX16" fmla="*/ 5421936 w 6123903"/>
                  <a:gd name="connsiteY16" fmla="*/ 2445569 h 6114381"/>
                  <a:gd name="connsiteX17" fmla="*/ 6123903 w 6123903"/>
                  <a:gd name="connsiteY17" fmla="*/ 2691449 h 6114381"/>
                  <a:gd name="connsiteX18" fmla="*/ 6123903 w 6123903"/>
                  <a:gd name="connsiteY18" fmla="*/ 3427693 h 6114381"/>
                  <a:gd name="connsiteX19" fmla="*/ 5426625 w 6123903"/>
                  <a:gd name="connsiteY19" fmla="*/ 3678291 h 6114381"/>
                  <a:gd name="connsiteX20" fmla="*/ 5390304 w 6123903"/>
                  <a:gd name="connsiteY20" fmla="*/ 3806584 h 6114381"/>
                  <a:gd name="connsiteX21" fmla="*/ 5222916 w 6123903"/>
                  <a:gd name="connsiteY21" fmla="*/ 4207031 h 6114381"/>
                  <a:gd name="connsiteX22" fmla="*/ 5171917 w 6123903"/>
                  <a:gd name="connsiteY22" fmla="*/ 4295117 h 6114381"/>
                  <a:gd name="connsiteX23" fmla="*/ 5484219 w 6123903"/>
                  <a:gd name="connsiteY23" fmla="*/ 4978630 h 6114381"/>
                  <a:gd name="connsiteX24" fmla="*/ 4953361 w 6123903"/>
                  <a:gd name="connsiteY24" fmla="*/ 5488772 h 6114381"/>
                  <a:gd name="connsiteX25" fmla="*/ 4307701 w 6123903"/>
                  <a:gd name="connsiteY25" fmla="*/ 5168660 h 6114381"/>
                  <a:gd name="connsiteX26" fmla="*/ 4148601 w 6123903"/>
                  <a:gd name="connsiteY26" fmla="*/ 5255702 h 6114381"/>
                  <a:gd name="connsiteX27" fmla="*/ 3789999 w 6123903"/>
                  <a:gd name="connsiteY27" fmla="*/ 5399527 h 6114381"/>
                  <a:gd name="connsiteX28" fmla="*/ 3672243 w 6123903"/>
                  <a:gd name="connsiteY28" fmla="*/ 5429805 h 6114381"/>
                  <a:gd name="connsiteX29" fmla="*/ 3432454 w 6123903"/>
                  <a:gd name="connsiteY29" fmla="*/ 6114381 h 6114381"/>
                  <a:gd name="connsiteX30" fmla="*/ 2696210 w 6123903"/>
                  <a:gd name="connsiteY30" fmla="*/ 6114381 h 6114381"/>
                  <a:gd name="connsiteX31" fmla="*/ 2450436 w 6123903"/>
                  <a:gd name="connsiteY31" fmla="*/ 5430525 h 6114381"/>
                  <a:gd name="connsiteX32" fmla="*/ 2329062 w 6123903"/>
                  <a:gd name="connsiteY32" fmla="*/ 5396163 h 6114381"/>
                  <a:gd name="connsiteX33" fmla="*/ 1928614 w 6123903"/>
                  <a:gd name="connsiteY33" fmla="*/ 5228775 h 6114381"/>
                  <a:gd name="connsiteX34" fmla="*/ 1815331 w 6123903"/>
                  <a:gd name="connsiteY34" fmla="*/ 5163187 h 6114381"/>
                  <a:gd name="connsiteX35" fmla="*/ 1167731 w 6123903"/>
                  <a:gd name="connsiteY35" fmla="*/ 5490605 h 6114381"/>
                  <a:gd name="connsiteX36" fmla="*/ 637011 w 6123903"/>
                  <a:gd name="connsiteY36" fmla="*/ 4980320 h 6114381"/>
                  <a:gd name="connsiteX37" fmla="*/ 949593 w 6123903"/>
                  <a:gd name="connsiteY37" fmla="*/ 4281769 h 6114381"/>
                  <a:gd name="connsiteX38" fmla="*/ 879944 w 6123903"/>
                  <a:gd name="connsiteY38" fmla="*/ 4154460 h 6114381"/>
                  <a:gd name="connsiteX39" fmla="*/ 736119 w 6123903"/>
                  <a:gd name="connsiteY39" fmla="*/ 3795858 h 6114381"/>
                  <a:gd name="connsiteX40" fmla="*/ 704946 w 6123903"/>
                  <a:gd name="connsiteY40" fmla="*/ 3674624 h 6114381"/>
                  <a:gd name="connsiteX41" fmla="*/ 0 w 6123903"/>
                  <a:gd name="connsiteY41" fmla="*/ 3427700 h 6114381"/>
                  <a:gd name="connsiteX42" fmla="*/ 0 w 6123903"/>
                  <a:gd name="connsiteY42" fmla="*/ 2691456 h 6114381"/>
                  <a:gd name="connsiteX43" fmla="*/ 710874 w 6123903"/>
                  <a:gd name="connsiteY43" fmla="*/ 2435971 h 6114381"/>
                  <a:gd name="connsiteX44" fmla="*/ 739483 w 6123903"/>
                  <a:gd name="connsiteY44" fmla="*/ 2334920 h 6114381"/>
                  <a:gd name="connsiteX45" fmla="*/ 906871 w 6123903"/>
                  <a:gd name="connsiteY45" fmla="*/ 1934473 h 6114381"/>
                  <a:gd name="connsiteX46" fmla="*/ 966845 w 6123903"/>
                  <a:gd name="connsiteY46" fmla="*/ 1830886 h 6114381"/>
                  <a:gd name="connsiteX47" fmla="*/ 638488 w 6123903"/>
                  <a:gd name="connsiteY47" fmla="*/ 1160565 h 6114381"/>
                  <a:gd name="connsiteX48" fmla="*/ 1155427 w 6123903"/>
                  <a:gd name="connsiteY48" fmla="*/ 636323 h 6114381"/>
                  <a:gd name="connsiteX49" fmla="*/ 1849874 w 6123903"/>
                  <a:gd name="connsiteY49" fmla="*/ 957643 h 6114381"/>
                  <a:gd name="connsiteX50" fmla="*/ 1981186 w 6123903"/>
                  <a:gd name="connsiteY50" fmla="*/ 885803 h 6114381"/>
                  <a:gd name="connsiteX51" fmla="*/ 2339788 w 6123903"/>
                  <a:gd name="connsiteY51" fmla="*/ 741978 h 6114381"/>
                  <a:gd name="connsiteX52" fmla="*/ 2435401 w 6123903"/>
                  <a:gd name="connsiteY52" fmla="*/ 717393 h 611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6123903" h="6114381">
                    <a:moveTo>
                      <a:pt x="3064893" y="1851552"/>
                    </a:moveTo>
                    <a:cubicBezTo>
                      <a:pt x="2391547" y="1851552"/>
                      <a:pt x="1845693" y="2397406"/>
                      <a:pt x="1845693" y="3070752"/>
                    </a:cubicBezTo>
                    <a:cubicBezTo>
                      <a:pt x="1845693" y="3744098"/>
                      <a:pt x="2391547" y="4289952"/>
                      <a:pt x="3064893" y="4289952"/>
                    </a:cubicBezTo>
                    <a:cubicBezTo>
                      <a:pt x="3738239" y="4289952"/>
                      <a:pt x="4284093" y="3744098"/>
                      <a:pt x="4284093" y="3070752"/>
                    </a:cubicBezTo>
                    <a:cubicBezTo>
                      <a:pt x="4284093" y="2397406"/>
                      <a:pt x="3738239" y="1851552"/>
                      <a:pt x="3064893" y="1851552"/>
                    </a:cubicBezTo>
                    <a:close/>
                    <a:moveTo>
                      <a:pt x="2686685" y="0"/>
                    </a:moveTo>
                    <a:lnTo>
                      <a:pt x="3422929" y="0"/>
                    </a:lnTo>
                    <a:lnTo>
                      <a:pt x="3678191" y="710255"/>
                    </a:lnTo>
                    <a:lnTo>
                      <a:pt x="3818556" y="751055"/>
                    </a:lnTo>
                    <a:cubicBezTo>
                      <a:pt x="3960958" y="797289"/>
                      <a:pt x="4097615" y="856271"/>
                      <a:pt x="4227179" y="926655"/>
                    </a:cubicBezTo>
                    <a:lnTo>
                      <a:pt x="4282555" y="960296"/>
                    </a:lnTo>
                    <a:lnTo>
                      <a:pt x="4970765" y="634253"/>
                    </a:lnTo>
                    <a:lnTo>
                      <a:pt x="5488211" y="1157995"/>
                    </a:lnTo>
                    <a:lnTo>
                      <a:pt x="5164247" y="1834816"/>
                    </a:lnTo>
                    <a:lnTo>
                      <a:pt x="5208991" y="1908466"/>
                    </a:lnTo>
                    <a:cubicBezTo>
                      <a:pt x="5279375" y="2038031"/>
                      <a:pt x="5338357" y="2174687"/>
                      <a:pt x="5384591" y="2317090"/>
                    </a:cubicBezTo>
                    <a:lnTo>
                      <a:pt x="5421936" y="2445569"/>
                    </a:lnTo>
                    <a:lnTo>
                      <a:pt x="6123903" y="2691449"/>
                    </a:lnTo>
                    <a:lnTo>
                      <a:pt x="6123903" y="3427693"/>
                    </a:lnTo>
                    <a:lnTo>
                      <a:pt x="5426625" y="3678291"/>
                    </a:lnTo>
                    <a:lnTo>
                      <a:pt x="5390304" y="3806584"/>
                    </a:lnTo>
                    <a:cubicBezTo>
                      <a:pt x="5346264" y="3945892"/>
                      <a:pt x="5290052" y="4079790"/>
                      <a:pt x="5222916" y="4207031"/>
                    </a:cubicBezTo>
                    <a:lnTo>
                      <a:pt x="5171917" y="4295117"/>
                    </a:lnTo>
                    <a:lnTo>
                      <a:pt x="5484219" y="4978630"/>
                    </a:lnTo>
                    <a:lnTo>
                      <a:pt x="4953361" y="5488772"/>
                    </a:lnTo>
                    <a:lnTo>
                      <a:pt x="4307701" y="5168660"/>
                    </a:lnTo>
                    <a:lnTo>
                      <a:pt x="4148601" y="5255702"/>
                    </a:lnTo>
                    <a:cubicBezTo>
                      <a:pt x="4033899" y="5312702"/>
                      <a:pt x="3914073" y="5360936"/>
                      <a:pt x="3789999" y="5399527"/>
                    </a:cubicBezTo>
                    <a:lnTo>
                      <a:pt x="3672243" y="5429805"/>
                    </a:lnTo>
                    <a:lnTo>
                      <a:pt x="3432454" y="6114381"/>
                    </a:lnTo>
                    <a:lnTo>
                      <a:pt x="2696210" y="6114381"/>
                    </a:lnTo>
                    <a:lnTo>
                      <a:pt x="2450436" y="5430525"/>
                    </a:lnTo>
                    <a:lnTo>
                      <a:pt x="2329062" y="5396163"/>
                    </a:lnTo>
                    <a:cubicBezTo>
                      <a:pt x="2189754" y="5352123"/>
                      <a:pt x="2055856" y="5295911"/>
                      <a:pt x="1928614" y="5228775"/>
                    </a:cubicBezTo>
                    <a:lnTo>
                      <a:pt x="1815331" y="5163187"/>
                    </a:lnTo>
                    <a:lnTo>
                      <a:pt x="1167731" y="5490605"/>
                    </a:lnTo>
                    <a:lnTo>
                      <a:pt x="637011" y="4980320"/>
                    </a:lnTo>
                    <a:lnTo>
                      <a:pt x="949593" y="4281769"/>
                    </a:lnTo>
                    <a:lnTo>
                      <a:pt x="879944" y="4154460"/>
                    </a:lnTo>
                    <a:cubicBezTo>
                      <a:pt x="822944" y="4039758"/>
                      <a:pt x="774710" y="3919932"/>
                      <a:pt x="736119" y="3795858"/>
                    </a:cubicBezTo>
                    <a:lnTo>
                      <a:pt x="704946" y="3674624"/>
                    </a:lnTo>
                    <a:lnTo>
                      <a:pt x="0" y="3427700"/>
                    </a:lnTo>
                    <a:lnTo>
                      <a:pt x="0" y="2691456"/>
                    </a:lnTo>
                    <a:lnTo>
                      <a:pt x="710874" y="2435971"/>
                    </a:lnTo>
                    <a:lnTo>
                      <a:pt x="739483" y="2334920"/>
                    </a:lnTo>
                    <a:cubicBezTo>
                      <a:pt x="783523" y="2195614"/>
                      <a:pt x="839735" y="2061715"/>
                      <a:pt x="906871" y="1934473"/>
                    </a:cubicBezTo>
                    <a:lnTo>
                      <a:pt x="966845" y="1830886"/>
                    </a:lnTo>
                    <a:lnTo>
                      <a:pt x="638488" y="1160565"/>
                    </a:lnTo>
                    <a:lnTo>
                      <a:pt x="1155427" y="636323"/>
                    </a:lnTo>
                    <a:lnTo>
                      <a:pt x="1849874" y="957643"/>
                    </a:lnTo>
                    <a:lnTo>
                      <a:pt x="1981186" y="885803"/>
                    </a:lnTo>
                    <a:cubicBezTo>
                      <a:pt x="2095887" y="828803"/>
                      <a:pt x="2215713" y="780570"/>
                      <a:pt x="2339788" y="741978"/>
                    </a:cubicBezTo>
                    <a:lnTo>
                      <a:pt x="2435401" y="717393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grpSp>
        <p:nvGrpSpPr>
          <p:cNvPr id="33" name="Group 4"/>
          <p:cNvGrpSpPr>
            <a:grpSpLocks noChangeAspect="1"/>
          </p:cNvGrpSpPr>
          <p:nvPr/>
        </p:nvGrpSpPr>
        <p:grpSpPr bwMode="auto">
          <a:xfrm>
            <a:off x="10903599" y="5498686"/>
            <a:ext cx="470121" cy="433038"/>
            <a:chOff x="-413" y="1979"/>
            <a:chExt cx="393" cy="362"/>
          </a:xfrm>
          <a:solidFill>
            <a:srgbClr val="26867C"/>
          </a:solidFill>
        </p:grpSpPr>
        <p:sp>
          <p:nvSpPr>
            <p:cNvPr id="36" name="Rectangle 6"/>
            <p:cNvSpPr>
              <a:spLocks noChangeArrowheads="1"/>
            </p:cNvSpPr>
            <p:nvPr/>
          </p:nvSpPr>
          <p:spPr bwMode="auto">
            <a:xfrm>
              <a:off x="-389" y="2104"/>
              <a:ext cx="17" cy="4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7"/>
            <p:cNvSpPr>
              <a:spLocks noChangeArrowheads="1"/>
            </p:cNvSpPr>
            <p:nvPr/>
          </p:nvSpPr>
          <p:spPr bwMode="auto">
            <a:xfrm>
              <a:off x="-389" y="2176"/>
              <a:ext cx="17" cy="4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8"/>
            <p:cNvSpPr>
              <a:spLocks/>
            </p:cNvSpPr>
            <p:nvPr/>
          </p:nvSpPr>
          <p:spPr bwMode="auto">
            <a:xfrm>
              <a:off x="-389" y="1979"/>
              <a:ext cx="305" cy="153"/>
            </a:xfrm>
            <a:custGeom>
              <a:avLst/>
              <a:gdLst>
                <a:gd name="T0" fmla="*/ 2746 w 2746"/>
                <a:gd name="T1" fmla="*/ 942 h 1381"/>
                <a:gd name="T2" fmla="*/ 2746 w 2746"/>
                <a:gd name="T3" fmla="*/ 1225 h 1381"/>
                <a:gd name="T4" fmla="*/ 2589 w 2746"/>
                <a:gd name="T5" fmla="*/ 1381 h 1381"/>
                <a:gd name="T6" fmla="*/ 2589 w 2746"/>
                <a:gd name="T7" fmla="*/ 287 h 1381"/>
                <a:gd name="T8" fmla="*/ 2586 w 2746"/>
                <a:gd name="T9" fmla="*/ 260 h 1381"/>
                <a:gd name="T10" fmla="*/ 2579 w 2746"/>
                <a:gd name="T11" fmla="*/ 236 h 1381"/>
                <a:gd name="T12" fmla="*/ 2567 w 2746"/>
                <a:gd name="T13" fmla="*/ 214 h 1381"/>
                <a:gd name="T14" fmla="*/ 2551 w 2746"/>
                <a:gd name="T15" fmla="*/ 195 h 1381"/>
                <a:gd name="T16" fmla="*/ 2531 w 2746"/>
                <a:gd name="T17" fmla="*/ 179 h 1381"/>
                <a:gd name="T18" fmla="*/ 2509 w 2746"/>
                <a:gd name="T19" fmla="*/ 166 h 1381"/>
                <a:gd name="T20" fmla="*/ 2484 w 2746"/>
                <a:gd name="T21" fmla="*/ 159 h 1381"/>
                <a:gd name="T22" fmla="*/ 2458 w 2746"/>
                <a:gd name="T23" fmla="*/ 156 h 1381"/>
                <a:gd name="T24" fmla="*/ 287 w 2746"/>
                <a:gd name="T25" fmla="*/ 156 h 1381"/>
                <a:gd name="T26" fmla="*/ 261 w 2746"/>
                <a:gd name="T27" fmla="*/ 159 h 1381"/>
                <a:gd name="T28" fmla="*/ 236 w 2746"/>
                <a:gd name="T29" fmla="*/ 166 h 1381"/>
                <a:gd name="T30" fmla="*/ 214 w 2746"/>
                <a:gd name="T31" fmla="*/ 179 h 1381"/>
                <a:gd name="T32" fmla="*/ 194 w 2746"/>
                <a:gd name="T33" fmla="*/ 195 h 1381"/>
                <a:gd name="T34" fmla="*/ 178 w 2746"/>
                <a:gd name="T35" fmla="*/ 214 h 1381"/>
                <a:gd name="T36" fmla="*/ 166 w 2746"/>
                <a:gd name="T37" fmla="*/ 236 h 1381"/>
                <a:gd name="T38" fmla="*/ 159 w 2746"/>
                <a:gd name="T39" fmla="*/ 260 h 1381"/>
                <a:gd name="T40" fmla="*/ 156 w 2746"/>
                <a:gd name="T41" fmla="*/ 287 h 1381"/>
                <a:gd name="T42" fmla="*/ 156 w 2746"/>
                <a:gd name="T43" fmla="*/ 832 h 1381"/>
                <a:gd name="T44" fmla="*/ 0 w 2746"/>
                <a:gd name="T45" fmla="*/ 832 h 1381"/>
                <a:gd name="T46" fmla="*/ 0 w 2746"/>
                <a:gd name="T47" fmla="*/ 287 h 1381"/>
                <a:gd name="T48" fmla="*/ 3 w 2746"/>
                <a:gd name="T49" fmla="*/ 244 h 1381"/>
                <a:gd name="T50" fmla="*/ 12 w 2746"/>
                <a:gd name="T51" fmla="*/ 205 h 1381"/>
                <a:gd name="T52" fmla="*/ 27 w 2746"/>
                <a:gd name="T53" fmla="*/ 166 h 1381"/>
                <a:gd name="T54" fmla="*/ 46 w 2746"/>
                <a:gd name="T55" fmla="*/ 131 h 1381"/>
                <a:gd name="T56" fmla="*/ 70 w 2746"/>
                <a:gd name="T57" fmla="*/ 99 h 1381"/>
                <a:gd name="T58" fmla="*/ 99 w 2746"/>
                <a:gd name="T59" fmla="*/ 71 h 1381"/>
                <a:gd name="T60" fmla="*/ 131 w 2746"/>
                <a:gd name="T61" fmla="*/ 46 h 1381"/>
                <a:gd name="T62" fmla="*/ 165 w 2746"/>
                <a:gd name="T63" fmla="*/ 27 h 1381"/>
                <a:gd name="T64" fmla="*/ 204 w 2746"/>
                <a:gd name="T65" fmla="*/ 13 h 1381"/>
                <a:gd name="T66" fmla="*/ 245 w 2746"/>
                <a:gd name="T67" fmla="*/ 3 h 1381"/>
                <a:gd name="T68" fmla="*/ 287 w 2746"/>
                <a:gd name="T69" fmla="*/ 0 h 1381"/>
                <a:gd name="T70" fmla="*/ 2458 w 2746"/>
                <a:gd name="T71" fmla="*/ 0 h 1381"/>
                <a:gd name="T72" fmla="*/ 2500 w 2746"/>
                <a:gd name="T73" fmla="*/ 3 h 1381"/>
                <a:gd name="T74" fmla="*/ 2541 w 2746"/>
                <a:gd name="T75" fmla="*/ 13 h 1381"/>
                <a:gd name="T76" fmla="*/ 2579 w 2746"/>
                <a:gd name="T77" fmla="*/ 27 h 1381"/>
                <a:gd name="T78" fmla="*/ 2614 w 2746"/>
                <a:gd name="T79" fmla="*/ 46 h 1381"/>
                <a:gd name="T80" fmla="*/ 2646 w 2746"/>
                <a:gd name="T81" fmla="*/ 71 h 1381"/>
                <a:gd name="T82" fmla="*/ 2674 w 2746"/>
                <a:gd name="T83" fmla="*/ 99 h 1381"/>
                <a:gd name="T84" fmla="*/ 2699 w 2746"/>
                <a:gd name="T85" fmla="*/ 131 h 1381"/>
                <a:gd name="T86" fmla="*/ 2718 w 2746"/>
                <a:gd name="T87" fmla="*/ 166 h 1381"/>
                <a:gd name="T88" fmla="*/ 2733 w 2746"/>
                <a:gd name="T89" fmla="*/ 205 h 1381"/>
                <a:gd name="T90" fmla="*/ 2742 w 2746"/>
                <a:gd name="T91" fmla="*/ 244 h 1381"/>
                <a:gd name="T92" fmla="*/ 2745 w 2746"/>
                <a:gd name="T93" fmla="*/ 287 h 1381"/>
                <a:gd name="T94" fmla="*/ 2745 w 2746"/>
                <a:gd name="T95" fmla="*/ 942 h 1381"/>
                <a:gd name="T96" fmla="*/ 2746 w 2746"/>
                <a:gd name="T97" fmla="*/ 942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46" h="1381">
                  <a:moveTo>
                    <a:pt x="2746" y="942"/>
                  </a:moveTo>
                  <a:lnTo>
                    <a:pt x="2746" y="1225"/>
                  </a:lnTo>
                  <a:lnTo>
                    <a:pt x="2589" y="1381"/>
                  </a:lnTo>
                  <a:lnTo>
                    <a:pt x="2589" y="287"/>
                  </a:lnTo>
                  <a:lnTo>
                    <a:pt x="2586" y="260"/>
                  </a:lnTo>
                  <a:lnTo>
                    <a:pt x="2579" y="236"/>
                  </a:lnTo>
                  <a:lnTo>
                    <a:pt x="2567" y="214"/>
                  </a:lnTo>
                  <a:lnTo>
                    <a:pt x="2551" y="195"/>
                  </a:lnTo>
                  <a:lnTo>
                    <a:pt x="2531" y="179"/>
                  </a:lnTo>
                  <a:lnTo>
                    <a:pt x="2509" y="166"/>
                  </a:lnTo>
                  <a:lnTo>
                    <a:pt x="2484" y="159"/>
                  </a:lnTo>
                  <a:lnTo>
                    <a:pt x="2458" y="156"/>
                  </a:lnTo>
                  <a:lnTo>
                    <a:pt x="287" y="156"/>
                  </a:lnTo>
                  <a:lnTo>
                    <a:pt x="261" y="159"/>
                  </a:lnTo>
                  <a:lnTo>
                    <a:pt x="236" y="166"/>
                  </a:lnTo>
                  <a:lnTo>
                    <a:pt x="214" y="179"/>
                  </a:lnTo>
                  <a:lnTo>
                    <a:pt x="194" y="195"/>
                  </a:lnTo>
                  <a:lnTo>
                    <a:pt x="178" y="214"/>
                  </a:lnTo>
                  <a:lnTo>
                    <a:pt x="166" y="236"/>
                  </a:lnTo>
                  <a:lnTo>
                    <a:pt x="159" y="260"/>
                  </a:lnTo>
                  <a:lnTo>
                    <a:pt x="156" y="287"/>
                  </a:lnTo>
                  <a:lnTo>
                    <a:pt x="156" y="832"/>
                  </a:lnTo>
                  <a:lnTo>
                    <a:pt x="0" y="832"/>
                  </a:lnTo>
                  <a:lnTo>
                    <a:pt x="0" y="287"/>
                  </a:lnTo>
                  <a:lnTo>
                    <a:pt x="3" y="244"/>
                  </a:lnTo>
                  <a:lnTo>
                    <a:pt x="12" y="205"/>
                  </a:lnTo>
                  <a:lnTo>
                    <a:pt x="27" y="166"/>
                  </a:lnTo>
                  <a:lnTo>
                    <a:pt x="46" y="131"/>
                  </a:lnTo>
                  <a:lnTo>
                    <a:pt x="70" y="99"/>
                  </a:lnTo>
                  <a:lnTo>
                    <a:pt x="99" y="71"/>
                  </a:lnTo>
                  <a:lnTo>
                    <a:pt x="131" y="46"/>
                  </a:lnTo>
                  <a:lnTo>
                    <a:pt x="165" y="27"/>
                  </a:lnTo>
                  <a:lnTo>
                    <a:pt x="204" y="13"/>
                  </a:lnTo>
                  <a:lnTo>
                    <a:pt x="245" y="3"/>
                  </a:lnTo>
                  <a:lnTo>
                    <a:pt x="287" y="0"/>
                  </a:lnTo>
                  <a:lnTo>
                    <a:pt x="2458" y="0"/>
                  </a:lnTo>
                  <a:lnTo>
                    <a:pt x="2500" y="3"/>
                  </a:lnTo>
                  <a:lnTo>
                    <a:pt x="2541" y="13"/>
                  </a:lnTo>
                  <a:lnTo>
                    <a:pt x="2579" y="27"/>
                  </a:lnTo>
                  <a:lnTo>
                    <a:pt x="2614" y="46"/>
                  </a:lnTo>
                  <a:lnTo>
                    <a:pt x="2646" y="71"/>
                  </a:lnTo>
                  <a:lnTo>
                    <a:pt x="2674" y="99"/>
                  </a:lnTo>
                  <a:lnTo>
                    <a:pt x="2699" y="131"/>
                  </a:lnTo>
                  <a:lnTo>
                    <a:pt x="2718" y="166"/>
                  </a:lnTo>
                  <a:lnTo>
                    <a:pt x="2733" y="205"/>
                  </a:lnTo>
                  <a:lnTo>
                    <a:pt x="2742" y="244"/>
                  </a:lnTo>
                  <a:lnTo>
                    <a:pt x="2745" y="287"/>
                  </a:lnTo>
                  <a:lnTo>
                    <a:pt x="2745" y="942"/>
                  </a:lnTo>
                  <a:lnTo>
                    <a:pt x="2746" y="9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-389" y="2235"/>
              <a:ext cx="305" cy="106"/>
            </a:xfrm>
            <a:custGeom>
              <a:avLst/>
              <a:gdLst>
                <a:gd name="T0" fmla="*/ 2662 w 2746"/>
                <a:gd name="T1" fmla="*/ 53 h 954"/>
                <a:gd name="T2" fmla="*/ 2689 w 2746"/>
                <a:gd name="T3" fmla="*/ 66 h 954"/>
                <a:gd name="T4" fmla="*/ 2717 w 2746"/>
                <a:gd name="T5" fmla="*/ 74 h 954"/>
                <a:gd name="T6" fmla="*/ 2746 w 2746"/>
                <a:gd name="T7" fmla="*/ 78 h 954"/>
                <a:gd name="T8" fmla="*/ 2746 w 2746"/>
                <a:gd name="T9" fmla="*/ 667 h 954"/>
                <a:gd name="T10" fmla="*/ 2743 w 2746"/>
                <a:gd name="T11" fmla="*/ 710 h 954"/>
                <a:gd name="T12" fmla="*/ 2733 w 2746"/>
                <a:gd name="T13" fmla="*/ 749 h 954"/>
                <a:gd name="T14" fmla="*/ 2719 w 2746"/>
                <a:gd name="T15" fmla="*/ 788 h 954"/>
                <a:gd name="T16" fmla="*/ 2699 w 2746"/>
                <a:gd name="T17" fmla="*/ 823 h 954"/>
                <a:gd name="T18" fmla="*/ 2675 w 2746"/>
                <a:gd name="T19" fmla="*/ 854 h 954"/>
                <a:gd name="T20" fmla="*/ 2646 w 2746"/>
                <a:gd name="T21" fmla="*/ 883 h 954"/>
                <a:gd name="T22" fmla="*/ 2614 w 2746"/>
                <a:gd name="T23" fmla="*/ 907 h 954"/>
                <a:gd name="T24" fmla="*/ 2579 w 2746"/>
                <a:gd name="T25" fmla="*/ 927 h 954"/>
                <a:gd name="T26" fmla="*/ 2541 w 2746"/>
                <a:gd name="T27" fmla="*/ 941 h 954"/>
                <a:gd name="T28" fmla="*/ 2500 w 2746"/>
                <a:gd name="T29" fmla="*/ 951 h 954"/>
                <a:gd name="T30" fmla="*/ 2458 w 2746"/>
                <a:gd name="T31" fmla="*/ 954 h 954"/>
                <a:gd name="T32" fmla="*/ 287 w 2746"/>
                <a:gd name="T33" fmla="*/ 954 h 954"/>
                <a:gd name="T34" fmla="*/ 245 w 2746"/>
                <a:gd name="T35" fmla="*/ 951 h 954"/>
                <a:gd name="T36" fmla="*/ 204 w 2746"/>
                <a:gd name="T37" fmla="*/ 941 h 954"/>
                <a:gd name="T38" fmla="*/ 165 w 2746"/>
                <a:gd name="T39" fmla="*/ 927 h 954"/>
                <a:gd name="T40" fmla="*/ 131 w 2746"/>
                <a:gd name="T41" fmla="*/ 907 h 954"/>
                <a:gd name="T42" fmla="*/ 99 w 2746"/>
                <a:gd name="T43" fmla="*/ 883 h 954"/>
                <a:gd name="T44" fmla="*/ 70 w 2746"/>
                <a:gd name="T45" fmla="*/ 854 h 954"/>
                <a:gd name="T46" fmla="*/ 46 w 2746"/>
                <a:gd name="T47" fmla="*/ 823 h 954"/>
                <a:gd name="T48" fmla="*/ 27 w 2746"/>
                <a:gd name="T49" fmla="*/ 788 h 954"/>
                <a:gd name="T50" fmla="*/ 12 w 2746"/>
                <a:gd name="T51" fmla="*/ 749 h 954"/>
                <a:gd name="T52" fmla="*/ 3 w 2746"/>
                <a:gd name="T53" fmla="*/ 710 h 954"/>
                <a:gd name="T54" fmla="*/ 0 w 2746"/>
                <a:gd name="T55" fmla="*/ 667 h 954"/>
                <a:gd name="T56" fmla="*/ 0 w 2746"/>
                <a:gd name="T57" fmla="*/ 123 h 954"/>
                <a:gd name="T58" fmla="*/ 156 w 2746"/>
                <a:gd name="T59" fmla="*/ 123 h 954"/>
                <a:gd name="T60" fmla="*/ 156 w 2746"/>
                <a:gd name="T61" fmla="*/ 667 h 954"/>
                <a:gd name="T62" fmla="*/ 159 w 2746"/>
                <a:gd name="T63" fmla="*/ 694 h 954"/>
                <a:gd name="T64" fmla="*/ 166 w 2746"/>
                <a:gd name="T65" fmla="*/ 718 h 954"/>
                <a:gd name="T66" fmla="*/ 178 w 2746"/>
                <a:gd name="T67" fmla="*/ 740 h 954"/>
                <a:gd name="T68" fmla="*/ 194 w 2746"/>
                <a:gd name="T69" fmla="*/ 759 h 954"/>
                <a:gd name="T70" fmla="*/ 214 w 2746"/>
                <a:gd name="T71" fmla="*/ 775 h 954"/>
                <a:gd name="T72" fmla="*/ 236 w 2746"/>
                <a:gd name="T73" fmla="*/ 788 h 954"/>
                <a:gd name="T74" fmla="*/ 261 w 2746"/>
                <a:gd name="T75" fmla="*/ 795 h 954"/>
                <a:gd name="T76" fmla="*/ 287 w 2746"/>
                <a:gd name="T77" fmla="*/ 798 h 954"/>
                <a:gd name="T78" fmla="*/ 2458 w 2746"/>
                <a:gd name="T79" fmla="*/ 798 h 954"/>
                <a:gd name="T80" fmla="*/ 2484 w 2746"/>
                <a:gd name="T81" fmla="*/ 795 h 954"/>
                <a:gd name="T82" fmla="*/ 2509 w 2746"/>
                <a:gd name="T83" fmla="*/ 788 h 954"/>
                <a:gd name="T84" fmla="*/ 2531 w 2746"/>
                <a:gd name="T85" fmla="*/ 775 h 954"/>
                <a:gd name="T86" fmla="*/ 2551 w 2746"/>
                <a:gd name="T87" fmla="*/ 759 h 954"/>
                <a:gd name="T88" fmla="*/ 2567 w 2746"/>
                <a:gd name="T89" fmla="*/ 740 h 954"/>
                <a:gd name="T90" fmla="*/ 2579 w 2746"/>
                <a:gd name="T91" fmla="*/ 718 h 954"/>
                <a:gd name="T92" fmla="*/ 2587 w 2746"/>
                <a:gd name="T93" fmla="*/ 694 h 954"/>
                <a:gd name="T94" fmla="*/ 2589 w 2746"/>
                <a:gd name="T95" fmla="*/ 667 h 954"/>
                <a:gd name="T96" fmla="*/ 2589 w 2746"/>
                <a:gd name="T97" fmla="*/ 181 h 954"/>
                <a:gd name="T98" fmla="*/ 2589 w 2746"/>
                <a:gd name="T99" fmla="*/ 181 h 954"/>
                <a:gd name="T100" fmla="*/ 2589 w 2746"/>
                <a:gd name="T101" fmla="*/ 9 h 954"/>
                <a:gd name="T102" fmla="*/ 2599 w 2746"/>
                <a:gd name="T103" fmla="*/ 0 h 954"/>
                <a:gd name="T104" fmla="*/ 2617 w 2746"/>
                <a:gd name="T105" fmla="*/ 20 h 954"/>
                <a:gd name="T106" fmla="*/ 2639 w 2746"/>
                <a:gd name="T107" fmla="*/ 38 h 954"/>
                <a:gd name="T108" fmla="*/ 2662 w 2746"/>
                <a:gd name="T109" fmla="*/ 53 h 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46" h="954">
                  <a:moveTo>
                    <a:pt x="2662" y="53"/>
                  </a:moveTo>
                  <a:lnTo>
                    <a:pt x="2689" y="66"/>
                  </a:lnTo>
                  <a:lnTo>
                    <a:pt x="2717" y="74"/>
                  </a:lnTo>
                  <a:lnTo>
                    <a:pt x="2746" y="78"/>
                  </a:lnTo>
                  <a:lnTo>
                    <a:pt x="2746" y="667"/>
                  </a:lnTo>
                  <a:lnTo>
                    <a:pt x="2743" y="710"/>
                  </a:lnTo>
                  <a:lnTo>
                    <a:pt x="2733" y="749"/>
                  </a:lnTo>
                  <a:lnTo>
                    <a:pt x="2719" y="788"/>
                  </a:lnTo>
                  <a:lnTo>
                    <a:pt x="2699" y="823"/>
                  </a:lnTo>
                  <a:lnTo>
                    <a:pt x="2675" y="854"/>
                  </a:lnTo>
                  <a:lnTo>
                    <a:pt x="2646" y="883"/>
                  </a:lnTo>
                  <a:lnTo>
                    <a:pt x="2614" y="907"/>
                  </a:lnTo>
                  <a:lnTo>
                    <a:pt x="2579" y="927"/>
                  </a:lnTo>
                  <a:lnTo>
                    <a:pt x="2541" y="941"/>
                  </a:lnTo>
                  <a:lnTo>
                    <a:pt x="2500" y="951"/>
                  </a:lnTo>
                  <a:lnTo>
                    <a:pt x="2458" y="954"/>
                  </a:lnTo>
                  <a:lnTo>
                    <a:pt x="287" y="954"/>
                  </a:lnTo>
                  <a:lnTo>
                    <a:pt x="245" y="951"/>
                  </a:lnTo>
                  <a:lnTo>
                    <a:pt x="204" y="941"/>
                  </a:lnTo>
                  <a:lnTo>
                    <a:pt x="165" y="927"/>
                  </a:lnTo>
                  <a:lnTo>
                    <a:pt x="131" y="907"/>
                  </a:lnTo>
                  <a:lnTo>
                    <a:pt x="99" y="883"/>
                  </a:lnTo>
                  <a:lnTo>
                    <a:pt x="70" y="854"/>
                  </a:lnTo>
                  <a:lnTo>
                    <a:pt x="46" y="823"/>
                  </a:lnTo>
                  <a:lnTo>
                    <a:pt x="27" y="788"/>
                  </a:lnTo>
                  <a:lnTo>
                    <a:pt x="12" y="749"/>
                  </a:lnTo>
                  <a:lnTo>
                    <a:pt x="3" y="710"/>
                  </a:lnTo>
                  <a:lnTo>
                    <a:pt x="0" y="667"/>
                  </a:lnTo>
                  <a:lnTo>
                    <a:pt x="0" y="123"/>
                  </a:lnTo>
                  <a:lnTo>
                    <a:pt x="156" y="123"/>
                  </a:lnTo>
                  <a:lnTo>
                    <a:pt x="156" y="667"/>
                  </a:lnTo>
                  <a:lnTo>
                    <a:pt x="159" y="694"/>
                  </a:lnTo>
                  <a:lnTo>
                    <a:pt x="166" y="718"/>
                  </a:lnTo>
                  <a:lnTo>
                    <a:pt x="178" y="740"/>
                  </a:lnTo>
                  <a:lnTo>
                    <a:pt x="194" y="759"/>
                  </a:lnTo>
                  <a:lnTo>
                    <a:pt x="214" y="775"/>
                  </a:lnTo>
                  <a:lnTo>
                    <a:pt x="236" y="788"/>
                  </a:lnTo>
                  <a:lnTo>
                    <a:pt x="261" y="795"/>
                  </a:lnTo>
                  <a:lnTo>
                    <a:pt x="287" y="798"/>
                  </a:lnTo>
                  <a:lnTo>
                    <a:pt x="2458" y="798"/>
                  </a:lnTo>
                  <a:lnTo>
                    <a:pt x="2484" y="795"/>
                  </a:lnTo>
                  <a:lnTo>
                    <a:pt x="2509" y="788"/>
                  </a:lnTo>
                  <a:lnTo>
                    <a:pt x="2531" y="775"/>
                  </a:lnTo>
                  <a:lnTo>
                    <a:pt x="2551" y="759"/>
                  </a:lnTo>
                  <a:lnTo>
                    <a:pt x="2567" y="740"/>
                  </a:lnTo>
                  <a:lnTo>
                    <a:pt x="2579" y="718"/>
                  </a:lnTo>
                  <a:lnTo>
                    <a:pt x="2587" y="694"/>
                  </a:lnTo>
                  <a:lnTo>
                    <a:pt x="2589" y="667"/>
                  </a:lnTo>
                  <a:lnTo>
                    <a:pt x="2589" y="181"/>
                  </a:lnTo>
                  <a:lnTo>
                    <a:pt x="2589" y="181"/>
                  </a:lnTo>
                  <a:lnTo>
                    <a:pt x="2589" y="9"/>
                  </a:lnTo>
                  <a:lnTo>
                    <a:pt x="2599" y="0"/>
                  </a:lnTo>
                  <a:lnTo>
                    <a:pt x="2617" y="20"/>
                  </a:lnTo>
                  <a:lnTo>
                    <a:pt x="2639" y="38"/>
                  </a:lnTo>
                  <a:lnTo>
                    <a:pt x="2662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0"/>
            <p:cNvSpPr>
              <a:spLocks/>
            </p:cNvSpPr>
            <p:nvPr/>
          </p:nvSpPr>
          <p:spPr bwMode="auto">
            <a:xfrm>
              <a:off x="-413" y="2218"/>
              <a:ext cx="72" cy="29"/>
            </a:xfrm>
            <a:custGeom>
              <a:avLst/>
              <a:gdLst>
                <a:gd name="T0" fmla="*/ 400 w 647"/>
                <a:gd name="T1" fmla="*/ 64 h 264"/>
                <a:gd name="T2" fmla="*/ 68 w 647"/>
                <a:gd name="T3" fmla="*/ 64 h 264"/>
                <a:gd name="T4" fmla="*/ 51 w 647"/>
                <a:gd name="T5" fmla="*/ 67 h 264"/>
                <a:gd name="T6" fmla="*/ 35 w 647"/>
                <a:gd name="T7" fmla="*/ 73 h 264"/>
                <a:gd name="T8" fmla="*/ 21 w 647"/>
                <a:gd name="T9" fmla="*/ 84 h 264"/>
                <a:gd name="T10" fmla="*/ 10 w 647"/>
                <a:gd name="T11" fmla="*/ 97 h 264"/>
                <a:gd name="T12" fmla="*/ 4 w 647"/>
                <a:gd name="T13" fmla="*/ 114 h 264"/>
                <a:gd name="T14" fmla="*/ 0 w 647"/>
                <a:gd name="T15" fmla="*/ 131 h 264"/>
                <a:gd name="T16" fmla="*/ 4 w 647"/>
                <a:gd name="T17" fmla="*/ 149 h 264"/>
                <a:gd name="T18" fmla="*/ 10 w 647"/>
                <a:gd name="T19" fmla="*/ 166 h 264"/>
                <a:gd name="T20" fmla="*/ 21 w 647"/>
                <a:gd name="T21" fmla="*/ 179 h 264"/>
                <a:gd name="T22" fmla="*/ 35 w 647"/>
                <a:gd name="T23" fmla="*/ 190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0 h 264"/>
                <a:gd name="T32" fmla="*/ 437 w 647"/>
                <a:gd name="T33" fmla="*/ 238 h 264"/>
                <a:gd name="T34" fmla="*/ 459 w 647"/>
                <a:gd name="T35" fmla="*/ 252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1 h 264"/>
                <a:gd name="T42" fmla="*/ 566 w 647"/>
                <a:gd name="T43" fmla="*/ 253 h 264"/>
                <a:gd name="T44" fmla="*/ 588 w 647"/>
                <a:gd name="T45" fmla="*/ 242 h 264"/>
                <a:gd name="T46" fmla="*/ 607 w 647"/>
                <a:gd name="T47" fmla="*/ 224 h 264"/>
                <a:gd name="T48" fmla="*/ 624 w 647"/>
                <a:gd name="T49" fmla="*/ 205 h 264"/>
                <a:gd name="T50" fmla="*/ 636 w 647"/>
                <a:gd name="T51" fmla="*/ 183 h 264"/>
                <a:gd name="T52" fmla="*/ 644 w 647"/>
                <a:gd name="T53" fmla="*/ 158 h 264"/>
                <a:gd name="T54" fmla="*/ 647 w 647"/>
                <a:gd name="T55" fmla="*/ 131 h 264"/>
                <a:gd name="T56" fmla="*/ 644 w 647"/>
                <a:gd name="T57" fmla="*/ 104 h 264"/>
                <a:gd name="T58" fmla="*/ 636 w 647"/>
                <a:gd name="T59" fmla="*/ 80 h 264"/>
                <a:gd name="T60" fmla="*/ 624 w 647"/>
                <a:gd name="T61" fmla="*/ 57 h 264"/>
                <a:gd name="T62" fmla="*/ 607 w 647"/>
                <a:gd name="T63" fmla="*/ 38 h 264"/>
                <a:gd name="T64" fmla="*/ 588 w 647"/>
                <a:gd name="T65" fmla="*/ 22 h 264"/>
                <a:gd name="T66" fmla="*/ 566 w 647"/>
                <a:gd name="T67" fmla="*/ 9 h 264"/>
                <a:gd name="T68" fmla="*/ 541 w 647"/>
                <a:gd name="T69" fmla="*/ 2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1 h 264"/>
                <a:gd name="T76" fmla="*/ 437 w 647"/>
                <a:gd name="T77" fmla="*/ 24 h 264"/>
                <a:gd name="T78" fmla="*/ 416 w 647"/>
                <a:gd name="T79" fmla="*/ 42 h 264"/>
                <a:gd name="T80" fmla="*/ 400 w 647"/>
                <a:gd name="T81" fmla="*/ 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4"/>
                  </a:moveTo>
                  <a:lnTo>
                    <a:pt x="68" y="64"/>
                  </a:lnTo>
                  <a:lnTo>
                    <a:pt x="51" y="67"/>
                  </a:lnTo>
                  <a:lnTo>
                    <a:pt x="35" y="73"/>
                  </a:lnTo>
                  <a:lnTo>
                    <a:pt x="21" y="84"/>
                  </a:lnTo>
                  <a:lnTo>
                    <a:pt x="10" y="97"/>
                  </a:lnTo>
                  <a:lnTo>
                    <a:pt x="4" y="114"/>
                  </a:lnTo>
                  <a:lnTo>
                    <a:pt x="0" y="131"/>
                  </a:lnTo>
                  <a:lnTo>
                    <a:pt x="4" y="149"/>
                  </a:lnTo>
                  <a:lnTo>
                    <a:pt x="10" y="166"/>
                  </a:lnTo>
                  <a:lnTo>
                    <a:pt x="21" y="179"/>
                  </a:lnTo>
                  <a:lnTo>
                    <a:pt x="35" y="190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0"/>
                  </a:lnTo>
                  <a:lnTo>
                    <a:pt x="437" y="238"/>
                  </a:lnTo>
                  <a:lnTo>
                    <a:pt x="459" y="252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1"/>
                  </a:lnTo>
                  <a:lnTo>
                    <a:pt x="566" y="253"/>
                  </a:lnTo>
                  <a:lnTo>
                    <a:pt x="588" y="242"/>
                  </a:lnTo>
                  <a:lnTo>
                    <a:pt x="607" y="224"/>
                  </a:lnTo>
                  <a:lnTo>
                    <a:pt x="624" y="205"/>
                  </a:lnTo>
                  <a:lnTo>
                    <a:pt x="636" y="183"/>
                  </a:lnTo>
                  <a:lnTo>
                    <a:pt x="644" y="158"/>
                  </a:lnTo>
                  <a:lnTo>
                    <a:pt x="647" y="131"/>
                  </a:lnTo>
                  <a:lnTo>
                    <a:pt x="644" y="104"/>
                  </a:lnTo>
                  <a:lnTo>
                    <a:pt x="636" y="80"/>
                  </a:lnTo>
                  <a:lnTo>
                    <a:pt x="624" y="57"/>
                  </a:lnTo>
                  <a:lnTo>
                    <a:pt x="607" y="38"/>
                  </a:lnTo>
                  <a:lnTo>
                    <a:pt x="588" y="22"/>
                  </a:lnTo>
                  <a:lnTo>
                    <a:pt x="566" y="9"/>
                  </a:lnTo>
                  <a:lnTo>
                    <a:pt x="541" y="2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1"/>
                  </a:lnTo>
                  <a:lnTo>
                    <a:pt x="437" y="24"/>
                  </a:lnTo>
                  <a:lnTo>
                    <a:pt x="416" y="42"/>
                  </a:lnTo>
                  <a:lnTo>
                    <a:pt x="400" y="6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1"/>
            <p:cNvSpPr>
              <a:spLocks/>
            </p:cNvSpPr>
            <p:nvPr/>
          </p:nvSpPr>
          <p:spPr bwMode="auto">
            <a:xfrm>
              <a:off x="-413" y="2145"/>
              <a:ext cx="72" cy="30"/>
            </a:xfrm>
            <a:custGeom>
              <a:avLst/>
              <a:gdLst>
                <a:gd name="T0" fmla="*/ 400 w 647"/>
                <a:gd name="T1" fmla="*/ 66 h 265"/>
                <a:gd name="T2" fmla="*/ 68 w 647"/>
                <a:gd name="T3" fmla="*/ 66 h 265"/>
                <a:gd name="T4" fmla="*/ 51 w 647"/>
                <a:gd name="T5" fmla="*/ 68 h 265"/>
                <a:gd name="T6" fmla="*/ 35 w 647"/>
                <a:gd name="T7" fmla="*/ 74 h 265"/>
                <a:gd name="T8" fmla="*/ 21 w 647"/>
                <a:gd name="T9" fmla="*/ 85 h 265"/>
                <a:gd name="T10" fmla="*/ 10 w 647"/>
                <a:gd name="T11" fmla="*/ 99 h 265"/>
                <a:gd name="T12" fmla="*/ 4 w 647"/>
                <a:gd name="T13" fmla="*/ 115 h 265"/>
                <a:gd name="T14" fmla="*/ 0 w 647"/>
                <a:gd name="T15" fmla="*/ 132 h 265"/>
                <a:gd name="T16" fmla="*/ 4 w 647"/>
                <a:gd name="T17" fmla="*/ 151 h 265"/>
                <a:gd name="T18" fmla="*/ 10 w 647"/>
                <a:gd name="T19" fmla="*/ 167 h 265"/>
                <a:gd name="T20" fmla="*/ 21 w 647"/>
                <a:gd name="T21" fmla="*/ 181 h 265"/>
                <a:gd name="T22" fmla="*/ 35 w 647"/>
                <a:gd name="T23" fmla="*/ 191 h 265"/>
                <a:gd name="T24" fmla="*/ 51 w 647"/>
                <a:gd name="T25" fmla="*/ 198 h 265"/>
                <a:gd name="T26" fmla="*/ 68 w 647"/>
                <a:gd name="T27" fmla="*/ 200 h 265"/>
                <a:gd name="T28" fmla="*/ 400 w 647"/>
                <a:gd name="T29" fmla="*/ 200 h 265"/>
                <a:gd name="T30" fmla="*/ 416 w 647"/>
                <a:gd name="T31" fmla="*/ 222 h 265"/>
                <a:gd name="T32" fmla="*/ 437 w 647"/>
                <a:gd name="T33" fmla="*/ 240 h 265"/>
                <a:gd name="T34" fmla="*/ 460 w 647"/>
                <a:gd name="T35" fmla="*/ 253 h 265"/>
                <a:gd name="T36" fmla="*/ 486 w 647"/>
                <a:gd name="T37" fmla="*/ 262 h 265"/>
                <a:gd name="T38" fmla="*/ 514 w 647"/>
                <a:gd name="T39" fmla="*/ 265 h 265"/>
                <a:gd name="T40" fmla="*/ 541 w 647"/>
                <a:gd name="T41" fmla="*/ 263 h 265"/>
                <a:gd name="T42" fmla="*/ 566 w 647"/>
                <a:gd name="T43" fmla="*/ 255 h 265"/>
                <a:gd name="T44" fmla="*/ 588 w 647"/>
                <a:gd name="T45" fmla="*/ 242 h 265"/>
                <a:gd name="T46" fmla="*/ 607 w 647"/>
                <a:gd name="T47" fmla="*/ 226 h 265"/>
                <a:gd name="T48" fmla="*/ 624 w 647"/>
                <a:gd name="T49" fmla="*/ 207 h 265"/>
                <a:gd name="T50" fmla="*/ 636 w 647"/>
                <a:gd name="T51" fmla="*/ 184 h 265"/>
                <a:gd name="T52" fmla="*/ 644 w 647"/>
                <a:gd name="T53" fmla="*/ 160 h 265"/>
                <a:gd name="T54" fmla="*/ 647 w 647"/>
                <a:gd name="T55" fmla="*/ 132 h 265"/>
                <a:gd name="T56" fmla="*/ 644 w 647"/>
                <a:gd name="T57" fmla="*/ 106 h 265"/>
                <a:gd name="T58" fmla="*/ 636 w 647"/>
                <a:gd name="T59" fmla="*/ 82 h 265"/>
                <a:gd name="T60" fmla="*/ 624 w 647"/>
                <a:gd name="T61" fmla="*/ 59 h 265"/>
                <a:gd name="T62" fmla="*/ 607 w 647"/>
                <a:gd name="T63" fmla="*/ 40 h 265"/>
                <a:gd name="T64" fmla="*/ 588 w 647"/>
                <a:gd name="T65" fmla="*/ 24 h 265"/>
                <a:gd name="T66" fmla="*/ 566 w 647"/>
                <a:gd name="T67" fmla="*/ 11 h 265"/>
                <a:gd name="T68" fmla="*/ 541 w 647"/>
                <a:gd name="T69" fmla="*/ 3 h 265"/>
                <a:gd name="T70" fmla="*/ 514 w 647"/>
                <a:gd name="T71" fmla="*/ 0 h 265"/>
                <a:gd name="T72" fmla="*/ 486 w 647"/>
                <a:gd name="T73" fmla="*/ 3 h 265"/>
                <a:gd name="T74" fmla="*/ 460 w 647"/>
                <a:gd name="T75" fmla="*/ 12 h 265"/>
                <a:gd name="T76" fmla="*/ 437 w 647"/>
                <a:gd name="T77" fmla="*/ 26 h 265"/>
                <a:gd name="T78" fmla="*/ 416 w 647"/>
                <a:gd name="T79" fmla="*/ 44 h 265"/>
                <a:gd name="T80" fmla="*/ 400 w 647"/>
                <a:gd name="T81" fmla="*/ 66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5">
                  <a:moveTo>
                    <a:pt x="400" y="66"/>
                  </a:moveTo>
                  <a:lnTo>
                    <a:pt x="68" y="66"/>
                  </a:lnTo>
                  <a:lnTo>
                    <a:pt x="51" y="68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9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1"/>
                  </a:lnTo>
                  <a:lnTo>
                    <a:pt x="10" y="167"/>
                  </a:lnTo>
                  <a:lnTo>
                    <a:pt x="21" y="181"/>
                  </a:lnTo>
                  <a:lnTo>
                    <a:pt x="35" y="191"/>
                  </a:lnTo>
                  <a:lnTo>
                    <a:pt x="51" y="198"/>
                  </a:lnTo>
                  <a:lnTo>
                    <a:pt x="68" y="200"/>
                  </a:lnTo>
                  <a:lnTo>
                    <a:pt x="400" y="200"/>
                  </a:lnTo>
                  <a:lnTo>
                    <a:pt x="416" y="222"/>
                  </a:lnTo>
                  <a:lnTo>
                    <a:pt x="437" y="240"/>
                  </a:lnTo>
                  <a:lnTo>
                    <a:pt x="460" y="253"/>
                  </a:lnTo>
                  <a:lnTo>
                    <a:pt x="486" y="262"/>
                  </a:lnTo>
                  <a:lnTo>
                    <a:pt x="514" y="265"/>
                  </a:lnTo>
                  <a:lnTo>
                    <a:pt x="541" y="263"/>
                  </a:lnTo>
                  <a:lnTo>
                    <a:pt x="566" y="255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2"/>
                  </a:lnTo>
                  <a:lnTo>
                    <a:pt x="644" y="106"/>
                  </a:lnTo>
                  <a:lnTo>
                    <a:pt x="636" y="82"/>
                  </a:lnTo>
                  <a:lnTo>
                    <a:pt x="624" y="59"/>
                  </a:lnTo>
                  <a:lnTo>
                    <a:pt x="607" y="40"/>
                  </a:lnTo>
                  <a:lnTo>
                    <a:pt x="588" y="24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60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2"/>
            <p:cNvSpPr>
              <a:spLocks/>
            </p:cNvSpPr>
            <p:nvPr/>
          </p:nvSpPr>
          <p:spPr bwMode="auto">
            <a:xfrm>
              <a:off x="-413" y="2073"/>
              <a:ext cx="72" cy="29"/>
            </a:xfrm>
            <a:custGeom>
              <a:avLst/>
              <a:gdLst>
                <a:gd name="T0" fmla="*/ 400 w 647"/>
                <a:gd name="T1" fmla="*/ 65 h 264"/>
                <a:gd name="T2" fmla="*/ 68 w 647"/>
                <a:gd name="T3" fmla="*/ 65 h 264"/>
                <a:gd name="T4" fmla="*/ 51 w 647"/>
                <a:gd name="T5" fmla="*/ 67 h 264"/>
                <a:gd name="T6" fmla="*/ 35 w 647"/>
                <a:gd name="T7" fmla="*/ 74 h 264"/>
                <a:gd name="T8" fmla="*/ 21 w 647"/>
                <a:gd name="T9" fmla="*/ 85 h 264"/>
                <a:gd name="T10" fmla="*/ 10 w 647"/>
                <a:gd name="T11" fmla="*/ 98 h 264"/>
                <a:gd name="T12" fmla="*/ 4 w 647"/>
                <a:gd name="T13" fmla="*/ 115 h 264"/>
                <a:gd name="T14" fmla="*/ 0 w 647"/>
                <a:gd name="T15" fmla="*/ 132 h 264"/>
                <a:gd name="T16" fmla="*/ 4 w 647"/>
                <a:gd name="T17" fmla="*/ 150 h 264"/>
                <a:gd name="T18" fmla="*/ 10 w 647"/>
                <a:gd name="T19" fmla="*/ 166 h 264"/>
                <a:gd name="T20" fmla="*/ 21 w 647"/>
                <a:gd name="T21" fmla="*/ 180 h 264"/>
                <a:gd name="T22" fmla="*/ 35 w 647"/>
                <a:gd name="T23" fmla="*/ 191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2 h 264"/>
                <a:gd name="T32" fmla="*/ 437 w 647"/>
                <a:gd name="T33" fmla="*/ 239 h 264"/>
                <a:gd name="T34" fmla="*/ 459 w 647"/>
                <a:gd name="T35" fmla="*/ 253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2 h 264"/>
                <a:gd name="T42" fmla="*/ 566 w 647"/>
                <a:gd name="T43" fmla="*/ 254 h 264"/>
                <a:gd name="T44" fmla="*/ 588 w 647"/>
                <a:gd name="T45" fmla="*/ 242 h 264"/>
                <a:gd name="T46" fmla="*/ 607 w 647"/>
                <a:gd name="T47" fmla="*/ 226 h 264"/>
                <a:gd name="T48" fmla="*/ 624 w 647"/>
                <a:gd name="T49" fmla="*/ 207 h 264"/>
                <a:gd name="T50" fmla="*/ 636 w 647"/>
                <a:gd name="T51" fmla="*/ 184 h 264"/>
                <a:gd name="T52" fmla="*/ 644 w 647"/>
                <a:gd name="T53" fmla="*/ 160 h 264"/>
                <a:gd name="T54" fmla="*/ 647 w 647"/>
                <a:gd name="T55" fmla="*/ 133 h 264"/>
                <a:gd name="T56" fmla="*/ 644 w 647"/>
                <a:gd name="T57" fmla="*/ 106 h 264"/>
                <a:gd name="T58" fmla="*/ 636 w 647"/>
                <a:gd name="T59" fmla="*/ 81 h 264"/>
                <a:gd name="T60" fmla="*/ 624 w 647"/>
                <a:gd name="T61" fmla="*/ 59 h 264"/>
                <a:gd name="T62" fmla="*/ 607 w 647"/>
                <a:gd name="T63" fmla="*/ 39 h 264"/>
                <a:gd name="T64" fmla="*/ 588 w 647"/>
                <a:gd name="T65" fmla="*/ 22 h 264"/>
                <a:gd name="T66" fmla="*/ 566 w 647"/>
                <a:gd name="T67" fmla="*/ 11 h 264"/>
                <a:gd name="T68" fmla="*/ 541 w 647"/>
                <a:gd name="T69" fmla="*/ 3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2 h 264"/>
                <a:gd name="T76" fmla="*/ 437 w 647"/>
                <a:gd name="T77" fmla="*/ 26 h 264"/>
                <a:gd name="T78" fmla="*/ 416 w 647"/>
                <a:gd name="T79" fmla="*/ 44 h 264"/>
                <a:gd name="T80" fmla="*/ 400 w 647"/>
                <a:gd name="T81" fmla="*/ 65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5"/>
                  </a:moveTo>
                  <a:lnTo>
                    <a:pt x="68" y="65"/>
                  </a:lnTo>
                  <a:lnTo>
                    <a:pt x="51" y="67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8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0"/>
                  </a:lnTo>
                  <a:lnTo>
                    <a:pt x="10" y="166"/>
                  </a:lnTo>
                  <a:lnTo>
                    <a:pt x="21" y="180"/>
                  </a:lnTo>
                  <a:lnTo>
                    <a:pt x="35" y="191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2"/>
                  </a:lnTo>
                  <a:lnTo>
                    <a:pt x="437" y="239"/>
                  </a:lnTo>
                  <a:lnTo>
                    <a:pt x="459" y="253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2"/>
                  </a:lnTo>
                  <a:lnTo>
                    <a:pt x="566" y="254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3"/>
                  </a:lnTo>
                  <a:lnTo>
                    <a:pt x="644" y="106"/>
                  </a:lnTo>
                  <a:lnTo>
                    <a:pt x="636" y="81"/>
                  </a:lnTo>
                  <a:lnTo>
                    <a:pt x="624" y="59"/>
                  </a:lnTo>
                  <a:lnTo>
                    <a:pt x="607" y="39"/>
                  </a:lnTo>
                  <a:lnTo>
                    <a:pt x="588" y="22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3"/>
            <p:cNvSpPr>
              <a:spLocks/>
            </p:cNvSpPr>
            <p:nvPr/>
          </p:nvSpPr>
          <p:spPr bwMode="auto">
            <a:xfrm>
              <a:off x="-118" y="2110"/>
              <a:ext cx="91" cy="90"/>
            </a:xfrm>
            <a:custGeom>
              <a:avLst/>
              <a:gdLst>
                <a:gd name="T0" fmla="*/ 537 w 816"/>
                <a:gd name="T1" fmla="*/ 547 h 805"/>
                <a:gd name="T2" fmla="*/ 497 w 816"/>
                <a:gd name="T3" fmla="*/ 587 h 805"/>
                <a:gd name="T4" fmla="*/ 468 w 816"/>
                <a:gd name="T5" fmla="*/ 616 h 805"/>
                <a:gd name="T6" fmla="*/ 447 w 816"/>
                <a:gd name="T7" fmla="*/ 636 h 805"/>
                <a:gd name="T8" fmla="*/ 433 w 816"/>
                <a:gd name="T9" fmla="*/ 650 h 805"/>
                <a:gd name="T10" fmla="*/ 421 w 816"/>
                <a:gd name="T11" fmla="*/ 662 h 805"/>
                <a:gd name="T12" fmla="*/ 410 w 816"/>
                <a:gd name="T13" fmla="*/ 673 h 805"/>
                <a:gd name="T14" fmla="*/ 395 w 816"/>
                <a:gd name="T15" fmla="*/ 688 h 805"/>
                <a:gd name="T16" fmla="*/ 374 w 816"/>
                <a:gd name="T17" fmla="*/ 708 h 805"/>
                <a:gd name="T18" fmla="*/ 345 w 816"/>
                <a:gd name="T19" fmla="*/ 737 h 805"/>
                <a:gd name="T20" fmla="*/ 303 w 816"/>
                <a:gd name="T21" fmla="*/ 779 h 805"/>
                <a:gd name="T22" fmla="*/ 208 w 816"/>
                <a:gd name="T23" fmla="*/ 736 h 805"/>
                <a:gd name="T24" fmla="*/ 68 w 816"/>
                <a:gd name="T25" fmla="*/ 607 h 805"/>
                <a:gd name="T26" fmla="*/ 0 w 816"/>
                <a:gd name="T27" fmla="*/ 538 h 805"/>
                <a:gd name="T28" fmla="*/ 2 w 816"/>
                <a:gd name="T29" fmla="*/ 535 h 805"/>
                <a:gd name="T30" fmla="*/ 37 w 816"/>
                <a:gd name="T31" fmla="*/ 499 h 805"/>
                <a:gd name="T32" fmla="*/ 92 w 816"/>
                <a:gd name="T33" fmla="*/ 446 h 805"/>
                <a:gd name="T34" fmla="*/ 135 w 816"/>
                <a:gd name="T35" fmla="*/ 403 h 805"/>
                <a:gd name="T36" fmla="*/ 169 w 816"/>
                <a:gd name="T37" fmla="*/ 369 h 805"/>
                <a:gd name="T38" fmla="*/ 197 w 816"/>
                <a:gd name="T39" fmla="*/ 341 h 805"/>
                <a:gd name="T40" fmla="*/ 223 w 816"/>
                <a:gd name="T41" fmla="*/ 315 h 805"/>
                <a:gd name="T42" fmla="*/ 248 w 816"/>
                <a:gd name="T43" fmla="*/ 291 h 805"/>
                <a:gd name="T44" fmla="*/ 277 w 816"/>
                <a:gd name="T45" fmla="*/ 263 h 805"/>
                <a:gd name="T46" fmla="*/ 312 w 816"/>
                <a:gd name="T47" fmla="*/ 228 h 805"/>
                <a:gd name="T48" fmla="*/ 356 w 816"/>
                <a:gd name="T49" fmla="*/ 187 h 805"/>
                <a:gd name="T50" fmla="*/ 411 w 816"/>
                <a:gd name="T51" fmla="*/ 133 h 805"/>
                <a:gd name="T52" fmla="*/ 473 w 816"/>
                <a:gd name="T53" fmla="*/ 75 h 805"/>
                <a:gd name="T54" fmla="*/ 540 w 816"/>
                <a:gd name="T55" fmla="*/ 31 h 805"/>
                <a:gd name="T56" fmla="*/ 602 w 816"/>
                <a:gd name="T57" fmla="*/ 4 h 805"/>
                <a:gd name="T58" fmla="*/ 657 w 816"/>
                <a:gd name="T59" fmla="*/ 1 h 805"/>
                <a:gd name="T60" fmla="*/ 709 w 816"/>
                <a:gd name="T61" fmla="*/ 22 h 805"/>
                <a:gd name="T62" fmla="*/ 759 w 816"/>
                <a:gd name="T63" fmla="*/ 60 h 805"/>
                <a:gd name="T64" fmla="*/ 796 w 816"/>
                <a:gd name="T65" fmla="*/ 108 h 805"/>
                <a:gd name="T66" fmla="*/ 815 w 816"/>
                <a:gd name="T67" fmla="*/ 161 h 805"/>
                <a:gd name="T68" fmla="*/ 810 w 816"/>
                <a:gd name="T69" fmla="*/ 217 h 805"/>
                <a:gd name="T70" fmla="*/ 773 w 816"/>
                <a:gd name="T71" fmla="*/ 283 h 805"/>
                <a:gd name="T72" fmla="*/ 717 w 816"/>
                <a:gd name="T73" fmla="*/ 354 h 805"/>
                <a:gd name="T74" fmla="*/ 681 w 816"/>
                <a:gd name="T75" fmla="*/ 398 h 805"/>
                <a:gd name="T76" fmla="*/ 656 w 816"/>
                <a:gd name="T77" fmla="*/ 424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6" h="805">
                  <a:moveTo>
                    <a:pt x="563" y="521"/>
                  </a:moveTo>
                  <a:lnTo>
                    <a:pt x="537" y="547"/>
                  </a:lnTo>
                  <a:lnTo>
                    <a:pt x="516" y="569"/>
                  </a:lnTo>
                  <a:lnTo>
                    <a:pt x="497" y="587"/>
                  </a:lnTo>
                  <a:lnTo>
                    <a:pt x="482" y="603"/>
                  </a:lnTo>
                  <a:lnTo>
                    <a:pt x="468" y="616"/>
                  </a:lnTo>
                  <a:lnTo>
                    <a:pt x="457" y="627"/>
                  </a:lnTo>
                  <a:lnTo>
                    <a:pt x="447" y="636"/>
                  </a:lnTo>
                  <a:lnTo>
                    <a:pt x="440" y="644"/>
                  </a:lnTo>
                  <a:lnTo>
                    <a:pt x="433" y="650"/>
                  </a:lnTo>
                  <a:lnTo>
                    <a:pt x="427" y="657"/>
                  </a:lnTo>
                  <a:lnTo>
                    <a:pt x="421" y="662"/>
                  </a:lnTo>
                  <a:lnTo>
                    <a:pt x="416" y="668"/>
                  </a:lnTo>
                  <a:lnTo>
                    <a:pt x="410" y="673"/>
                  </a:lnTo>
                  <a:lnTo>
                    <a:pt x="403" y="679"/>
                  </a:lnTo>
                  <a:lnTo>
                    <a:pt x="395" y="688"/>
                  </a:lnTo>
                  <a:lnTo>
                    <a:pt x="386" y="696"/>
                  </a:lnTo>
                  <a:lnTo>
                    <a:pt x="374" y="708"/>
                  </a:lnTo>
                  <a:lnTo>
                    <a:pt x="361" y="721"/>
                  </a:lnTo>
                  <a:lnTo>
                    <a:pt x="345" y="737"/>
                  </a:lnTo>
                  <a:lnTo>
                    <a:pt x="326" y="756"/>
                  </a:lnTo>
                  <a:lnTo>
                    <a:pt x="303" y="779"/>
                  </a:lnTo>
                  <a:lnTo>
                    <a:pt x="277" y="805"/>
                  </a:lnTo>
                  <a:lnTo>
                    <a:pt x="208" y="736"/>
                  </a:lnTo>
                  <a:lnTo>
                    <a:pt x="138" y="671"/>
                  </a:lnTo>
                  <a:lnTo>
                    <a:pt x="68" y="607"/>
                  </a:lnTo>
                  <a:lnTo>
                    <a:pt x="0" y="539"/>
                  </a:lnTo>
                  <a:lnTo>
                    <a:pt x="0" y="538"/>
                  </a:lnTo>
                  <a:lnTo>
                    <a:pt x="1" y="537"/>
                  </a:lnTo>
                  <a:lnTo>
                    <a:pt x="2" y="535"/>
                  </a:lnTo>
                  <a:lnTo>
                    <a:pt x="3" y="533"/>
                  </a:lnTo>
                  <a:lnTo>
                    <a:pt x="37" y="499"/>
                  </a:lnTo>
                  <a:lnTo>
                    <a:pt x="66" y="472"/>
                  </a:lnTo>
                  <a:lnTo>
                    <a:pt x="92" y="446"/>
                  </a:lnTo>
                  <a:lnTo>
                    <a:pt x="114" y="423"/>
                  </a:lnTo>
                  <a:lnTo>
                    <a:pt x="135" y="403"/>
                  </a:lnTo>
                  <a:lnTo>
                    <a:pt x="152" y="385"/>
                  </a:lnTo>
                  <a:lnTo>
                    <a:pt x="169" y="369"/>
                  </a:lnTo>
                  <a:lnTo>
                    <a:pt x="183" y="355"/>
                  </a:lnTo>
                  <a:lnTo>
                    <a:pt x="197" y="341"/>
                  </a:lnTo>
                  <a:lnTo>
                    <a:pt x="210" y="328"/>
                  </a:lnTo>
                  <a:lnTo>
                    <a:pt x="223" y="315"/>
                  </a:lnTo>
                  <a:lnTo>
                    <a:pt x="236" y="303"/>
                  </a:lnTo>
                  <a:lnTo>
                    <a:pt x="248" y="291"/>
                  </a:lnTo>
                  <a:lnTo>
                    <a:pt x="262" y="277"/>
                  </a:lnTo>
                  <a:lnTo>
                    <a:pt x="277" y="263"/>
                  </a:lnTo>
                  <a:lnTo>
                    <a:pt x="294" y="247"/>
                  </a:lnTo>
                  <a:lnTo>
                    <a:pt x="312" y="228"/>
                  </a:lnTo>
                  <a:lnTo>
                    <a:pt x="332" y="209"/>
                  </a:lnTo>
                  <a:lnTo>
                    <a:pt x="356" y="187"/>
                  </a:lnTo>
                  <a:lnTo>
                    <a:pt x="382" y="161"/>
                  </a:lnTo>
                  <a:lnTo>
                    <a:pt x="411" y="133"/>
                  </a:lnTo>
                  <a:lnTo>
                    <a:pt x="443" y="101"/>
                  </a:lnTo>
                  <a:lnTo>
                    <a:pt x="473" y="75"/>
                  </a:lnTo>
                  <a:lnTo>
                    <a:pt x="505" y="52"/>
                  </a:lnTo>
                  <a:lnTo>
                    <a:pt x="540" y="31"/>
                  </a:lnTo>
                  <a:lnTo>
                    <a:pt x="574" y="14"/>
                  </a:lnTo>
                  <a:lnTo>
                    <a:pt x="602" y="4"/>
                  </a:lnTo>
                  <a:lnTo>
                    <a:pt x="630" y="0"/>
                  </a:lnTo>
                  <a:lnTo>
                    <a:pt x="657" y="1"/>
                  </a:lnTo>
                  <a:lnTo>
                    <a:pt x="684" y="9"/>
                  </a:lnTo>
                  <a:lnTo>
                    <a:pt x="709" y="22"/>
                  </a:lnTo>
                  <a:lnTo>
                    <a:pt x="734" y="39"/>
                  </a:lnTo>
                  <a:lnTo>
                    <a:pt x="759" y="60"/>
                  </a:lnTo>
                  <a:lnTo>
                    <a:pt x="780" y="84"/>
                  </a:lnTo>
                  <a:lnTo>
                    <a:pt x="796" y="108"/>
                  </a:lnTo>
                  <a:lnTo>
                    <a:pt x="808" y="134"/>
                  </a:lnTo>
                  <a:lnTo>
                    <a:pt x="815" y="161"/>
                  </a:lnTo>
                  <a:lnTo>
                    <a:pt x="816" y="188"/>
                  </a:lnTo>
                  <a:lnTo>
                    <a:pt x="810" y="217"/>
                  </a:lnTo>
                  <a:lnTo>
                    <a:pt x="798" y="246"/>
                  </a:lnTo>
                  <a:lnTo>
                    <a:pt x="773" y="283"/>
                  </a:lnTo>
                  <a:lnTo>
                    <a:pt x="746" y="319"/>
                  </a:lnTo>
                  <a:lnTo>
                    <a:pt x="717" y="354"/>
                  </a:lnTo>
                  <a:lnTo>
                    <a:pt x="689" y="389"/>
                  </a:lnTo>
                  <a:lnTo>
                    <a:pt x="681" y="398"/>
                  </a:lnTo>
                  <a:lnTo>
                    <a:pt x="674" y="407"/>
                  </a:lnTo>
                  <a:lnTo>
                    <a:pt x="656" y="424"/>
                  </a:lnTo>
                  <a:lnTo>
                    <a:pt x="563" y="52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4"/>
            <p:cNvSpPr>
              <a:spLocks/>
            </p:cNvSpPr>
            <p:nvPr/>
          </p:nvSpPr>
          <p:spPr bwMode="auto">
            <a:xfrm>
              <a:off x="-89" y="2158"/>
              <a:ext cx="69" cy="70"/>
            </a:xfrm>
            <a:custGeom>
              <a:avLst/>
              <a:gdLst>
                <a:gd name="T0" fmla="*/ 606 w 629"/>
                <a:gd name="T1" fmla="*/ 105 h 630"/>
                <a:gd name="T2" fmla="*/ 517 w 629"/>
                <a:gd name="T3" fmla="*/ 196 h 630"/>
                <a:gd name="T4" fmla="*/ 427 w 629"/>
                <a:gd name="T5" fmla="*/ 286 h 630"/>
                <a:gd name="T6" fmla="*/ 106 w 629"/>
                <a:gd name="T7" fmla="*/ 605 h 630"/>
                <a:gd name="T8" fmla="*/ 94 w 629"/>
                <a:gd name="T9" fmla="*/ 618 h 630"/>
                <a:gd name="T10" fmla="*/ 78 w 629"/>
                <a:gd name="T11" fmla="*/ 625 h 630"/>
                <a:gd name="T12" fmla="*/ 63 w 629"/>
                <a:gd name="T13" fmla="*/ 630 h 630"/>
                <a:gd name="T14" fmla="*/ 47 w 629"/>
                <a:gd name="T15" fmla="*/ 630 h 630"/>
                <a:gd name="T16" fmla="*/ 30 w 629"/>
                <a:gd name="T17" fmla="*/ 622 h 630"/>
                <a:gd name="T18" fmla="*/ 16 w 629"/>
                <a:gd name="T19" fmla="*/ 613 h 630"/>
                <a:gd name="T20" fmla="*/ 6 w 629"/>
                <a:gd name="T21" fmla="*/ 601 h 630"/>
                <a:gd name="T22" fmla="*/ 1 w 629"/>
                <a:gd name="T23" fmla="*/ 588 h 630"/>
                <a:gd name="T24" fmla="*/ 0 w 629"/>
                <a:gd name="T25" fmla="*/ 573 h 630"/>
                <a:gd name="T26" fmla="*/ 3 w 629"/>
                <a:gd name="T27" fmla="*/ 557 h 630"/>
                <a:gd name="T28" fmla="*/ 10 w 629"/>
                <a:gd name="T29" fmla="*/ 543 h 630"/>
                <a:gd name="T30" fmla="*/ 20 w 629"/>
                <a:gd name="T31" fmla="*/ 530 h 630"/>
                <a:gd name="T32" fmla="*/ 32 w 629"/>
                <a:gd name="T33" fmla="*/ 517 h 630"/>
                <a:gd name="T34" fmla="*/ 48 w 629"/>
                <a:gd name="T35" fmla="*/ 501 h 630"/>
                <a:gd name="T36" fmla="*/ 68 w 629"/>
                <a:gd name="T37" fmla="*/ 482 h 630"/>
                <a:gd name="T38" fmla="*/ 88 w 629"/>
                <a:gd name="T39" fmla="*/ 461 h 630"/>
                <a:gd name="T40" fmla="*/ 112 w 629"/>
                <a:gd name="T41" fmla="*/ 438 h 630"/>
                <a:gd name="T42" fmla="*/ 136 w 629"/>
                <a:gd name="T43" fmla="*/ 413 h 630"/>
                <a:gd name="T44" fmla="*/ 162 w 629"/>
                <a:gd name="T45" fmla="*/ 387 h 630"/>
                <a:gd name="T46" fmla="*/ 189 w 629"/>
                <a:gd name="T47" fmla="*/ 360 h 630"/>
                <a:gd name="T48" fmla="*/ 217 w 629"/>
                <a:gd name="T49" fmla="*/ 332 h 630"/>
                <a:gd name="T50" fmla="*/ 246 w 629"/>
                <a:gd name="T51" fmla="*/ 303 h 630"/>
                <a:gd name="T52" fmla="*/ 275 w 629"/>
                <a:gd name="T53" fmla="*/ 274 h 630"/>
                <a:gd name="T54" fmla="*/ 303 w 629"/>
                <a:gd name="T55" fmla="*/ 246 h 630"/>
                <a:gd name="T56" fmla="*/ 331 w 629"/>
                <a:gd name="T57" fmla="*/ 217 h 630"/>
                <a:gd name="T58" fmla="*/ 359 w 629"/>
                <a:gd name="T59" fmla="*/ 191 h 630"/>
                <a:gd name="T60" fmla="*/ 385 w 629"/>
                <a:gd name="T61" fmla="*/ 164 h 630"/>
                <a:gd name="T62" fmla="*/ 409 w 629"/>
                <a:gd name="T63" fmla="*/ 139 h 630"/>
                <a:gd name="T64" fmla="*/ 433 w 629"/>
                <a:gd name="T65" fmla="*/ 116 h 630"/>
                <a:gd name="T66" fmla="*/ 455 w 629"/>
                <a:gd name="T67" fmla="*/ 94 h 630"/>
                <a:gd name="T68" fmla="*/ 474 w 629"/>
                <a:gd name="T69" fmla="*/ 75 h 630"/>
                <a:gd name="T70" fmla="*/ 491 w 629"/>
                <a:gd name="T71" fmla="*/ 59 h 630"/>
                <a:gd name="T72" fmla="*/ 505 w 629"/>
                <a:gd name="T73" fmla="*/ 45 h 630"/>
                <a:gd name="T74" fmla="*/ 516 w 629"/>
                <a:gd name="T75" fmla="*/ 34 h 630"/>
                <a:gd name="T76" fmla="*/ 523 w 629"/>
                <a:gd name="T77" fmla="*/ 27 h 630"/>
                <a:gd name="T78" fmla="*/ 527 w 629"/>
                <a:gd name="T79" fmla="*/ 22 h 630"/>
                <a:gd name="T80" fmla="*/ 546 w 629"/>
                <a:gd name="T81" fmla="*/ 9 h 630"/>
                <a:gd name="T82" fmla="*/ 564 w 629"/>
                <a:gd name="T83" fmla="*/ 1 h 630"/>
                <a:gd name="T84" fmla="*/ 581 w 629"/>
                <a:gd name="T85" fmla="*/ 0 h 630"/>
                <a:gd name="T86" fmla="*/ 599 w 629"/>
                <a:gd name="T87" fmla="*/ 6 h 630"/>
                <a:gd name="T88" fmla="*/ 615 w 629"/>
                <a:gd name="T89" fmla="*/ 19 h 630"/>
                <a:gd name="T90" fmla="*/ 623 w 629"/>
                <a:gd name="T91" fmla="*/ 31 h 630"/>
                <a:gd name="T92" fmla="*/ 629 w 629"/>
                <a:gd name="T93" fmla="*/ 45 h 630"/>
                <a:gd name="T94" fmla="*/ 629 w 629"/>
                <a:gd name="T95" fmla="*/ 60 h 630"/>
                <a:gd name="T96" fmla="*/ 625 w 629"/>
                <a:gd name="T97" fmla="*/ 75 h 630"/>
                <a:gd name="T98" fmla="*/ 618 w 629"/>
                <a:gd name="T99" fmla="*/ 90 h 630"/>
                <a:gd name="T100" fmla="*/ 606 w 629"/>
                <a:gd name="T101" fmla="*/ 105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9" h="630">
                  <a:moveTo>
                    <a:pt x="606" y="105"/>
                  </a:moveTo>
                  <a:lnTo>
                    <a:pt x="517" y="196"/>
                  </a:lnTo>
                  <a:lnTo>
                    <a:pt x="427" y="286"/>
                  </a:lnTo>
                  <a:lnTo>
                    <a:pt x="106" y="605"/>
                  </a:lnTo>
                  <a:lnTo>
                    <a:pt x="94" y="618"/>
                  </a:lnTo>
                  <a:lnTo>
                    <a:pt x="78" y="625"/>
                  </a:lnTo>
                  <a:lnTo>
                    <a:pt x="63" y="630"/>
                  </a:lnTo>
                  <a:lnTo>
                    <a:pt x="47" y="630"/>
                  </a:lnTo>
                  <a:lnTo>
                    <a:pt x="30" y="622"/>
                  </a:lnTo>
                  <a:lnTo>
                    <a:pt x="16" y="613"/>
                  </a:lnTo>
                  <a:lnTo>
                    <a:pt x="6" y="601"/>
                  </a:lnTo>
                  <a:lnTo>
                    <a:pt x="1" y="588"/>
                  </a:lnTo>
                  <a:lnTo>
                    <a:pt x="0" y="573"/>
                  </a:lnTo>
                  <a:lnTo>
                    <a:pt x="3" y="557"/>
                  </a:lnTo>
                  <a:lnTo>
                    <a:pt x="10" y="543"/>
                  </a:lnTo>
                  <a:lnTo>
                    <a:pt x="20" y="530"/>
                  </a:lnTo>
                  <a:lnTo>
                    <a:pt x="32" y="517"/>
                  </a:lnTo>
                  <a:lnTo>
                    <a:pt x="48" y="501"/>
                  </a:lnTo>
                  <a:lnTo>
                    <a:pt x="68" y="482"/>
                  </a:lnTo>
                  <a:lnTo>
                    <a:pt x="88" y="461"/>
                  </a:lnTo>
                  <a:lnTo>
                    <a:pt x="112" y="438"/>
                  </a:lnTo>
                  <a:lnTo>
                    <a:pt x="136" y="413"/>
                  </a:lnTo>
                  <a:lnTo>
                    <a:pt x="162" y="387"/>
                  </a:lnTo>
                  <a:lnTo>
                    <a:pt x="189" y="360"/>
                  </a:lnTo>
                  <a:lnTo>
                    <a:pt x="217" y="332"/>
                  </a:lnTo>
                  <a:lnTo>
                    <a:pt x="246" y="303"/>
                  </a:lnTo>
                  <a:lnTo>
                    <a:pt x="275" y="274"/>
                  </a:lnTo>
                  <a:lnTo>
                    <a:pt x="303" y="246"/>
                  </a:lnTo>
                  <a:lnTo>
                    <a:pt x="331" y="217"/>
                  </a:lnTo>
                  <a:lnTo>
                    <a:pt x="359" y="191"/>
                  </a:lnTo>
                  <a:lnTo>
                    <a:pt x="385" y="164"/>
                  </a:lnTo>
                  <a:lnTo>
                    <a:pt x="409" y="139"/>
                  </a:lnTo>
                  <a:lnTo>
                    <a:pt x="433" y="116"/>
                  </a:lnTo>
                  <a:lnTo>
                    <a:pt x="455" y="94"/>
                  </a:lnTo>
                  <a:lnTo>
                    <a:pt x="474" y="75"/>
                  </a:lnTo>
                  <a:lnTo>
                    <a:pt x="491" y="59"/>
                  </a:lnTo>
                  <a:lnTo>
                    <a:pt x="505" y="45"/>
                  </a:lnTo>
                  <a:lnTo>
                    <a:pt x="516" y="34"/>
                  </a:lnTo>
                  <a:lnTo>
                    <a:pt x="523" y="27"/>
                  </a:lnTo>
                  <a:lnTo>
                    <a:pt x="527" y="22"/>
                  </a:lnTo>
                  <a:lnTo>
                    <a:pt x="546" y="9"/>
                  </a:lnTo>
                  <a:lnTo>
                    <a:pt x="564" y="1"/>
                  </a:lnTo>
                  <a:lnTo>
                    <a:pt x="581" y="0"/>
                  </a:lnTo>
                  <a:lnTo>
                    <a:pt x="599" y="6"/>
                  </a:lnTo>
                  <a:lnTo>
                    <a:pt x="615" y="19"/>
                  </a:lnTo>
                  <a:lnTo>
                    <a:pt x="623" y="31"/>
                  </a:lnTo>
                  <a:lnTo>
                    <a:pt x="629" y="45"/>
                  </a:lnTo>
                  <a:lnTo>
                    <a:pt x="629" y="60"/>
                  </a:lnTo>
                  <a:lnTo>
                    <a:pt x="625" y="75"/>
                  </a:lnTo>
                  <a:lnTo>
                    <a:pt x="618" y="90"/>
                  </a:lnTo>
                  <a:lnTo>
                    <a:pt x="606" y="1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5"/>
            <p:cNvSpPr>
              <a:spLocks/>
            </p:cNvSpPr>
            <p:nvPr/>
          </p:nvSpPr>
          <p:spPr bwMode="auto">
            <a:xfrm>
              <a:off x="-312" y="2031"/>
              <a:ext cx="180" cy="13"/>
            </a:xfrm>
            <a:custGeom>
              <a:avLst/>
              <a:gdLst>
                <a:gd name="T0" fmla="*/ 1615 w 1615"/>
                <a:gd name="T1" fmla="*/ 61 h 123"/>
                <a:gd name="T2" fmla="*/ 1612 w 1615"/>
                <a:gd name="T3" fmla="*/ 81 h 123"/>
                <a:gd name="T4" fmla="*/ 1603 w 1615"/>
                <a:gd name="T5" fmla="*/ 98 h 123"/>
                <a:gd name="T6" fmla="*/ 1590 w 1615"/>
                <a:gd name="T7" fmla="*/ 111 h 123"/>
                <a:gd name="T8" fmla="*/ 1573 w 1615"/>
                <a:gd name="T9" fmla="*/ 120 h 123"/>
                <a:gd name="T10" fmla="*/ 1554 w 1615"/>
                <a:gd name="T11" fmla="*/ 123 h 123"/>
                <a:gd name="T12" fmla="*/ 61 w 1615"/>
                <a:gd name="T13" fmla="*/ 123 h 123"/>
                <a:gd name="T14" fmla="*/ 42 w 1615"/>
                <a:gd name="T15" fmla="*/ 120 h 123"/>
                <a:gd name="T16" fmla="*/ 25 w 1615"/>
                <a:gd name="T17" fmla="*/ 111 h 123"/>
                <a:gd name="T18" fmla="*/ 12 w 1615"/>
                <a:gd name="T19" fmla="*/ 98 h 123"/>
                <a:gd name="T20" fmla="*/ 3 w 1615"/>
                <a:gd name="T21" fmla="*/ 81 h 123"/>
                <a:gd name="T22" fmla="*/ 0 w 1615"/>
                <a:gd name="T23" fmla="*/ 61 h 123"/>
                <a:gd name="T24" fmla="*/ 3 w 1615"/>
                <a:gd name="T25" fmla="*/ 42 h 123"/>
                <a:gd name="T26" fmla="*/ 12 w 1615"/>
                <a:gd name="T27" fmla="*/ 25 h 123"/>
                <a:gd name="T28" fmla="*/ 25 w 1615"/>
                <a:gd name="T29" fmla="*/ 12 h 123"/>
                <a:gd name="T30" fmla="*/ 42 w 1615"/>
                <a:gd name="T31" fmla="*/ 3 h 123"/>
                <a:gd name="T32" fmla="*/ 61 w 1615"/>
                <a:gd name="T33" fmla="*/ 0 h 123"/>
                <a:gd name="T34" fmla="*/ 1554 w 1615"/>
                <a:gd name="T35" fmla="*/ 0 h 123"/>
                <a:gd name="T36" fmla="*/ 1573 w 1615"/>
                <a:gd name="T37" fmla="*/ 3 h 123"/>
                <a:gd name="T38" fmla="*/ 1590 w 1615"/>
                <a:gd name="T39" fmla="*/ 12 h 123"/>
                <a:gd name="T40" fmla="*/ 1603 w 1615"/>
                <a:gd name="T41" fmla="*/ 25 h 123"/>
                <a:gd name="T42" fmla="*/ 1612 w 1615"/>
                <a:gd name="T43" fmla="*/ 42 h 123"/>
                <a:gd name="T44" fmla="*/ 1615 w 1615"/>
                <a:gd name="T45" fmla="*/ 6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3">
                  <a:moveTo>
                    <a:pt x="1615" y="61"/>
                  </a:moveTo>
                  <a:lnTo>
                    <a:pt x="1612" y="81"/>
                  </a:lnTo>
                  <a:lnTo>
                    <a:pt x="1603" y="98"/>
                  </a:lnTo>
                  <a:lnTo>
                    <a:pt x="1590" y="111"/>
                  </a:lnTo>
                  <a:lnTo>
                    <a:pt x="1573" y="120"/>
                  </a:lnTo>
                  <a:lnTo>
                    <a:pt x="1554" y="123"/>
                  </a:lnTo>
                  <a:lnTo>
                    <a:pt x="61" y="123"/>
                  </a:lnTo>
                  <a:lnTo>
                    <a:pt x="42" y="120"/>
                  </a:lnTo>
                  <a:lnTo>
                    <a:pt x="25" y="111"/>
                  </a:lnTo>
                  <a:lnTo>
                    <a:pt x="12" y="98"/>
                  </a:lnTo>
                  <a:lnTo>
                    <a:pt x="3" y="81"/>
                  </a:lnTo>
                  <a:lnTo>
                    <a:pt x="0" y="61"/>
                  </a:lnTo>
                  <a:lnTo>
                    <a:pt x="3" y="42"/>
                  </a:lnTo>
                  <a:lnTo>
                    <a:pt x="12" y="25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3"/>
                  </a:lnTo>
                  <a:lnTo>
                    <a:pt x="1590" y="12"/>
                  </a:lnTo>
                  <a:lnTo>
                    <a:pt x="1603" y="25"/>
                  </a:lnTo>
                  <a:lnTo>
                    <a:pt x="1612" y="42"/>
                  </a:lnTo>
                  <a:lnTo>
                    <a:pt x="161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6"/>
            <p:cNvSpPr>
              <a:spLocks/>
            </p:cNvSpPr>
            <p:nvPr/>
          </p:nvSpPr>
          <p:spPr bwMode="auto">
            <a:xfrm>
              <a:off x="-312" y="2092"/>
              <a:ext cx="180" cy="14"/>
            </a:xfrm>
            <a:custGeom>
              <a:avLst/>
              <a:gdLst>
                <a:gd name="T0" fmla="*/ 1615 w 1615"/>
                <a:gd name="T1" fmla="*/ 63 h 124"/>
                <a:gd name="T2" fmla="*/ 1612 w 1615"/>
                <a:gd name="T3" fmla="*/ 82 h 124"/>
                <a:gd name="T4" fmla="*/ 1603 w 1615"/>
                <a:gd name="T5" fmla="*/ 99 h 124"/>
                <a:gd name="T6" fmla="*/ 1590 w 1615"/>
                <a:gd name="T7" fmla="*/ 112 h 124"/>
                <a:gd name="T8" fmla="*/ 1573 w 1615"/>
                <a:gd name="T9" fmla="*/ 120 h 124"/>
                <a:gd name="T10" fmla="*/ 1554 w 1615"/>
                <a:gd name="T11" fmla="*/ 124 h 124"/>
                <a:gd name="T12" fmla="*/ 61 w 1615"/>
                <a:gd name="T13" fmla="*/ 124 h 124"/>
                <a:gd name="T14" fmla="*/ 42 w 1615"/>
                <a:gd name="T15" fmla="*/ 120 h 124"/>
                <a:gd name="T16" fmla="*/ 25 w 1615"/>
                <a:gd name="T17" fmla="*/ 112 h 124"/>
                <a:gd name="T18" fmla="*/ 12 w 1615"/>
                <a:gd name="T19" fmla="*/ 99 h 124"/>
                <a:gd name="T20" fmla="*/ 3 w 1615"/>
                <a:gd name="T21" fmla="*/ 82 h 124"/>
                <a:gd name="T22" fmla="*/ 0 w 1615"/>
                <a:gd name="T23" fmla="*/ 63 h 124"/>
                <a:gd name="T24" fmla="*/ 3 w 1615"/>
                <a:gd name="T25" fmla="*/ 43 h 124"/>
                <a:gd name="T26" fmla="*/ 12 w 1615"/>
                <a:gd name="T27" fmla="*/ 26 h 124"/>
                <a:gd name="T28" fmla="*/ 25 w 1615"/>
                <a:gd name="T29" fmla="*/ 12 h 124"/>
                <a:gd name="T30" fmla="*/ 42 w 1615"/>
                <a:gd name="T31" fmla="*/ 4 h 124"/>
                <a:gd name="T32" fmla="*/ 61 w 1615"/>
                <a:gd name="T33" fmla="*/ 0 h 124"/>
                <a:gd name="T34" fmla="*/ 1554 w 1615"/>
                <a:gd name="T35" fmla="*/ 0 h 124"/>
                <a:gd name="T36" fmla="*/ 1573 w 1615"/>
                <a:gd name="T37" fmla="*/ 4 h 124"/>
                <a:gd name="T38" fmla="*/ 1590 w 1615"/>
                <a:gd name="T39" fmla="*/ 12 h 124"/>
                <a:gd name="T40" fmla="*/ 1603 w 1615"/>
                <a:gd name="T41" fmla="*/ 26 h 124"/>
                <a:gd name="T42" fmla="*/ 1612 w 1615"/>
                <a:gd name="T43" fmla="*/ 43 h 124"/>
                <a:gd name="T44" fmla="*/ 1615 w 1615"/>
                <a:gd name="T45" fmla="*/ 6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4">
                  <a:moveTo>
                    <a:pt x="1615" y="63"/>
                  </a:moveTo>
                  <a:lnTo>
                    <a:pt x="1612" y="82"/>
                  </a:lnTo>
                  <a:lnTo>
                    <a:pt x="1603" y="99"/>
                  </a:lnTo>
                  <a:lnTo>
                    <a:pt x="1590" y="112"/>
                  </a:lnTo>
                  <a:lnTo>
                    <a:pt x="1573" y="120"/>
                  </a:lnTo>
                  <a:lnTo>
                    <a:pt x="1554" y="124"/>
                  </a:lnTo>
                  <a:lnTo>
                    <a:pt x="61" y="124"/>
                  </a:lnTo>
                  <a:lnTo>
                    <a:pt x="42" y="120"/>
                  </a:lnTo>
                  <a:lnTo>
                    <a:pt x="25" y="112"/>
                  </a:lnTo>
                  <a:lnTo>
                    <a:pt x="12" y="99"/>
                  </a:lnTo>
                  <a:lnTo>
                    <a:pt x="3" y="82"/>
                  </a:lnTo>
                  <a:lnTo>
                    <a:pt x="0" y="63"/>
                  </a:lnTo>
                  <a:lnTo>
                    <a:pt x="3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4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4"/>
                  </a:lnTo>
                  <a:lnTo>
                    <a:pt x="1590" y="12"/>
                  </a:lnTo>
                  <a:lnTo>
                    <a:pt x="1603" y="26"/>
                  </a:lnTo>
                  <a:lnTo>
                    <a:pt x="1612" y="43"/>
                  </a:lnTo>
                  <a:lnTo>
                    <a:pt x="1615" y="6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7"/>
            <p:cNvSpPr>
              <a:spLocks/>
            </p:cNvSpPr>
            <p:nvPr/>
          </p:nvSpPr>
          <p:spPr bwMode="auto">
            <a:xfrm>
              <a:off x="-312" y="2153"/>
              <a:ext cx="179" cy="14"/>
            </a:xfrm>
            <a:custGeom>
              <a:avLst/>
              <a:gdLst>
                <a:gd name="T0" fmla="*/ 1614 w 1614"/>
                <a:gd name="T1" fmla="*/ 49 h 124"/>
                <a:gd name="T2" fmla="*/ 1540 w 1614"/>
                <a:gd name="T3" fmla="*/ 124 h 124"/>
                <a:gd name="T4" fmla="*/ 61 w 1614"/>
                <a:gd name="T5" fmla="*/ 124 h 124"/>
                <a:gd name="T6" fmla="*/ 42 w 1614"/>
                <a:gd name="T7" fmla="*/ 121 h 124"/>
                <a:gd name="T8" fmla="*/ 25 w 1614"/>
                <a:gd name="T9" fmla="*/ 112 h 124"/>
                <a:gd name="T10" fmla="*/ 12 w 1614"/>
                <a:gd name="T11" fmla="*/ 98 h 124"/>
                <a:gd name="T12" fmla="*/ 2 w 1614"/>
                <a:gd name="T13" fmla="*/ 81 h 124"/>
                <a:gd name="T14" fmla="*/ 0 w 1614"/>
                <a:gd name="T15" fmla="*/ 62 h 124"/>
                <a:gd name="T16" fmla="*/ 2 w 1614"/>
                <a:gd name="T17" fmla="*/ 43 h 124"/>
                <a:gd name="T18" fmla="*/ 12 w 1614"/>
                <a:gd name="T19" fmla="*/ 26 h 124"/>
                <a:gd name="T20" fmla="*/ 25 w 1614"/>
                <a:gd name="T21" fmla="*/ 12 h 124"/>
                <a:gd name="T22" fmla="*/ 42 w 1614"/>
                <a:gd name="T23" fmla="*/ 3 h 124"/>
                <a:gd name="T24" fmla="*/ 61 w 1614"/>
                <a:gd name="T25" fmla="*/ 0 h 124"/>
                <a:gd name="T26" fmla="*/ 1554 w 1614"/>
                <a:gd name="T27" fmla="*/ 0 h 124"/>
                <a:gd name="T28" fmla="*/ 1571 w 1614"/>
                <a:gd name="T29" fmla="*/ 3 h 124"/>
                <a:gd name="T30" fmla="*/ 1586 w 1614"/>
                <a:gd name="T31" fmla="*/ 10 h 124"/>
                <a:gd name="T32" fmla="*/ 1599 w 1614"/>
                <a:gd name="T33" fmla="*/ 20 h 124"/>
                <a:gd name="T34" fmla="*/ 1609 w 1614"/>
                <a:gd name="T35" fmla="*/ 33 h 124"/>
                <a:gd name="T36" fmla="*/ 1614 w 1614"/>
                <a:gd name="T37" fmla="*/ 49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14" h="124">
                  <a:moveTo>
                    <a:pt x="1614" y="49"/>
                  </a:moveTo>
                  <a:lnTo>
                    <a:pt x="1540" y="124"/>
                  </a:lnTo>
                  <a:lnTo>
                    <a:pt x="61" y="124"/>
                  </a:lnTo>
                  <a:lnTo>
                    <a:pt x="42" y="121"/>
                  </a:lnTo>
                  <a:lnTo>
                    <a:pt x="25" y="112"/>
                  </a:lnTo>
                  <a:lnTo>
                    <a:pt x="12" y="98"/>
                  </a:lnTo>
                  <a:lnTo>
                    <a:pt x="2" y="81"/>
                  </a:lnTo>
                  <a:lnTo>
                    <a:pt x="0" y="62"/>
                  </a:lnTo>
                  <a:lnTo>
                    <a:pt x="2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1" y="3"/>
                  </a:lnTo>
                  <a:lnTo>
                    <a:pt x="1586" y="10"/>
                  </a:lnTo>
                  <a:lnTo>
                    <a:pt x="1599" y="20"/>
                  </a:lnTo>
                  <a:lnTo>
                    <a:pt x="1609" y="33"/>
                  </a:lnTo>
                  <a:lnTo>
                    <a:pt x="1614" y="4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8"/>
            <p:cNvSpPr>
              <a:spLocks/>
            </p:cNvSpPr>
            <p:nvPr/>
          </p:nvSpPr>
          <p:spPr bwMode="auto">
            <a:xfrm>
              <a:off x="-224" y="2177"/>
              <a:ext cx="129" cy="132"/>
            </a:xfrm>
            <a:custGeom>
              <a:avLst/>
              <a:gdLst>
                <a:gd name="T0" fmla="*/ 1155 w 1157"/>
                <a:gd name="T1" fmla="*/ 280 h 1183"/>
                <a:gd name="T2" fmla="*/ 1140 w 1157"/>
                <a:gd name="T3" fmla="*/ 296 h 1183"/>
                <a:gd name="T4" fmla="*/ 1111 w 1157"/>
                <a:gd name="T5" fmla="*/ 325 h 1183"/>
                <a:gd name="T6" fmla="*/ 1070 w 1157"/>
                <a:gd name="T7" fmla="*/ 367 h 1183"/>
                <a:gd name="T8" fmla="*/ 1020 w 1157"/>
                <a:gd name="T9" fmla="*/ 417 h 1183"/>
                <a:gd name="T10" fmla="*/ 963 w 1157"/>
                <a:gd name="T11" fmla="*/ 475 h 1183"/>
                <a:gd name="T12" fmla="*/ 899 w 1157"/>
                <a:gd name="T13" fmla="*/ 537 h 1183"/>
                <a:gd name="T14" fmla="*/ 833 w 1157"/>
                <a:gd name="T15" fmla="*/ 603 h 1183"/>
                <a:gd name="T16" fmla="*/ 765 w 1157"/>
                <a:gd name="T17" fmla="*/ 670 h 1183"/>
                <a:gd name="T18" fmla="*/ 697 w 1157"/>
                <a:gd name="T19" fmla="*/ 736 h 1183"/>
                <a:gd name="T20" fmla="*/ 633 w 1157"/>
                <a:gd name="T21" fmla="*/ 798 h 1183"/>
                <a:gd name="T22" fmla="*/ 573 w 1157"/>
                <a:gd name="T23" fmla="*/ 855 h 1183"/>
                <a:gd name="T24" fmla="*/ 520 w 1157"/>
                <a:gd name="T25" fmla="*/ 904 h 1183"/>
                <a:gd name="T26" fmla="*/ 475 w 1157"/>
                <a:gd name="T27" fmla="*/ 945 h 1183"/>
                <a:gd name="T28" fmla="*/ 442 w 1157"/>
                <a:gd name="T29" fmla="*/ 973 h 1183"/>
                <a:gd name="T30" fmla="*/ 427 w 1157"/>
                <a:gd name="T31" fmla="*/ 983 h 1183"/>
                <a:gd name="T32" fmla="*/ 409 w 1157"/>
                <a:gd name="T33" fmla="*/ 995 h 1183"/>
                <a:gd name="T34" fmla="*/ 378 w 1157"/>
                <a:gd name="T35" fmla="*/ 1017 h 1183"/>
                <a:gd name="T36" fmla="*/ 336 w 1157"/>
                <a:gd name="T37" fmla="*/ 1042 h 1183"/>
                <a:gd name="T38" fmla="*/ 287 w 1157"/>
                <a:gd name="T39" fmla="*/ 1071 h 1183"/>
                <a:gd name="T40" fmla="*/ 234 w 1157"/>
                <a:gd name="T41" fmla="*/ 1099 h 1183"/>
                <a:gd name="T42" fmla="*/ 181 w 1157"/>
                <a:gd name="T43" fmla="*/ 1123 h 1183"/>
                <a:gd name="T44" fmla="*/ 129 w 1157"/>
                <a:gd name="T45" fmla="*/ 1139 h 1183"/>
                <a:gd name="T46" fmla="*/ 84 w 1157"/>
                <a:gd name="T47" fmla="*/ 1143 h 1183"/>
                <a:gd name="T48" fmla="*/ 78 w 1157"/>
                <a:gd name="T49" fmla="*/ 1144 h 1183"/>
                <a:gd name="T50" fmla="*/ 47 w 1157"/>
                <a:gd name="T51" fmla="*/ 1174 h 1183"/>
                <a:gd name="T52" fmla="*/ 27 w 1157"/>
                <a:gd name="T53" fmla="*/ 1183 h 1183"/>
                <a:gd name="T54" fmla="*/ 9 w 1157"/>
                <a:gd name="T55" fmla="*/ 1176 h 1183"/>
                <a:gd name="T56" fmla="*/ 0 w 1157"/>
                <a:gd name="T57" fmla="*/ 1157 h 1183"/>
                <a:gd name="T58" fmla="*/ 6 w 1157"/>
                <a:gd name="T59" fmla="*/ 1137 h 1183"/>
                <a:gd name="T60" fmla="*/ 29 w 1157"/>
                <a:gd name="T61" fmla="*/ 1091 h 1183"/>
                <a:gd name="T62" fmla="*/ 32 w 1157"/>
                <a:gd name="T63" fmla="*/ 1046 h 1183"/>
                <a:gd name="T64" fmla="*/ 46 w 1157"/>
                <a:gd name="T65" fmla="*/ 994 h 1183"/>
                <a:gd name="T66" fmla="*/ 68 w 1157"/>
                <a:gd name="T67" fmla="*/ 941 h 1183"/>
                <a:gd name="T68" fmla="*/ 93 w 1157"/>
                <a:gd name="T69" fmla="*/ 886 h 1183"/>
                <a:gd name="T70" fmla="*/ 120 w 1157"/>
                <a:gd name="T71" fmla="*/ 837 h 1183"/>
                <a:gd name="T72" fmla="*/ 146 w 1157"/>
                <a:gd name="T73" fmla="*/ 794 h 1183"/>
                <a:gd name="T74" fmla="*/ 167 w 1157"/>
                <a:gd name="T75" fmla="*/ 762 h 1183"/>
                <a:gd name="T76" fmla="*/ 177 w 1157"/>
                <a:gd name="T77" fmla="*/ 745 h 1183"/>
                <a:gd name="T78" fmla="*/ 188 w 1157"/>
                <a:gd name="T79" fmla="*/ 730 h 1183"/>
                <a:gd name="T80" fmla="*/ 215 w 1157"/>
                <a:gd name="T81" fmla="*/ 695 h 1183"/>
                <a:gd name="T82" fmla="*/ 254 w 1157"/>
                <a:gd name="T83" fmla="*/ 650 h 1183"/>
                <a:gd name="T84" fmla="*/ 302 w 1157"/>
                <a:gd name="T85" fmla="*/ 596 h 1183"/>
                <a:gd name="T86" fmla="*/ 358 w 1157"/>
                <a:gd name="T87" fmla="*/ 535 h 1183"/>
                <a:gd name="T88" fmla="*/ 419 w 1157"/>
                <a:gd name="T89" fmla="*/ 469 h 1183"/>
                <a:gd name="T90" fmla="*/ 484 w 1157"/>
                <a:gd name="T91" fmla="*/ 400 h 1183"/>
                <a:gd name="T92" fmla="*/ 549 w 1157"/>
                <a:gd name="T93" fmla="*/ 331 h 1183"/>
                <a:gd name="T94" fmla="*/ 614 w 1157"/>
                <a:gd name="T95" fmla="*/ 264 h 1183"/>
                <a:gd name="T96" fmla="*/ 675 w 1157"/>
                <a:gd name="T97" fmla="*/ 199 h 1183"/>
                <a:gd name="T98" fmla="*/ 732 w 1157"/>
                <a:gd name="T99" fmla="*/ 141 h 1183"/>
                <a:gd name="T100" fmla="*/ 781 w 1157"/>
                <a:gd name="T101" fmla="*/ 89 h 1183"/>
                <a:gd name="T102" fmla="*/ 821 w 1157"/>
                <a:gd name="T103" fmla="*/ 47 h 1183"/>
                <a:gd name="T104" fmla="*/ 850 w 1157"/>
                <a:gd name="T105" fmla="*/ 18 h 1183"/>
                <a:gd name="T106" fmla="*/ 865 w 1157"/>
                <a:gd name="T107" fmla="*/ 2 h 1183"/>
                <a:gd name="T108" fmla="*/ 1012 w 1157"/>
                <a:gd name="T109" fmla="*/ 137 h 1183"/>
                <a:gd name="T110" fmla="*/ 1020 w 1157"/>
                <a:gd name="T111" fmla="*/ 145 h 1183"/>
                <a:gd name="T112" fmla="*/ 1039 w 1157"/>
                <a:gd name="T113" fmla="*/ 162 h 1183"/>
                <a:gd name="T114" fmla="*/ 1064 w 1157"/>
                <a:gd name="T115" fmla="*/ 187 h 1183"/>
                <a:gd name="T116" fmla="*/ 1093 w 1157"/>
                <a:gd name="T117" fmla="*/ 214 h 1183"/>
                <a:gd name="T118" fmla="*/ 1121 w 1157"/>
                <a:gd name="T119" fmla="*/ 241 h 1183"/>
                <a:gd name="T120" fmla="*/ 1142 w 1157"/>
                <a:gd name="T121" fmla="*/ 264 h 1183"/>
                <a:gd name="T122" fmla="*/ 1155 w 1157"/>
                <a:gd name="T123" fmla="*/ 277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57" h="1183">
                  <a:moveTo>
                    <a:pt x="1157" y="278"/>
                  </a:moveTo>
                  <a:lnTo>
                    <a:pt x="1155" y="280"/>
                  </a:lnTo>
                  <a:lnTo>
                    <a:pt x="1150" y="286"/>
                  </a:lnTo>
                  <a:lnTo>
                    <a:pt x="1140" y="296"/>
                  </a:lnTo>
                  <a:lnTo>
                    <a:pt x="1127" y="309"/>
                  </a:lnTo>
                  <a:lnTo>
                    <a:pt x="1111" y="325"/>
                  </a:lnTo>
                  <a:lnTo>
                    <a:pt x="1092" y="344"/>
                  </a:lnTo>
                  <a:lnTo>
                    <a:pt x="1070" y="367"/>
                  </a:lnTo>
                  <a:lnTo>
                    <a:pt x="1047" y="390"/>
                  </a:lnTo>
                  <a:lnTo>
                    <a:pt x="1020" y="417"/>
                  </a:lnTo>
                  <a:lnTo>
                    <a:pt x="992" y="445"/>
                  </a:lnTo>
                  <a:lnTo>
                    <a:pt x="963" y="475"/>
                  </a:lnTo>
                  <a:lnTo>
                    <a:pt x="932" y="505"/>
                  </a:lnTo>
                  <a:lnTo>
                    <a:pt x="899" y="537"/>
                  </a:lnTo>
                  <a:lnTo>
                    <a:pt x="866" y="570"/>
                  </a:lnTo>
                  <a:lnTo>
                    <a:pt x="833" y="603"/>
                  </a:lnTo>
                  <a:lnTo>
                    <a:pt x="799" y="636"/>
                  </a:lnTo>
                  <a:lnTo>
                    <a:pt x="765" y="670"/>
                  </a:lnTo>
                  <a:lnTo>
                    <a:pt x="731" y="703"/>
                  </a:lnTo>
                  <a:lnTo>
                    <a:pt x="697" y="736"/>
                  </a:lnTo>
                  <a:lnTo>
                    <a:pt x="665" y="767"/>
                  </a:lnTo>
                  <a:lnTo>
                    <a:pt x="633" y="798"/>
                  </a:lnTo>
                  <a:lnTo>
                    <a:pt x="603" y="827"/>
                  </a:lnTo>
                  <a:lnTo>
                    <a:pt x="573" y="855"/>
                  </a:lnTo>
                  <a:lnTo>
                    <a:pt x="546" y="881"/>
                  </a:lnTo>
                  <a:lnTo>
                    <a:pt x="520" y="904"/>
                  </a:lnTo>
                  <a:lnTo>
                    <a:pt x="496" y="926"/>
                  </a:lnTo>
                  <a:lnTo>
                    <a:pt x="475" y="945"/>
                  </a:lnTo>
                  <a:lnTo>
                    <a:pt x="457" y="960"/>
                  </a:lnTo>
                  <a:lnTo>
                    <a:pt x="442" y="973"/>
                  </a:lnTo>
                  <a:lnTo>
                    <a:pt x="429" y="981"/>
                  </a:lnTo>
                  <a:lnTo>
                    <a:pt x="427" y="983"/>
                  </a:lnTo>
                  <a:lnTo>
                    <a:pt x="420" y="988"/>
                  </a:lnTo>
                  <a:lnTo>
                    <a:pt x="409" y="995"/>
                  </a:lnTo>
                  <a:lnTo>
                    <a:pt x="395" y="1005"/>
                  </a:lnTo>
                  <a:lnTo>
                    <a:pt x="378" y="1017"/>
                  </a:lnTo>
                  <a:lnTo>
                    <a:pt x="359" y="1029"/>
                  </a:lnTo>
                  <a:lnTo>
                    <a:pt x="336" y="1042"/>
                  </a:lnTo>
                  <a:lnTo>
                    <a:pt x="313" y="1057"/>
                  </a:lnTo>
                  <a:lnTo>
                    <a:pt x="287" y="1071"/>
                  </a:lnTo>
                  <a:lnTo>
                    <a:pt x="261" y="1086"/>
                  </a:lnTo>
                  <a:lnTo>
                    <a:pt x="234" y="1099"/>
                  </a:lnTo>
                  <a:lnTo>
                    <a:pt x="207" y="1112"/>
                  </a:lnTo>
                  <a:lnTo>
                    <a:pt x="181" y="1123"/>
                  </a:lnTo>
                  <a:lnTo>
                    <a:pt x="155" y="1131"/>
                  </a:lnTo>
                  <a:lnTo>
                    <a:pt x="129" y="1139"/>
                  </a:lnTo>
                  <a:lnTo>
                    <a:pt x="105" y="1142"/>
                  </a:lnTo>
                  <a:lnTo>
                    <a:pt x="84" y="1143"/>
                  </a:lnTo>
                  <a:lnTo>
                    <a:pt x="82" y="1144"/>
                  </a:lnTo>
                  <a:lnTo>
                    <a:pt x="78" y="1144"/>
                  </a:lnTo>
                  <a:lnTo>
                    <a:pt x="76" y="1144"/>
                  </a:lnTo>
                  <a:lnTo>
                    <a:pt x="47" y="1174"/>
                  </a:lnTo>
                  <a:lnTo>
                    <a:pt x="38" y="1180"/>
                  </a:lnTo>
                  <a:lnTo>
                    <a:pt x="27" y="1183"/>
                  </a:lnTo>
                  <a:lnTo>
                    <a:pt x="17" y="1182"/>
                  </a:lnTo>
                  <a:lnTo>
                    <a:pt x="9" y="1176"/>
                  </a:lnTo>
                  <a:lnTo>
                    <a:pt x="2" y="1167"/>
                  </a:lnTo>
                  <a:lnTo>
                    <a:pt x="0" y="1157"/>
                  </a:lnTo>
                  <a:lnTo>
                    <a:pt x="1" y="1146"/>
                  </a:lnTo>
                  <a:lnTo>
                    <a:pt x="6" y="1137"/>
                  </a:lnTo>
                  <a:lnTo>
                    <a:pt x="33" y="1109"/>
                  </a:lnTo>
                  <a:lnTo>
                    <a:pt x="29" y="1091"/>
                  </a:lnTo>
                  <a:lnTo>
                    <a:pt x="29" y="1069"/>
                  </a:lnTo>
                  <a:lnTo>
                    <a:pt x="32" y="1046"/>
                  </a:lnTo>
                  <a:lnTo>
                    <a:pt x="38" y="1021"/>
                  </a:lnTo>
                  <a:lnTo>
                    <a:pt x="46" y="994"/>
                  </a:lnTo>
                  <a:lnTo>
                    <a:pt x="56" y="967"/>
                  </a:lnTo>
                  <a:lnTo>
                    <a:pt x="68" y="941"/>
                  </a:lnTo>
                  <a:lnTo>
                    <a:pt x="81" y="913"/>
                  </a:lnTo>
                  <a:lnTo>
                    <a:pt x="93" y="886"/>
                  </a:lnTo>
                  <a:lnTo>
                    <a:pt x="107" y="860"/>
                  </a:lnTo>
                  <a:lnTo>
                    <a:pt x="120" y="837"/>
                  </a:lnTo>
                  <a:lnTo>
                    <a:pt x="134" y="814"/>
                  </a:lnTo>
                  <a:lnTo>
                    <a:pt x="146" y="794"/>
                  </a:lnTo>
                  <a:lnTo>
                    <a:pt x="157" y="777"/>
                  </a:lnTo>
                  <a:lnTo>
                    <a:pt x="167" y="762"/>
                  </a:lnTo>
                  <a:lnTo>
                    <a:pt x="173" y="751"/>
                  </a:lnTo>
                  <a:lnTo>
                    <a:pt x="177" y="745"/>
                  </a:lnTo>
                  <a:lnTo>
                    <a:pt x="179" y="742"/>
                  </a:lnTo>
                  <a:lnTo>
                    <a:pt x="188" y="730"/>
                  </a:lnTo>
                  <a:lnTo>
                    <a:pt x="200" y="715"/>
                  </a:lnTo>
                  <a:lnTo>
                    <a:pt x="215" y="695"/>
                  </a:lnTo>
                  <a:lnTo>
                    <a:pt x="233" y="674"/>
                  </a:lnTo>
                  <a:lnTo>
                    <a:pt x="254" y="650"/>
                  </a:lnTo>
                  <a:lnTo>
                    <a:pt x="277" y="624"/>
                  </a:lnTo>
                  <a:lnTo>
                    <a:pt x="302" y="596"/>
                  </a:lnTo>
                  <a:lnTo>
                    <a:pt x="329" y="566"/>
                  </a:lnTo>
                  <a:lnTo>
                    <a:pt x="358" y="535"/>
                  </a:lnTo>
                  <a:lnTo>
                    <a:pt x="388" y="503"/>
                  </a:lnTo>
                  <a:lnTo>
                    <a:pt x="419" y="469"/>
                  </a:lnTo>
                  <a:lnTo>
                    <a:pt x="451" y="435"/>
                  </a:lnTo>
                  <a:lnTo>
                    <a:pt x="484" y="400"/>
                  </a:lnTo>
                  <a:lnTo>
                    <a:pt x="516" y="365"/>
                  </a:lnTo>
                  <a:lnTo>
                    <a:pt x="549" y="331"/>
                  </a:lnTo>
                  <a:lnTo>
                    <a:pt x="581" y="297"/>
                  </a:lnTo>
                  <a:lnTo>
                    <a:pt x="614" y="264"/>
                  </a:lnTo>
                  <a:lnTo>
                    <a:pt x="645" y="230"/>
                  </a:lnTo>
                  <a:lnTo>
                    <a:pt x="675" y="199"/>
                  </a:lnTo>
                  <a:lnTo>
                    <a:pt x="704" y="168"/>
                  </a:lnTo>
                  <a:lnTo>
                    <a:pt x="732" y="141"/>
                  </a:lnTo>
                  <a:lnTo>
                    <a:pt x="758" y="114"/>
                  </a:lnTo>
                  <a:lnTo>
                    <a:pt x="781" y="89"/>
                  </a:lnTo>
                  <a:lnTo>
                    <a:pt x="803" y="68"/>
                  </a:lnTo>
                  <a:lnTo>
                    <a:pt x="821" y="47"/>
                  </a:lnTo>
                  <a:lnTo>
                    <a:pt x="837" y="31"/>
                  </a:lnTo>
                  <a:lnTo>
                    <a:pt x="850" y="18"/>
                  </a:lnTo>
                  <a:lnTo>
                    <a:pt x="860" y="9"/>
                  </a:lnTo>
                  <a:lnTo>
                    <a:pt x="865" y="2"/>
                  </a:lnTo>
                  <a:lnTo>
                    <a:pt x="867" y="0"/>
                  </a:lnTo>
                  <a:lnTo>
                    <a:pt x="1012" y="137"/>
                  </a:lnTo>
                  <a:lnTo>
                    <a:pt x="1014" y="139"/>
                  </a:lnTo>
                  <a:lnTo>
                    <a:pt x="1020" y="145"/>
                  </a:lnTo>
                  <a:lnTo>
                    <a:pt x="1028" y="152"/>
                  </a:lnTo>
                  <a:lnTo>
                    <a:pt x="1039" y="162"/>
                  </a:lnTo>
                  <a:lnTo>
                    <a:pt x="1051" y="174"/>
                  </a:lnTo>
                  <a:lnTo>
                    <a:pt x="1064" y="187"/>
                  </a:lnTo>
                  <a:lnTo>
                    <a:pt x="1079" y="201"/>
                  </a:lnTo>
                  <a:lnTo>
                    <a:pt x="1093" y="214"/>
                  </a:lnTo>
                  <a:lnTo>
                    <a:pt x="1107" y="228"/>
                  </a:lnTo>
                  <a:lnTo>
                    <a:pt x="1121" y="241"/>
                  </a:lnTo>
                  <a:lnTo>
                    <a:pt x="1133" y="253"/>
                  </a:lnTo>
                  <a:lnTo>
                    <a:pt x="1142" y="264"/>
                  </a:lnTo>
                  <a:lnTo>
                    <a:pt x="1151" y="271"/>
                  </a:lnTo>
                  <a:lnTo>
                    <a:pt x="1155" y="277"/>
                  </a:lnTo>
                  <a:lnTo>
                    <a:pt x="1157" y="2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10873427" y="4569335"/>
            <a:ext cx="530465" cy="356173"/>
            <a:chOff x="1721801" y="2853410"/>
            <a:chExt cx="2101707" cy="1411170"/>
          </a:xfrm>
          <a:solidFill>
            <a:srgbClr val="26867C"/>
          </a:solidFill>
        </p:grpSpPr>
        <p:sp>
          <p:nvSpPr>
            <p:cNvPr id="50" name="Freeform 49"/>
            <p:cNvSpPr/>
            <p:nvPr/>
          </p:nvSpPr>
          <p:spPr>
            <a:xfrm rot="18045015">
              <a:off x="2182878" y="3021177"/>
              <a:ext cx="911102" cy="1297454"/>
            </a:xfrm>
            <a:custGeom>
              <a:avLst/>
              <a:gdLst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745536 w 911102"/>
                <a:gd name="connsiteY3" fmla="*/ 8370 h 1297454"/>
                <a:gd name="connsiteX4" fmla="*/ 824005 w 911102"/>
                <a:gd name="connsiteY4" fmla="*/ 195660 h 1297454"/>
                <a:gd name="connsiteX5" fmla="*/ 911102 w 911102"/>
                <a:gd name="connsiteY5" fmla="*/ 379668 h 1297454"/>
                <a:gd name="connsiteX6" fmla="*/ 907221 w 911102"/>
                <a:gd name="connsiteY6" fmla="*/ 382118 h 1297454"/>
                <a:gd name="connsiteX7" fmla="*/ 876660 w 911102"/>
                <a:gd name="connsiteY7" fmla="*/ 399710 h 1297454"/>
                <a:gd name="connsiteX8" fmla="*/ 490066 w 911102"/>
                <a:gd name="connsiteY8" fmla="*/ 297988 h 1297454"/>
                <a:gd name="connsiteX9" fmla="*/ 716083 w 911102"/>
                <a:gd name="connsiteY9" fmla="*/ 598865 h 1297454"/>
                <a:gd name="connsiteX10" fmla="*/ 777233 w 911102"/>
                <a:gd name="connsiteY10" fmla="*/ 615788 h 1297454"/>
                <a:gd name="connsiteX11" fmla="*/ 770153 w 911102"/>
                <a:gd name="connsiteY11" fmla="*/ 639019 h 1297454"/>
                <a:gd name="connsiteX12" fmla="*/ 753784 w 911102"/>
                <a:gd name="connsiteY12" fmla="*/ 665322 h 1297454"/>
                <a:gd name="connsiteX13" fmla="*/ 710088 w 911102"/>
                <a:gd name="connsiteY13" fmla="*/ 1078153 h 1297454"/>
                <a:gd name="connsiteX14" fmla="*/ 710501 w 911102"/>
                <a:gd name="connsiteY14" fmla="*/ 1086412 h 1297454"/>
                <a:gd name="connsiteX15" fmla="*/ 710454 w 911102"/>
                <a:gd name="connsiteY15" fmla="*/ 1087719 h 1297454"/>
                <a:gd name="connsiteX16" fmla="*/ 714164 w 911102"/>
                <a:gd name="connsiteY16" fmla="*/ 1201144 h 1297454"/>
                <a:gd name="connsiteX17" fmla="*/ 723293 w 911102"/>
                <a:gd name="connsiteY17" fmla="*/ 1277540 h 1297454"/>
                <a:gd name="connsiteX18" fmla="*/ 723407 w 911102"/>
                <a:gd name="connsiteY18" fmla="*/ 1278872 h 1297454"/>
                <a:gd name="connsiteX19" fmla="*/ 724025 w 911102"/>
                <a:gd name="connsiteY19" fmla="*/ 1283671 h 1297454"/>
                <a:gd name="connsiteX20" fmla="*/ 724876 w 911102"/>
                <a:gd name="connsiteY20" fmla="*/ 1290789 h 1297454"/>
                <a:gd name="connsiteX21" fmla="*/ 568039 w 911102"/>
                <a:gd name="connsiteY21" fmla="*/ 1230080 h 1297454"/>
                <a:gd name="connsiteX22" fmla="*/ 364868 w 911102"/>
                <a:gd name="connsiteY22" fmla="*/ 1184795 h 1297454"/>
                <a:gd name="connsiteX23" fmla="*/ 178811 w 911102"/>
                <a:gd name="connsiteY23" fmla="*/ 1123147 h 1297454"/>
                <a:gd name="connsiteX24" fmla="*/ 28040 w 911102"/>
                <a:gd name="connsiteY24" fmla="*/ 1036282 h 1297454"/>
                <a:gd name="connsiteX25" fmla="*/ 26077 w 911102"/>
                <a:gd name="connsiteY25" fmla="*/ 1027345 h 1297454"/>
                <a:gd name="connsiteX26" fmla="*/ 152633 w 911102"/>
                <a:gd name="connsiteY26" fmla="*/ 1035076 h 1297454"/>
                <a:gd name="connsiteX27" fmla="*/ 255738 w 911102"/>
                <a:gd name="connsiteY27" fmla="*/ 943843 h 1297454"/>
                <a:gd name="connsiteX28" fmla="*/ 231475 w 911102"/>
                <a:gd name="connsiteY28" fmla="*/ 873395 h 1297454"/>
                <a:gd name="connsiteX29" fmla="*/ 213502 w 911102"/>
                <a:gd name="connsiteY29" fmla="*/ 859613 h 1297454"/>
                <a:gd name="connsiteX30" fmla="*/ 216878 w 911102"/>
                <a:gd name="connsiteY30" fmla="*/ 859143 h 1297454"/>
                <a:gd name="connsiteX31" fmla="*/ 281693 w 911102"/>
                <a:gd name="connsiteY31" fmla="*/ 773235 h 1297454"/>
                <a:gd name="connsiteX32" fmla="*/ 227816 w 911102"/>
                <a:gd name="connsiteY32" fmla="*/ 680077 h 1297454"/>
                <a:gd name="connsiteX33" fmla="*/ 217008 w 911102"/>
                <a:gd name="connsiteY33" fmla="*/ 677199 h 1297454"/>
                <a:gd name="connsiteX34" fmla="*/ 226953 w 911102"/>
                <a:gd name="connsiteY34" fmla="*/ 675817 h 1297454"/>
                <a:gd name="connsiteX35" fmla="*/ 291768 w 911102"/>
                <a:gd name="connsiteY35" fmla="*/ 589909 h 1297454"/>
                <a:gd name="connsiteX36" fmla="*/ 237891 w 911102"/>
                <a:gd name="connsiteY36" fmla="*/ 496751 h 1297454"/>
                <a:gd name="connsiteX37" fmla="*/ 221568 w 911102"/>
                <a:gd name="connsiteY37" fmla="*/ 492404 h 1297454"/>
                <a:gd name="connsiteX38" fmla="*/ 249567 w 911102"/>
                <a:gd name="connsiteY38" fmla="*/ 475916 h 1297454"/>
                <a:gd name="connsiteX39" fmla="*/ 281129 w 911102"/>
                <a:gd name="connsiteY39" fmla="*/ 411193 h 1297454"/>
                <a:gd name="connsiteX40" fmla="*/ 281130 w 911102"/>
                <a:gd name="connsiteY40" fmla="*/ 411193 h 1297454"/>
                <a:gd name="connsiteX41" fmla="*/ 257681 w 911102"/>
                <a:gd name="connsiteY41" fmla="*/ 343108 h 1297454"/>
                <a:gd name="connsiteX42" fmla="*/ 192957 w 911102"/>
                <a:gd name="connsiteY42" fmla="*/ 311547 h 1297454"/>
                <a:gd name="connsiteX43" fmla="*/ 65424 w 911102"/>
                <a:gd name="connsiteY43" fmla="*/ 303757 h 1297454"/>
                <a:gd name="connsiteX44" fmla="*/ 41901 w 911102"/>
                <a:gd name="connsiteY44" fmla="*/ 309400 h 1297454"/>
                <a:gd name="connsiteX45" fmla="*/ 56412 w 911102"/>
                <a:gd name="connsiteY45" fmla="*/ 232310 h 1297454"/>
                <a:gd name="connsiteX46" fmla="*/ 127609 w 911102"/>
                <a:gd name="connsiteY46" fmla="*/ 8370 h 1297454"/>
                <a:gd name="connsiteX47" fmla="*/ 135979 w 911102"/>
                <a:gd name="connsiteY47" fmla="*/ 0 h 1297454"/>
                <a:gd name="connsiteX48" fmla="*/ 737166 w 911102"/>
                <a:gd name="connsiteY48" fmla="*/ 0 h 1297454"/>
                <a:gd name="connsiteX49" fmla="*/ 745536 w 911102"/>
                <a:gd name="connsiteY4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824005 w 911102"/>
                <a:gd name="connsiteY5" fmla="*/ 195660 h 1297454"/>
                <a:gd name="connsiteX6" fmla="*/ 911102 w 911102"/>
                <a:gd name="connsiteY6" fmla="*/ 379668 h 1297454"/>
                <a:gd name="connsiteX7" fmla="*/ 876660 w 911102"/>
                <a:gd name="connsiteY7" fmla="*/ 399710 h 1297454"/>
                <a:gd name="connsiteX8" fmla="*/ 490066 w 911102"/>
                <a:gd name="connsiteY8" fmla="*/ 297988 h 1297454"/>
                <a:gd name="connsiteX9" fmla="*/ 716083 w 911102"/>
                <a:gd name="connsiteY9" fmla="*/ 598865 h 1297454"/>
                <a:gd name="connsiteX10" fmla="*/ 777233 w 911102"/>
                <a:gd name="connsiteY10" fmla="*/ 615788 h 1297454"/>
                <a:gd name="connsiteX11" fmla="*/ 770153 w 911102"/>
                <a:gd name="connsiteY11" fmla="*/ 639019 h 1297454"/>
                <a:gd name="connsiteX12" fmla="*/ 753784 w 911102"/>
                <a:gd name="connsiteY12" fmla="*/ 665322 h 1297454"/>
                <a:gd name="connsiteX13" fmla="*/ 710088 w 911102"/>
                <a:gd name="connsiteY13" fmla="*/ 1078153 h 1297454"/>
                <a:gd name="connsiteX14" fmla="*/ 710501 w 911102"/>
                <a:gd name="connsiteY14" fmla="*/ 1086412 h 1297454"/>
                <a:gd name="connsiteX15" fmla="*/ 710454 w 911102"/>
                <a:gd name="connsiteY15" fmla="*/ 1087719 h 1297454"/>
                <a:gd name="connsiteX16" fmla="*/ 714164 w 911102"/>
                <a:gd name="connsiteY16" fmla="*/ 1201144 h 1297454"/>
                <a:gd name="connsiteX17" fmla="*/ 723293 w 911102"/>
                <a:gd name="connsiteY17" fmla="*/ 1277540 h 1297454"/>
                <a:gd name="connsiteX18" fmla="*/ 723407 w 911102"/>
                <a:gd name="connsiteY18" fmla="*/ 1278872 h 1297454"/>
                <a:gd name="connsiteX19" fmla="*/ 724025 w 911102"/>
                <a:gd name="connsiteY19" fmla="*/ 1283671 h 1297454"/>
                <a:gd name="connsiteX20" fmla="*/ 724876 w 911102"/>
                <a:gd name="connsiteY20" fmla="*/ 1290789 h 1297454"/>
                <a:gd name="connsiteX21" fmla="*/ 568039 w 911102"/>
                <a:gd name="connsiteY21" fmla="*/ 1230080 h 1297454"/>
                <a:gd name="connsiteX22" fmla="*/ 364868 w 911102"/>
                <a:gd name="connsiteY22" fmla="*/ 1184795 h 1297454"/>
                <a:gd name="connsiteX23" fmla="*/ 178811 w 911102"/>
                <a:gd name="connsiteY23" fmla="*/ 1123147 h 1297454"/>
                <a:gd name="connsiteX24" fmla="*/ 28040 w 911102"/>
                <a:gd name="connsiteY24" fmla="*/ 1036282 h 1297454"/>
                <a:gd name="connsiteX25" fmla="*/ 26077 w 911102"/>
                <a:gd name="connsiteY25" fmla="*/ 1027345 h 1297454"/>
                <a:gd name="connsiteX26" fmla="*/ 152633 w 911102"/>
                <a:gd name="connsiteY26" fmla="*/ 1035076 h 1297454"/>
                <a:gd name="connsiteX27" fmla="*/ 255738 w 911102"/>
                <a:gd name="connsiteY27" fmla="*/ 943843 h 1297454"/>
                <a:gd name="connsiteX28" fmla="*/ 231475 w 911102"/>
                <a:gd name="connsiteY28" fmla="*/ 873395 h 1297454"/>
                <a:gd name="connsiteX29" fmla="*/ 213502 w 911102"/>
                <a:gd name="connsiteY29" fmla="*/ 859613 h 1297454"/>
                <a:gd name="connsiteX30" fmla="*/ 216878 w 911102"/>
                <a:gd name="connsiteY30" fmla="*/ 859143 h 1297454"/>
                <a:gd name="connsiteX31" fmla="*/ 281693 w 911102"/>
                <a:gd name="connsiteY31" fmla="*/ 773235 h 1297454"/>
                <a:gd name="connsiteX32" fmla="*/ 227816 w 911102"/>
                <a:gd name="connsiteY32" fmla="*/ 680077 h 1297454"/>
                <a:gd name="connsiteX33" fmla="*/ 217008 w 911102"/>
                <a:gd name="connsiteY33" fmla="*/ 677199 h 1297454"/>
                <a:gd name="connsiteX34" fmla="*/ 226953 w 911102"/>
                <a:gd name="connsiteY34" fmla="*/ 675817 h 1297454"/>
                <a:gd name="connsiteX35" fmla="*/ 291768 w 911102"/>
                <a:gd name="connsiteY35" fmla="*/ 589909 h 1297454"/>
                <a:gd name="connsiteX36" fmla="*/ 237891 w 911102"/>
                <a:gd name="connsiteY36" fmla="*/ 496751 h 1297454"/>
                <a:gd name="connsiteX37" fmla="*/ 221568 w 911102"/>
                <a:gd name="connsiteY37" fmla="*/ 492404 h 1297454"/>
                <a:gd name="connsiteX38" fmla="*/ 249567 w 911102"/>
                <a:gd name="connsiteY38" fmla="*/ 475916 h 1297454"/>
                <a:gd name="connsiteX39" fmla="*/ 281129 w 911102"/>
                <a:gd name="connsiteY39" fmla="*/ 411193 h 1297454"/>
                <a:gd name="connsiteX40" fmla="*/ 281130 w 911102"/>
                <a:gd name="connsiteY40" fmla="*/ 411193 h 1297454"/>
                <a:gd name="connsiteX41" fmla="*/ 257681 w 911102"/>
                <a:gd name="connsiteY41" fmla="*/ 343108 h 1297454"/>
                <a:gd name="connsiteX42" fmla="*/ 192957 w 911102"/>
                <a:gd name="connsiteY42" fmla="*/ 311547 h 1297454"/>
                <a:gd name="connsiteX43" fmla="*/ 65424 w 911102"/>
                <a:gd name="connsiteY43" fmla="*/ 303757 h 1297454"/>
                <a:gd name="connsiteX44" fmla="*/ 41901 w 911102"/>
                <a:gd name="connsiteY44" fmla="*/ 309400 h 1297454"/>
                <a:gd name="connsiteX45" fmla="*/ 56412 w 911102"/>
                <a:gd name="connsiteY45" fmla="*/ 232310 h 1297454"/>
                <a:gd name="connsiteX46" fmla="*/ 127609 w 911102"/>
                <a:gd name="connsiteY46" fmla="*/ 8370 h 1297454"/>
                <a:gd name="connsiteX47" fmla="*/ 135979 w 911102"/>
                <a:gd name="connsiteY47" fmla="*/ 0 h 1297454"/>
                <a:gd name="connsiteX48" fmla="*/ 737166 w 911102"/>
                <a:gd name="connsiteY48" fmla="*/ 0 h 1297454"/>
                <a:gd name="connsiteX49" fmla="*/ 745536 w 911102"/>
                <a:gd name="connsiteY4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660 w 911102"/>
                <a:gd name="connsiteY6" fmla="*/ 399710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660 w 911102"/>
                <a:gd name="connsiteY6" fmla="*/ 399710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660 w 911102"/>
                <a:gd name="connsiteY6" fmla="*/ 399710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7099 w 911102"/>
                <a:gd name="connsiteY6" fmla="*/ 391135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7099 w 911102"/>
                <a:gd name="connsiteY6" fmla="*/ 391135 h 1297454"/>
                <a:gd name="connsiteX7" fmla="*/ 495765 w 911102"/>
                <a:gd name="connsiteY7" fmla="*/ 302911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7099 w 911102"/>
                <a:gd name="connsiteY6" fmla="*/ 39113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53784 w 911102"/>
                <a:gd name="connsiteY10" fmla="*/ 665322 h 1297454"/>
                <a:gd name="connsiteX11" fmla="*/ 710088 w 911102"/>
                <a:gd name="connsiteY11" fmla="*/ 1078153 h 1297454"/>
                <a:gd name="connsiteX12" fmla="*/ 710501 w 911102"/>
                <a:gd name="connsiteY12" fmla="*/ 1086412 h 1297454"/>
                <a:gd name="connsiteX13" fmla="*/ 710454 w 911102"/>
                <a:gd name="connsiteY13" fmla="*/ 1087719 h 1297454"/>
                <a:gd name="connsiteX14" fmla="*/ 714164 w 911102"/>
                <a:gd name="connsiteY14" fmla="*/ 1201144 h 1297454"/>
                <a:gd name="connsiteX15" fmla="*/ 723293 w 911102"/>
                <a:gd name="connsiteY15" fmla="*/ 1277540 h 1297454"/>
                <a:gd name="connsiteX16" fmla="*/ 723407 w 911102"/>
                <a:gd name="connsiteY16" fmla="*/ 1278872 h 1297454"/>
                <a:gd name="connsiteX17" fmla="*/ 724025 w 911102"/>
                <a:gd name="connsiteY17" fmla="*/ 1283671 h 1297454"/>
                <a:gd name="connsiteX18" fmla="*/ 724876 w 911102"/>
                <a:gd name="connsiteY18" fmla="*/ 1290789 h 1297454"/>
                <a:gd name="connsiteX19" fmla="*/ 568039 w 911102"/>
                <a:gd name="connsiteY19" fmla="*/ 1230080 h 1297454"/>
                <a:gd name="connsiteX20" fmla="*/ 364868 w 911102"/>
                <a:gd name="connsiteY20" fmla="*/ 1184795 h 1297454"/>
                <a:gd name="connsiteX21" fmla="*/ 178811 w 911102"/>
                <a:gd name="connsiteY21" fmla="*/ 1123147 h 1297454"/>
                <a:gd name="connsiteX22" fmla="*/ 28040 w 911102"/>
                <a:gd name="connsiteY22" fmla="*/ 1036282 h 1297454"/>
                <a:gd name="connsiteX23" fmla="*/ 26077 w 911102"/>
                <a:gd name="connsiteY23" fmla="*/ 1027345 h 1297454"/>
                <a:gd name="connsiteX24" fmla="*/ 152633 w 911102"/>
                <a:gd name="connsiteY24" fmla="*/ 1035076 h 1297454"/>
                <a:gd name="connsiteX25" fmla="*/ 255738 w 911102"/>
                <a:gd name="connsiteY25" fmla="*/ 943843 h 1297454"/>
                <a:gd name="connsiteX26" fmla="*/ 231475 w 911102"/>
                <a:gd name="connsiteY26" fmla="*/ 873395 h 1297454"/>
                <a:gd name="connsiteX27" fmla="*/ 213502 w 911102"/>
                <a:gd name="connsiteY27" fmla="*/ 859613 h 1297454"/>
                <a:gd name="connsiteX28" fmla="*/ 216878 w 911102"/>
                <a:gd name="connsiteY28" fmla="*/ 859143 h 1297454"/>
                <a:gd name="connsiteX29" fmla="*/ 281693 w 911102"/>
                <a:gd name="connsiteY29" fmla="*/ 773235 h 1297454"/>
                <a:gd name="connsiteX30" fmla="*/ 227816 w 911102"/>
                <a:gd name="connsiteY30" fmla="*/ 680077 h 1297454"/>
                <a:gd name="connsiteX31" fmla="*/ 217008 w 911102"/>
                <a:gd name="connsiteY31" fmla="*/ 677199 h 1297454"/>
                <a:gd name="connsiteX32" fmla="*/ 226953 w 911102"/>
                <a:gd name="connsiteY32" fmla="*/ 675817 h 1297454"/>
                <a:gd name="connsiteX33" fmla="*/ 291768 w 911102"/>
                <a:gd name="connsiteY33" fmla="*/ 589909 h 1297454"/>
                <a:gd name="connsiteX34" fmla="*/ 237891 w 911102"/>
                <a:gd name="connsiteY34" fmla="*/ 496751 h 1297454"/>
                <a:gd name="connsiteX35" fmla="*/ 221568 w 911102"/>
                <a:gd name="connsiteY35" fmla="*/ 492404 h 1297454"/>
                <a:gd name="connsiteX36" fmla="*/ 249567 w 911102"/>
                <a:gd name="connsiteY36" fmla="*/ 475916 h 1297454"/>
                <a:gd name="connsiteX37" fmla="*/ 281129 w 911102"/>
                <a:gd name="connsiteY37" fmla="*/ 411193 h 1297454"/>
                <a:gd name="connsiteX38" fmla="*/ 281130 w 911102"/>
                <a:gd name="connsiteY38" fmla="*/ 411193 h 1297454"/>
                <a:gd name="connsiteX39" fmla="*/ 257681 w 911102"/>
                <a:gd name="connsiteY39" fmla="*/ 343108 h 1297454"/>
                <a:gd name="connsiteX40" fmla="*/ 192957 w 911102"/>
                <a:gd name="connsiteY40" fmla="*/ 311547 h 1297454"/>
                <a:gd name="connsiteX41" fmla="*/ 65424 w 911102"/>
                <a:gd name="connsiteY41" fmla="*/ 303757 h 1297454"/>
                <a:gd name="connsiteX42" fmla="*/ 41901 w 911102"/>
                <a:gd name="connsiteY42" fmla="*/ 309400 h 1297454"/>
                <a:gd name="connsiteX43" fmla="*/ 56412 w 911102"/>
                <a:gd name="connsiteY43" fmla="*/ 232310 h 1297454"/>
                <a:gd name="connsiteX44" fmla="*/ 127609 w 911102"/>
                <a:gd name="connsiteY44" fmla="*/ 8370 h 1297454"/>
                <a:gd name="connsiteX45" fmla="*/ 135979 w 911102"/>
                <a:gd name="connsiteY45" fmla="*/ 0 h 1297454"/>
                <a:gd name="connsiteX46" fmla="*/ 737166 w 911102"/>
                <a:gd name="connsiteY46" fmla="*/ 0 h 1297454"/>
                <a:gd name="connsiteX47" fmla="*/ 745536 w 911102"/>
                <a:gd name="connsiteY47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4164 w 911102"/>
                <a:gd name="connsiteY12" fmla="*/ 1201144 h 1297454"/>
                <a:gd name="connsiteX13" fmla="*/ 723293 w 911102"/>
                <a:gd name="connsiteY13" fmla="*/ 1277540 h 1297454"/>
                <a:gd name="connsiteX14" fmla="*/ 723407 w 911102"/>
                <a:gd name="connsiteY14" fmla="*/ 1278872 h 1297454"/>
                <a:gd name="connsiteX15" fmla="*/ 724025 w 911102"/>
                <a:gd name="connsiteY15" fmla="*/ 1283671 h 1297454"/>
                <a:gd name="connsiteX16" fmla="*/ 724876 w 911102"/>
                <a:gd name="connsiteY16" fmla="*/ 1290789 h 1297454"/>
                <a:gd name="connsiteX17" fmla="*/ 568039 w 911102"/>
                <a:gd name="connsiteY17" fmla="*/ 1230080 h 1297454"/>
                <a:gd name="connsiteX18" fmla="*/ 364868 w 911102"/>
                <a:gd name="connsiteY18" fmla="*/ 1184795 h 1297454"/>
                <a:gd name="connsiteX19" fmla="*/ 178811 w 911102"/>
                <a:gd name="connsiteY19" fmla="*/ 1123147 h 1297454"/>
                <a:gd name="connsiteX20" fmla="*/ 28040 w 911102"/>
                <a:gd name="connsiteY20" fmla="*/ 1036282 h 1297454"/>
                <a:gd name="connsiteX21" fmla="*/ 26077 w 911102"/>
                <a:gd name="connsiteY21" fmla="*/ 1027345 h 1297454"/>
                <a:gd name="connsiteX22" fmla="*/ 152633 w 911102"/>
                <a:gd name="connsiteY22" fmla="*/ 1035076 h 1297454"/>
                <a:gd name="connsiteX23" fmla="*/ 255738 w 911102"/>
                <a:gd name="connsiteY23" fmla="*/ 943843 h 1297454"/>
                <a:gd name="connsiteX24" fmla="*/ 231475 w 911102"/>
                <a:gd name="connsiteY24" fmla="*/ 873395 h 1297454"/>
                <a:gd name="connsiteX25" fmla="*/ 213502 w 911102"/>
                <a:gd name="connsiteY25" fmla="*/ 859613 h 1297454"/>
                <a:gd name="connsiteX26" fmla="*/ 216878 w 911102"/>
                <a:gd name="connsiteY26" fmla="*/ 859143 h 1297454"/>
                <a:gd name="connsiteX27" fmla="*/ 281693 w 911102"/>
                <a:gd name="connsiteY27" fmla="*/ 773235 h 1297454"/>
                <a:gd name="connsiteX28" fmla="*/ 227816 w 911102"/>
                <a:gd name="connsiteY28" fmla="*/ 680077 h 1297454"/>
                <a:gd name="connsiteX29" fmla="*/ 217008 w 911102"/>
                <a:gd name="connsiteY29" fmla="*/ 677199 h 1297454"/>
                <a:gd name="connsiteX30" fmla="*/ 226953 w 911102"/>
                <a:gd name="connsiteY30" fmla="*/ 675817 h 1297454"/>
                <a:gd name="connsiteX31" fmla="*/ 291768 w 911102"/>
                <a:gd name="connsiteY31" fmla="*/ 589909 h 1297454"/>
                <a:gd name="connsiteX32" fmla="*/ 237891 w 911102"/>
                <a:gd name="connsiteY32" fmla="*/ 496751 h 1297454"/>
                <a:gd name="connsiteX33" fmla="*/ 221568 w 911102"/>
                <a:gd name="connsiteY33" fmla="*/ 492404 h 1297454"/>
                <a:gd name="connsiteX34" fmla="*/ 249567 w 911102"/>
                <a:gd name="connsiteY34" fmla="*/ 475916 h 1297454"/>
                <a:gd name="connsiteX35" fmla="*/ 281129 w 911102"/>
                <a:gd name="connsiteY35" fmla="*/ 411193 h 1297454"/>
                <a:gd name="connsiteX36" fmla="*/ 281130 w 911102"/>
                <a:gd name="connsiteY36" fmla="*/ 411193 h 1297454"/>
                <a:gd name="connsiteX37" fmla="*/ 257681 w 911102"/>
                <a:gd name="connsiteY37" fmla="*/ 343108 h 1297454"/>
                <a:gd name="connsiteX38" fmla="*/ 192957 w 911102"/>
                <a:gd name="connsiteY38" fmla="*/ 311547 h 1297454"/>
                <a:gd name="connsiteX39" fmla="*/ 65424 w 911102"/>
                <a:gd name="connsiteY39" fmla="*/ 303757 h 1297454"/>
                <a:gd name="connsiteX40" fmla="*/ 41901 w 911102"/>
                <a:gd name="connsiteY40" fmla="*/ 309400 h 1297454"/>
                <a:gd name="connsiteX41" fmla="*/ 56412 w 911102"/>
                <a:gd name="connsiteY41" fmla="*/ 232310 h 1297454"/>
                <a:gd name="connsiteX42" fmla="*/ 127609 w 911102"/>
                <a:gd name="connsiteY42" fmla="*/ 8370 h 1297454"/>
                <a:gd name="connsiteX43" fmla="*/ 135979 w 911102"/>
                <a:gd name="connsiteY43" fmla="*/ 0 h 1297454"/>
                <a:gd name="connsiteX44" fmla="*/ 737166 w 911102"/>
                <a:gd name="connsiteY44" fmla="*/ 0 h 1297454"/>
                <a:gd name="connsiteX45" fmla="*/ 745536 w 911102"/>
                <a:gd name="connsiteY45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4164 w 911102"/>
                <a:gd name="connsiteY11" fmla="*/ 1201144 h 1297454"/>
                <a:gd name="connsiteX12" fmla="*/ 723293 w 911102"/>
                <a:gd name="connsiteY12" fmla="*/ 1277540 h 1297454"/>
                <a:gd name="connsiteX13" fmla="*/ 723407 w 911102"/>
                <a:gd name="connsiteY13" fmla="*/ 1278872 h 1297454"/>
                <a:gd name="connsiteX14" fmla="*/ 724025 w 911102"/>
                <a:gd name="connsiteY14" fmla="*/ 1283671 h 1297454"/>
                <a:gd name="connsiteX15" fmla="*/ 724876 w 911102"/>
                <a:gd name="connsiteY15" fmla="*/ 1290789 h 1297454"/>
                <a:gd name="connsiteX16" fmla="*/ 568039 w 911102"/>
                <a:gd name="connsiteY16" fmla="*/ 1230080 h 1297454"/>
                <a:gd name="connsiteX17" fmla="*/ 364868 w 911102"/>
                <a:gd name="connsiteY17" fmla="*/ 1184795 h 1297454"/>
                <a:gd name="connsiteX18" fmla="*/ 178811 w 911102"/>
                <a:gd name="connsiteY18" fmla="*/ 1123147 h 1297454"/>
                <a:gd name="connsiteX19" fmla="*/ 28040 w 911102"/>
                <a:gd name="connsiteY19" fmla="*/ 1036282 h 1297454"/>
                <a:gd name="connsiteX20" fmla="*/ 26077 w 911102"/>
                <a:gd name="connsiteY20" fmla="*/ 1027345 h 1297454"/>
                <a:gd name="connsiteX21" fmla="*/ 152633 w 911102"/>
                <a:gd name="connsiteY21" fmla="*/ 1035076 h 1297454"/>
                <a:gd name="connsiteX22" fmla="*/ 255738 w 911102"/>
                <a:gd name="connsiteY22" fmla="*/ 943843 h 1297454"/>
                <a:gd name="connsiteX23" fmla="*/ 231475 w 911102"/>
                <a:gd name="connsiteY23" fmla="*/ 873395 h 1297454"/>
                <a:gd name="connsiteX24" fmla="*/ 213502 w 911102"/>
                <a:gd name="connsiteY24" fmla="*/ 859613 h 1297454"/>
                <a:gd name="connsiteX25" fmla="*/ 216878 w 911102"/>
                <a:gd name="connsiteY25" fmla="*/ 859143 h 1297454"/>
                <a:gd name="connsiteX26" fmla="*/ 281693 w 911102"/>
                <a:gd name="connsiteY26" fmla="*/ 773235 h 1297454"/>
                <a:gd name="connsiteX27" fmla="*/ 227816 w 911102"/>
                <a:gd name="connsiteY27" fmla="*/ 680077 h 1297454"/>
                <a:gd name="connsiteX28" fmla="*/ 217008 w 911102"/>
                <a:gd name="connsiteY28" fmla="*/ 677199 h 1297454"/>
                <a:gd name="connsiteX29" fmla="*/ 226953 w 911102"/>
                <a:gd name="connsiteY29" fmla="*/ 675817 h 1297454"/>
                <a:gd name="connsiteX30" fmla="*/ 291768 w 911102"/>
                <a:gd name="connsiteY30" fmla="*/ 589909 h 1297454"/>
                <a:gd name="connsiteX31" fmla="*/ 237891 w 911102"/>
                <a:gd name="connsiteY31" fmla="*/ 496751 h 1297454"/>
                <a:gd name="connsiteX32" fmla="*/ 221568 w 911102"/>
                <a:gd name="connsiteY32" fmla="*/ 492404 h 1297454"/>
                <a:gd name="connsiteX33" fmla="*/ 249567 w 911102"/>
                <a:gd name="connsiteY33" fmla="*/ 475916 h 1297454"/>
                <a:gd name="connsiteX34" fmla="*/ 281129 w 911102"/>
                <a:gd name="connsiteY34" fmla="*/ 411193 h 1297454"/>
                <a:gd name="connsiteX35" fmla="*/ 281130 w 911102"/>
                <a:gd name="connsiteY35" fmla="*/ 411193 h 1297454"/>
                <a:gd name="connsiteX36" fmla="*/ 257681 w 911102"/>
                <a:gd name="connsiteY36" fmla="*/ 343108 h 1297454"/>
                <a:gd name="connsiteX37" fmla="*/ 192957 w 911102"/>
                <a:gd name="connsiteY37" fmla="*/ 311547 h 1297454"/>
                <a:gd name="connsiteX38" fmla="*/ 65424 w 911102"/>
                <a:gd name="connsiteY38" fmla="*/ 303757 h 1297454"/>
                <a:gd name="connsiteX39" fmla="*/ 41901 w 911102"/>
                <a:gd name="connsiteY39" fmla="*/ 309400 h 1297454"/>
                <a:gd name="connsiteX40" fmla="*/ 56412 w 911102"/>
                <a:gd name="connsiteY40" fmla="*/ 232310 h 1297454"/>
                <a:gd name="connsiteX41" fmla="*/ 127609 w 911102"/>
                <a:gd name="connsiteY41" fmla="*/ 8370 h 1297454"/>
                <a:gd name="connsiteX42" fmla="*/ 135979 w 911102"/>
                <a:gd name="connsiteY42" fmla="*/ 0 h 1297454"/>
                <a:gd name="connsiteX43" fmla="*/ 737166 w 911102"/>
                <a:gd name="connsiteY43" fmla="*/ 0 h 1297454"/>
                <a:gd name="connsiteX44" fmla="*/ 745536 w 911102"/>
                <a:gd name="connsiteY44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4164 w 911102"/>
                <a:gd name="connsiteY10" fmla="*/ 1201144 h 1297454"/>
                <a:gd name="connsiteX11" fmla="*/ 723293 w 911102"/>
                <a:gd name="connsiteY11" fmla="*/ 1277540 h 1297454"/>
                <a:gd name="connsiteX12" fmla="*/ 723407 w 911102"/>
                <a:gd name="connsiteY12" fmla="*/ 1278872 h 1297454"/>
                <a:gd name="connsiteX13" fmla="*/ 724025 w 911102"/>
                <a:gd name="connsiteY13" fmla="*/ 1283671 h 1297454"/>
                <a:gd name="connsiteX14" fmla="*/ 724876 w 911102"/>
                <a:gd name="connsiteY14" fmla="*/ 1290789 h 1297454"/>
                <a:gd name="connsiteX15" fmla="*/ 568039 w 911102"/>
                <a:gd name="connsiteY15" fmla="*/ 1230080 h 1297454"/>
                <a:gd name="connsiteX16" fmla="*/ 364868 w 911102"/>
                <a:gd name="connsiteY16" fmla="*/ 1184795 h 1297454"/>
                <a:gd name="connsiteX17" fmla="*/ 178811 w 911102"/>
                <a:gd name="connsiteY17" fmla="*/ 1123147 h 1297454"/>
                <a:gd name="connsiteX18" fmla="*/ 28040 w 911102"/>
                <a:gd name="connsiteY18" fmla="*/ 1036282 h 1297454"/>
                <a:gd name="connsiteX19" fmla="*/ 26077 w 911102"/>
                <a:gd name="connsiteY19" fmla="*/ 1027345 h 1297454"/>
                <a:gd name="connsiteX20" fmla="*/ 152633 w 911102"/>
                <a:gd name="connsiteY20" fmla="*/ 1035076 h 1297454"/>
                <a:gd name="connsiteX21" fmla="*/ 255738 w 911102"/>
                <a:gd name="connsiteY21" fmla="*/ 943843 h 1297454"/>
                <a:gd name="connsiteX22" fmla="*/ 231475 w 911102"/>
                <a:gd name="connsiteY22" fmla="*/ 873395 h 1297454"/>
                <a:gd name="connsiteX23" fmla="*/ 213502 w 911102"/>
                <a:gd name="connsiteY23" fmla="*/ 859613 h 1297454"/>
                <a:gd name="connsiteX24" fmla="*/ 216878 w 911102"/>
                <a:gd name="connsiteY24" fmla="*/ 859143 h 1297454"/>
                <a:gd name="connsiteX25" fmla="*/ 281693 w 911102"/>
                <a:gd name="connsiteY25" fmla="*/ 773235 h 1297454"/>
                <a:gd name="connsiteX26" fmla="*/ 227816 w 911102"/>
                <a:gd name="connsiteY26" fmla="*/ 680077 h 1297454"/>
                <a:gd name="connsiteX27" fmla="*/ 217008 w 911102"/>
                <a:gd name="connsiteY27" fmla="*/ 677199 h 1297454"/>
                <a:gd name="connsiteX28" fmla="*/ 226953 w 911102"/>
                <a:gd name="connsiteY28" fmla="*/ 675817 h 1297454"/>
                <a:gd name="connsiteX29" fmla="*/ 291768 w 911102"/>
                <a:gd name="connsiteY29" fmla="*/ 589909 h 1297454"/>
                <a:gd name="connsiteX30" fmla="*/ 237891 w 911102"/>
                <a:gd name="connsiteY30" fmla="*/ 496751 h 1297454"/>
                <a:gd name="connsiteX31" fmla="*/ 221568 w 911102"/>
                <a:gd name="connsiteY31" fmla="*/ 492404 h 1297454"/>
                <a:gd name="connsiteX32" fmla="*/ 249567 w 911102"/>
                <a:gd name="connsiteY32" fmla="*/ 475916 h 1297454"/>
                <a:gd name="connsiteX33" fmla="*/ 281129 w 911102"/>
                <a:gd name="connsiteY33" fmla="*/ 411193 h 1297454"/>
                <a:gd name="connsiteX34" fmla="*/ 281130 w 911102"/>
                <a:gd name="connsiteY34" fmla="*/ 411193 h 1297454"/>
                <a:gd name="connsiteX35" fmla="*/ 257681 w 911102"/>
                <a:gd name="connsiteY35" fmla="*/ 343108 h 1297454"/>
                <a:gd name="connsiteX36" fmla="*/ 192957 w 911102"/>
                <a:gd name="connsiteY36" fmla="*/ 311547 h 1297454"/>
                <a:gd name="connsiteX37" fmla="*/ 65424 w 911102"/>
                <a:gd name="connsiteY37" fmla="*/ 303757 h 1297454"/>
                <a:gd name="connsiteX38" fmla="*/ 41901 w 911102"/>
                <a:gd name="connsiteY38" fmla="*/ 309400 h 1297454"/>
                <a:gd name="connsiteX39" fmla="*/ 56412 w 911102"/>
                <a:gd name="connsiteY39" fmla="*/ 232310 h 1297454"/>
                <a:gd name="connsiteX40" fmla="*/ 127609 w 911102"/>
                <a:gd name="connsiteY40" fmla="*/ 8370 h 1297454"/>
                <a:gd name="connsiteX41" fmla="*/ 135979 w 911102"/>
                <a:gd name="connsiteY41" fmla="*/ 0 h 1297454"/>
                <a:gd name="connsiteX42" fmla="*/ 737166 w 911102"/>
                <a:gd name="connsiteY42" fmla="*/ 0 h 1297454"/>
                <a:gd name="connsiteX43" fmla="*/ 745536 w 911102"/>
                <a:gd name="connsiteY43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3293 w 911102"/>
                <a:gd name="connsiteY10" fmla="*/ 1277540 h 1297454"/>
                <a:gd name="connsiteX11" fmla="*/ 723407 w 911102"/>
                <a:gd name="connsiteY11" fmla="*/ 1278872 h 1297454"/>
                <a:gd name="connsiteX12" fmla="*/ 724025 w 911102"/>
                <a:gd name="connsiteY12" fmla="*/ 1283671 h 1297454"/>
                <a:gd name="connsiteX13" fmla="*/ 724876 w 911102"/>
                <a:gd name="connsiteY13" fmla="*/ 1290789 h 1297454"/>
                <a:gd name="connsiteX14" fmla="*/ 568039 w 911102"/>
                <a:gd name="connsiteY14" fmla="*/ 1230080 h 1297454"/>
                <a:gd name="connsiteX15" fmla="*/ 364868 w 911102"/>
                <a:gd name="connsiteY15" fmla="*/ 1184795 h 1297454"/>
                <a:gd name="connsiteX16" fmla="*/ 178811 w 911102"/>
                <a:gd name="connsiteY16" fmla="*/ 1123147 h 1297454"/>
                <a:gd name="connsiteX17" fmla="*/ 28040 w 911102"/>
                <a:gd name="connsiteY17" fmla="*/ 1036282 h 1297454"/>
                <a:gd name="connsiteX18" fmla="*/ 26077 w 911102"/>
                <a:gd name="connsiteY18" fmla="*/ 1027345 h 1297454"/>
                <a:gd name="connsiteX19" fmla="*/ 152633 w 911102"/>
                <a:gd name="connsiteY19" fmla="*/ 1035076 h 1297454"/>
                <a:gd name="connsiteX20" fmla="*/ 255738 w 911102"/>
                <a:gd name="connsiteY20" fmla="*/ 943843 h 1297454"/>
                <a:gd name="connsiteX21" fmla="*/ 231475 w 911102"/>
                <a:gd name="connsiteY21" fmla="*/ 873395 h 1297454"/>
                <a:gd name="connsiteX22" fmla="*/ 213502 w 911102"/>
                <a:gd name="connsiteY22" fmla="*/ 859613 h 1297454"/>
                <a:gd name="connsiteX23" fmla="*/ 216878 w 911102"/>
                <a:gd name="connsiteY23" fmla="*/ 859143 h 1297454"/>
                <a:gd name="connsiteX24" fmla="*/ 281693 w 911102"/>
                <a:gd name="connsiteY24" fmla="*/ 773235 h 1297454"/>
                <a:gd name="connsiteX25" fmla="*/ 227816 w 911102"/>
                <a:gd name="connsiteY25" fmla="*/ 680077 h 1297454"/>
                <a:gd name="connsiteX26" fmla="*/ 217008 w 911102"/>
                <a:gd name="connsiteY26" fmla="*/ 677199 h 1297454"/>
                <a:gd name="connsiteX27" fmla="*/ 226953 w 911102"/>
                <a:gd name="connsiteY27" fmla="*/ 675817 h 1297454"/>
                <a:gd name="connsiteX28" fmla="*/ 291768 w 911102"/>
                <a:gd name="connsiteY28" fmla="*/ 589909 h 1297454"/>
                <a:gd name="connsiteX29" fmla="*/ 237891 w 911102"/>
                <a:gd name="connsiteY29" fmla="*/ 496751 h 1297454"/>
                <a:gd name="connsiteX30" fmla="*/ 221568 w 911102"/>
                <a:gd name="connsiteY30" fmla="*/ 492404 h 1297454"/>
                <a:gd name="connsiteX31" fmla="*/ 249567 w 911102"/>
                <a:gd name="connsiteY31" fmla="*/ 475916 h 1297454"/>
                <a:gd name="connsiteX32" fmla="*/ 281129 w 911102"/>
                <a:gd name="connsiteY32" fmla="*/ 411193 h 1297454"/>
                <a:gd name="connsiteX33" fmla="*/ 281130 w 911102"/>
                <a:gd name="connsiteY33" fmla="*/ 411193 h 1297454"/>
                <a:gd name="connsiteX34" fmla="*/ 257681 w 911102"/>
                <a:gd name="connsiteY34" fmla="*/ 343108 h 1297454"/>
                <a:gd name="connsiteX35" fmla="*/ 192957 w 911102"/>
                <a:gd name="connsiteY35" fmla="*/ 311547 h 1297454"/>
                <a:gd name="connsiteX36" fmla="*/ 65424 w 911102"/>
                <a:gd name="connsiteY36" fmla="*/ 303757 h 1297454"/>
                <a:gd name="connsiteX37" fmla="*/ 41901 w 911102"/>
                <a:gd name="connsiteY37" fmla="*/ 309400 h 1297454"/>
                <a:gd name="connsiteX38" fmla="*/ 56412 w 911102"/>
                <a:gd name="connsiteY38" fmla="*/ 232310 h 1297454"/>
                <a:gd name="connsiteX39" fmla="*/ 127609 w 911102"/>
                <a:gd name="connsiteY39" fmla="*/ 8370 h 1297454"/>
                <a:gd name="connsiteX40" fmla="*/ 135979 w 911102"/>
                <a:gd name="connsiteY40" fmla="*/ 0 h 1297454"/>
                <a:gd name="connsiteX41" fmla="*/ 737166 w 911102"/>
                <a:gd name="connsiteY41" fmla="*/ 0 h 1297454"/>
                <a:gd name="connsiteX42" fmla="*/ 745536 w 911102"/>
                <a:gd name="connsiteY42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3293 w 911102"/>
                <a:gd name="connsiteY10" fmla="*/ 1277540 h 1297454"/>
                <a:gd name="connsiteX11" fmla="*/ 723407 w 911102"/>
                <a:gd name="connsiteY11" fmla="*/ 1278872 h 1297454"/>
                <a:gd name="connsiteX12" fmla="*/ 724876 w 911102"/>
                <a:gd name="connsiteY12" fmla="*/ 1290789 h 1297454"/>
                <a:gd name="connsiteX13" fmla="*/ 568039 w 911102"/>
                <a:gd name="connsiteY13" fmla="*/ 1230080 h 1297454"/>
                <a:gd name="connsiteX14" fmla="*/ 364868 w 911102"/>
                <a:gd name="connsiteY14" fmla="*/ 1184795 h 1297454"/>
                <a:gd name="connsiteX15" fmla="*/ 178811 w 911102"/>
                <a:gd name="connsiteY15" fmla="*/ 1123147 h 1297454"/>
                <a:gd name="connsiteX16" fmla="*/ 28040 w 911102"/>
                <a:gd name="connsiteY16" fmla="*/ 1036282 h 1297454"/>
                <a:gd name="connsiteX17" fmla="*/ 26077 w 911102"/>
                <a:gd name="connsiteY17" fmla="*/ 1027345 h 1297454"/>
                <a:gd name="connsiteX18" fmla="*/ 152633 w 911102"/>
                <a:gd name="connsiteY18" fmla="*/ 1035076 h 1297454"/>
                <a:gd name="connsiteX19" fmla="*/ 255738 w 911102"/>
                <a:gd name="connsiteY19" fmla="*/ 943843 h 1297454"/>
                <a:gd name="connsiteX20" fmla="*/ 231475 w 911102"/>
                <a:gd name="connsiteY20" fmla="*/ 873395 h 1297454"/>
                <a:gd name="connsiteX21" fmla="*/ 213502 w 911102"/>
                <a:gd name="connsiteY21" fmla="*/ 859613 h 1297454"/>
                <a:gd name="connsiteX22" fmla="*/ 216878 w 911102"/>
                <a:gd name="connsiteY22" fmla="*/ 859143 h 1297454"/>
                <a:gd name="connsiteX23" fmla="*/ 281693 w 911102"/>
                <a:gd name="connsiteY23" fmla="*/ 773235 h 1297454"/>
                <a:gd name="connsiteX24" fmla="*/ 227816 w 911102"/>
                <a:gd name="connsiteY24" fmla="*/ 680077 h 1297454"/>
                <a:gd name="connsiteX25" fmla="*/ 217008 w 911102"/>
                <a:gd name="connsiteY25" fmla="*/ 677199 h 1297454"/>
                <a:gd name="connsiteX26" fmla="*/ 226953 w 911102"/>
                <a:gd name="connsiteY26" fmla="*/ 675817 h 1297454"/>
                <a:gd name="connsiteX27" fmla="*/ 291768 w 911102"/>
                <a:gd name="connsiteY27" fmla="*/ 589909 h 1297454"/>
                <a:gd name="connsiteX28" fmla="*/ 237891 w 911102"/>
                <a:gd name="connsiteY28" fmla="*/ 496751 h 1297454"/>
                <a:gd name="connsiteX29" fmla="*/ 221568 w 911102"/>
                <a:gd name="connsiteY29" fmla="*/ 492404 h 1297454"/>
                <a:gd name="connsiteX30" fmla="*/ 249567 w 911102"/>
                <a:gd name="connsiteY30" fmla="*/ 475916 h 1297454"/>
                <a:gd name="connsiteX31" fmla="*/ 281129 w 911102"/>
                <a:gd name="connsiteY31" fmla="*/ 411193 h 1297454"/>
                <a:gd name="connsiteX32" fmla="*/ 281130 w 911102"/>
                <a:gd name="connsiteY32" fmla="*/ 411193 h 1297454"/>
                <a:gd name="connsiteX33" fmla="*/ 257681 w 911102"/>
                <a:gd name="connsiteY33" fmla="*/ 343108 h 1297454"/>
                <a:gd name="connsiteX34" fmla="*/ 192957 w 911102"/>
                <a:gd name="connsiteY34" fmla="*/ 311547 h 1297454"/>
                <a:gd name="connsiteX35" fmla="*/ 65424 w 911102"/>
                <a:gd name="connsiteY35" fmla="*/ 303757 h 1297454"/>
                <a:gd name="connsiteX36" fmla="*/ 41901 w 911102"/>
                <a:gd name="connsiteY36" fmla="*/ 309400 h 1297454"/>
                <a:gd name="connsiteX37" fmla="*/ 56412 w 911102"/>
                <a:gd name="connsiteY37" fmla="*/ 232310 h 1297454"/>
                <a:gd name="connsiteX38" fmla="*/ 127609 w 911102"/>
                <a:gd name="connsiteY38" fmla="*/ 8370 h 1297454"/>
                <a:gd name="connsiteX39" fmla="*/ 135979 w 911102"/>
                <a:gd name="connsiteY39" fmla="*/ 0 h 1297454"/>
                <a:gd name="connsiteX40" fmla="*/ 737166 w 911102"/>
                <a:gd name="connsiteY40" fmla="*/ 0 h 1297454"/>
                <a:gd name="connsiteX41" fmla="*/ 745536 w 911102"/>
                <a:gd name="connsiteY41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3293 w 911102"/>
                <a:gd name="connsiteY10" fmla="*/ 1277540 h 1297454"/>
                <a:gd name="connsiteX11" fmla="*/ 724876 w 911102"/>
                <a:gd name="connsiteY11" fmla="*/ 1290789 h 1297454"/>
                <a:gd name="connsiteX12" fmla="*/ 568039 w 911102"/>
                <a:gd name="connsiteY12" fmla="*/ 1230080 h 1297454"/>
                <a:gd name="connsiteX13" fmla="*/ 364868 w 911102"/>
                <a:gd name="connsiteY13" fmla="*/ 1184795 h 1297454"/>
                <a:gd name="connsiteX14" fmla="*/ 178811 w 911102"/>
                <a:gd name="connsiteY14" fmla="*/ 1123147 h 1297454"/>
                <a:gd name="connsiteX15" fmla="*/ 28040 w 911102"/>
                <a:gd name="connsiteY15" fmla="*/ 1036282 h 1297454"/>
                <a:gd name="connsiteX16" fmla="*/ 26077 w 911102"/>
                <a:gd name="connsiteY16" fmla="*/ 1027345 h 1297454"/>
                <a:gd name="connsiteX17" fmla="*/ 152633 w 911102"/>
                <a:gd name="connsiteY17" fmla="*/ 1035076 h 1297454"/>
                <a:gd name="connsiteX18" fmla="*/ 255738 w 911102"/>
                <a:gd name="connsiteY18" fmla="*/ 943843 h 1297454"/>
                <a:gd name="connsiteX19" fmla="*/ 231475 w 911102"/>
                <a:gd name="connsiteY19" fmla="*/ 873395 h 1297454"/>
                <a:gd name="connsiteX20" fmla="*/ 213502 w 911102"/>
                <a:gd name="connsiteY20" fmla="*/ 859613 h 1297454"/>
                <a:gd name="connsiteX21" fmla="*/ 216878 w 911102"/>
                <a:gd name="connsiteY21" fmla="*/ 859143 h 1297454"/>
                <a:gd name="connsiteX22" fmla="*/ 281693 w 911102"/>
                <a:gd name="connsiteY22" fmla="*/ 773235 h 1297454"/>
                <a:gd name="connsiteX23" fmla="*/ 227816 w 911102"/>
                <a:gd name="connsiteY23" fmla="*/ 680077 h 1297454"/>
                <a:gd name="connsiteX24" fmla="*/ 217008 w 911102"/>
                <a:gd name="connsiteY24" fmla="*/ 677199 h 1297454"/>
                <a:gd name="connsiteX25" fmla="*/ 226953 w 911102"/>
                <a:gd name="connsiteY25" fmla="*/ 675817 h 1297454"/>
                <a:gd name="connsiteX26" fmla="*/ 291768 w 911102"/>
                <a:gd name="connsiteY26" fmla="*/ 589909 h 1297454"/>
                <a:gd name="connsiteX27" fmla="*/ 237891 w 911102"/>
                <a:gd name="connsiteY27" fmla="*/ 496751 h 1297454"/>
                <a:gd name="connsiteX28" fmla="*/ 221568 w 911102"/>
                <a:gd name="connsiteY28" fmla="*/ 492404 h 1297454"/>
                <a:gd name="connsiteX29" fmla="*/ 249567 w 911102"/>
                <a:gd name="connsiteY29" fmla="*/ 475916 h 1297454"/>
                <a:gd name="connsiteX30" fmla="*/ 281129 w 911102"/>
                <a:gd name="connsiteY30" fmla="*/ 411193 h 1297454"/>
                <a:gd name="connsiteX31" fmla="*/ 281130 w 911102"/>
                <a:gd name="connsiteY31" fmla="*/ 411193 h 1297454"/>
                <a:gd name="connsiteX32" fmla="*/ 257681 w 911102"/>
                <a:gd name="connsiteY32" fmla="*/ 343108 h 1297454"/>
                <a:gd name="connsiteX33" fmla="*/ 192957 w 911102"/>
                <a:gd name="connsiteY33" fmla="*/ 311547 h 1297454"/>
                <a:gd name="connsiteX34" fmla="*/ 65424 w 911102"/>
                <a:gd name="connsiteY34" fmla="*/ 303757 h 1297454"/>
                <a:gd name="connsiteX35" fmla="*/ 41901 w 911102"/>
                <a:gd name="connsiteY35" fmla="*/ 309400 h 1297454"/>
                <a:gd name="connsiteX36" fmla="*/ 56412 w 911102"/>
                <a:gd name="connsiteY36" fmla="*/ 232310 h 1297454"/>
                <a:gd name="connsiteX37" fmla="*/ 127609 w 911102"/>
                <a:gd name="connsiteY37" fmla="*/ 8370 h 1297454"/>
                <a:gd name="connsiteX38" fmla="*/ 135979 w 911102"/>
                <a:gd name="connsiteY38" fmla="*/ 0 h 1297454"/>
                <a:gd name="connsiteX39" fmla="*/ 737166 w 911102"/>
                <a:gd name="connsiteY39" fmla="*/ 0 h 1297454"/>
                <a:gd name="connsiteX40" fmla="*/ 745536 w 911102"/>
                <a:gd name="connsiteY40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4876 w 911102"/>
                <a:gd name="connsiteY10" fmla="*/ 1290789 h 1297454"/>
                <a:gd name="connsiteX11" fmla="*/ 568039 w 911102"/>
                <a:gd name="connsiteY11" fmla="*/ 1230080 h 1297454"/>
                <a:gd name="connsiteX12" fmla="*/ 364868 w 911102"/>
                <a:gd name="connsiteY12" fmla="*/ 1184795 h 1297454"/>
                <a:gd name="connsiteX13" fmla="*/ 178811 w 911102"/>
                <a:gd name="connsiteY13" fmla="*/ 1123147 h 1297454"/>
                <a:gd name="connsiteX14" fmla="*/ 28040 w 911102"/>
                <a:gd name="connsiteY14" fmla="*/ 1036282 h 1297454"/>
                <a:gd name="connsiteX15" fmla="*/ 26077 w 911102"/>
                <a:gd name="connsiteY15" fmla="*/ 1027345 h 1297454"/>
                <a:gd name="connsiteX16" fmla="*/ 152633 w 911102"/>
                <a:gd name="connsiteY16" fmla="*/ 1035076 h 1297454"/>
                <a:gd name="connsiteX17" fmla="*/ 255738 w 911102"/>
                <a:gd name="connsiteY17" fmla="*/ 943843 h 1297454"/>
                <a:gd name="connsiteX18" fmla="*/ 231475 w 911102"/>
                <a:gd name="connsiteY18" fmla="*/ 873395 h 1297454"/>
                <a:gd name="connsiteX19" fmla="*/ 213502 w 911102"/>
                <a:gd name="connsiteY19" fmla="*/ 859613 h 1297454"/>
                <a:gd name="connsiteX20" fmla="*/ 216878 w 911102"/>
                <a:gd name="connsiteY20" fmla="*/ 859143 h 1297454"/>
                <a:gd name="connsiteX21" fmla="*/ 281693 w 911102"/>
                <a:gd name="connsiteY21" fmla="*/ 773235 h 1297454"/>
                <a:gd name="connsiteX22" fmla="*/ 227816 w 911102"/>
                <a:gd name="connsiteY22" fmla="*/ 680077 h 1297454"/>
                <a:gd name="connsiteX23" fmla="*/ 217008 w 911102"/>
                <a:gd name="connsiteY23" fmla="*/ 677199 h 1297454"/>
                <a:gd name="connsiteX24" fmla="*/ 226953 w 911102"/>
                <a:gd name="connsiteY24" fmla="*/ 675817 h 1297454"/>
                <a:gd name="connsiteX25" fmla="*/ 291768 w 911102"/>
                <a:gd name="connsiteY25" fmla="*/ 589909 h 1297454"/>
                <a:gd name="connsiteX26" fmla="*/ 237891 w 911102"/>
                <a:gd name="connsiteY26" fmla="*/ 496751 h 1297454"/>
                <a:gd name="connsiteX27" fmla="*/ 221568 w 911102"/>
                <a:gd name="connsiteY27" fmla="*/ 492404 h 1297454"/>
                <a:gd name="connsiteX28" fmla="*/ 249567 w 911102"/>
                <a:gd name="connsiteY28" fmla="*/ 475916 h 1297454"/>
                <a:gd name="connsiteX29" fmla="*/ 281129 w 911102"/>
                <a:gd name="connsiteY29" fmla="*/ 411193 h 1297454"/>
                <a:gd name="connsiteX30" fmla="*/ 281130 w 911102"/>
                <a:gd name="connsiteY30" fmla="*/ 411193 h 1297454"/>
                <a:gd name="connsiteX31" fmla="*/ 257681 w 911102"/>
                <a:gd name="connsiteY31" fmla="*/ 343108 h 1297454"/>
                <a:gd name="connsiteX32" fmla="*/ 192957 w 911102"/>
                <a:gd name="connsiteY32" fmla="*/ 311547 h 1297454"/>
                <a:gd name="connsiteX33" fmla="*/ 65424 w 911102"/>
                <a:gd name="connsiteY33" fmla="*/ 303757 h 1297454"/>
                <a:gd name="connsiteX34" fmla="*/ 41901 w 911102"/>
                <a:gd name="connsiteY34" fmla="*/ 309400 h 1297454"/>
                <a:gd name="connsiteX35" fmla="*/ 56412 w 911102"/>
                <a:gd name="connsiteY35" fmla="*/ 232310 h 1297454"/>
                <a:gd name="connsiteX36" fmla="*/ 127609 w 911102"/>
                <a:gd name="connsiteY36" fmla="*/ 8370 h 1297454"/>
                <a:gd name="connsiteX37" fmla="*/ 135979 w 911102"/>
                <a:gd name="connsiteY37" fmla="*/ 0 h 1297454"/>
                <a:gd name="connsiteX38" fmla="*/ 737166 w 911102"/>
                <a:gd name="connsiteY38" fmla="*/ 0 h 1297454"/>
                <a:gd name="connsiteX39" fmla="*/ 745536 w 911102"/>
                <a:gd name="connsiteY3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4876 w 911102"/>
                <a:gd name="connsiteY10" fmla="*/ 1290789 h 1297454"/>
                <a:gd name="connsiteX11" fmla="*/ 568039 w 911102"/>
                <a:gd name="connsiteY11" fmla="*/ 1230080 h 1297454"/>
                <a:gd name="connsiteX12" fmla="*/ 364868 w 911102"/>
                <a:gd name="connsiteY12" fmla="*/ 1184795 h 1297454"/>
                <a:gd name="connsiteX13" fmla="*/ 178811 w 911102"/>
                <a:gd name="connsiteY13" fmla="*/ 1123147 h 1297454"/>
                <a:gd name="connsiteX14" fmla="*/ 28040 w 911102"/>
                <a:gd name="connsiteY14" fmla="*/ 1036282 h 1297454"/>
                <a:gd name="connsiteX15" fmla="*/ 26077 w 911102"/>
                <a:gd name="connsiteY15" fmla="*/ 1027345 h 1297454"/>
                <a:gd name="connsiteX16" fmla="*/ 152633 w 911102"/>
                <a:gd name="connsiteY16" fmla="*/ 1035076 h 1297454"/>
                <a:gd name="connsiteX17" fmla="*/ 255738 w 911102"/>
                <a:gd name="connsiteY17" fmla="*/ 943843 h 1297454"/>
                <a:gd name="connsiteX18" fmla="*/ 231475 w 911102"/>
                <a:gd name="connsiteY18" fmla="*/ 873395 h 1297454"/>
                <a:gd name="connsiteX19" fmla="*/ 213502 w 911102"/>
                <a:gd name="connsiteY19" fmla="*/ 859613 h 1297454"/>
                <a:gd name="connsiteX20" fmla="*/ 216878 w 911102"/>
                <a:gd name="connsiteY20" fmla="*/ 859143 h 1297454"/>
                <a:gd name="connsiteX21" fmla="*/ 281693 w 911102"/>
                <a:gd name="connsiteY21" fmla="*/ 773235 h 1297454"/>
                <a:gd name="connsiteX22" fmla="*/ 227816 w 911102"/>
                <a:gd name="connsiteY22" fmla="*/ 680077 h 1297454"/>
                <a:gd name="connsiteX23" fmla="*/ 217008 w 911102"/>
                <a:gd name="connsiteY23" fmla="*/ 677199 h 1297454"/>
                <a:gd name="connsiteX24" fmla="*/ 226953 w 911102"/>
                <a:gd name="connsiteY24" fmla="*/ 675817 h 1297454"/>
                <a:gd name="connsiteX25" fmla="*/ 291768 w 911102"/>
                <a:gd name="connsiteY25" fmla="*/ 589909 h 1297454"/>
                <a:gd name="connsiteX26" fmla="*/ 237891 w 911102"/>
                <a:gd name="connsiteY26" fmla="*/ 496751 h 1297454"/>
                <a:gd name="connsiteX27" fmla="*/ 221568 w 911102"/>
                <a:gd name="connsiteY27" fmla="*/ 492404 h 1297454"/>
                <a:gd name="connsiteX28" fmla="*/ 249567 w 911102"/>
                <a:gd name="connsiteY28" fmla="*/ 475916 h 1297454"/>
                <a:gd name="connsiteX29" fmla="*/ 281129 w 911102"/>
                <a:gd name="connsiteY29" fmla="*/ 411193 h 1297454"/>
                <a:gd name="connsiteX30" fmla="*/ 281130 w 911102"/>
                <a:gd name="connsiteY30" fmla="*/ 411193 h 1297454"/>
                <a:gd name="connsiteX31" fmla="*/ 257681 w 911102"/>
                <a:gd name="connsiteY31" fmla="*/ 343108 h 1297454"/>
                <a:gd name="connsiteX32" fmla="*/ 192957 w 911102"/>
                <a:gd name="connsiteY32" fmla="*/ 311547 h 1297454"/>
                <a:gd name="connsiteX33" fmla="*/ 65424 w 911102"/>
                <a:gd name="connsiteY33" fmla="*/ 303757 h 1297454"/>
                <a:gd name="connsiteX34" fmla="*/ 41901 w 911102"/>
                <a:gd name="connsiteY34" fmla="*/ 309400 h 1297454"/>
                <a:gd name="connsiteX35" fmla="*/ 56412 w 911102"/>
                <a:gd name="connsiteY35" fmla="*/ 232310 h 1297454"/>
                <a:gd name="connsiteX36" fmla="*/ 127609 w 911102"/>
                <a:gd name="connsiteY36" fmla="*/ 8370 h 1297454"/>
                <a:gd name="connsiteX37" fmla="*/ 135979 w 911102"/>
                <a:gd name="connsiteY37" fmla="*/ 0 h 1297454"/>
                <a:gd name="connsiteX38" fmla="*/ 737166 w 911102"/>
                <a:gd name="connsiteY38" fmla="*/ 0 h 1297454"/>
                <a:gd name="connsiteX39" fmla="*/ 745536 w 911102"/>
                <a:gd name="connsiteY3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4876 w 911102"/>
                <a:gd name="connsiteY10" fmla="*/ 1290789 h 1297454"/>
                <a:gd name="connsiteX11" fmla="*/ 568039 w 911102"/>
                <a:gd name="connsiteY11" fmla="*/ 1230080 h 1297454"/>
                <a:gd name="connsiteX12" fmla="*/ 364868 w 911102"/>
                <a:gd name="connsiteY12" fmla="*/ 1184795 h 1297454"/>
                <a:gd name="connsiteX13" fmla="*/ 178811 w 911102"/>
                <a:gd name="connsiteY13" fmla="*/ 1123147 h 1297454"/>
                <a:gd name="connsiteX14" fmla="*/ 28040 w 911102"/>
                <a:gd name="connsiteY14" fmla="*/ 1036282 h 1297454"/>
                <a:gd name="connsiteX15" fmla="*/ 26077 w 911102"/>
                <a:gd name="connsiteY15" fmla="*/ 1027345 h 1297454"/>
                <a:gd name="connsiteX16" fmla="*/ 152633 w 911102"/>
                <a:gd name="connsiteY16" fmla="*/ 1035076 h 1297454"/>
                <a:gd name="connsiteX17" fmla="*/ 255738 w 911102"/>
                <a:gd name="connsiteY17" fmla="*/ 943843 h 1297454"/>
                <a:gd name="connsiteX18" fmla="*/ 231475 w 911102"/>
                <a:gd name="connsiteY18" fmla="*/ 873395 h 1297454"/>
                <a:gd name="connsiteX19" fmla="*/ 213502 w 911102"/>
                <a:gd name="connsiteY19" fmla="*/ 859613 h 1297454"/>
                <a:gd name="connsiteX20" fmla="*/ 216878 w 911102"/>
                <a:gd name="connsiteY20" fmla="*/ 859143 h 1297454"/>
                <a:gd name="connsiteX21" fmla="*/ 281693 w 911102"/>
                <a:gd name="connsiteY21" fmla="*/ 773235 h 1297454"/>
                <a:gd name="connsiteX22" fmla="*/ 227816 w 911102"/>
                <a:gd name="connsiteY22" fmla="*/ 680077 h 1297454"/>
                <a:gd name="connsiteX23" fmla="*/ 217008 w 911102"/>
                <a:gd name="connsiteY23" fmla="*/ 677199 h 1297454"/>
                <a:gd name="connsiteX24" fmla="*/ 226953 w 911102"/>
                <a:gd name="connsiteY24" fmla="*/ 675817 h 1297454"/>
                <a:gd name="connsiteX25" fmla="*/ 291768 w 911102"/>
                <a:gd name="connsiteY25" fmla="*/ 589909 h 1297454"/>
                <a:gd name="connsiteX26" fmla="*/ 237891 w 911102"/>
                <a:gd name="connsiteY26" fmla="*/ 496751 h 1297454"/>
                <a:gd name="connsiteX27" fmla="*/ 221568 w 911102"/>
                <a:gd name="connsiteY27" fmla="*/ 492404 h 1297454"/>
                <a:gd name="connsiteX28" fmla="*/ 249567 w 911102"/>
                <a:gd name="connsiteY28" fmla="*/ 475916 h 1297454"/>
                <a:gd name="connsiteX29" fmla="*/ 281129 w 911102"/>
                <a:gd name="connsiteY29" fmla="*/ 411193 h 1297454"/>
                <a:gd name="connsiteX30" fmla="*/ 281130 w 911102"/>
                <a:gd name="connsiteY30" fmla="*/ 411193 h 1297454"/>
                <a:gd name="connsiteX31" fmla="*/ 257681 w 911102"/>
                <a:gd name="connsiteY31" fmla="*/ 343108 h 1297454"/>
                <a:gd name="connsiteX32" fmla="*/ 192957 w 911102"/>
                <a:gd name="connsiteY32" fmla="*/ 311547 h 1297454"/>
                <a:gd name="connsiteX33" fmla="*/ 65424 w 911102"/>
                <a:gd name="connsiteY33" fmla="*/ 303757 h 1297454"/>
                <a:gd name="connsiteX34" fmla="*/ 41901 w 911102"/>
                <a:gd name="connsiteY34" fmla="*/ 309400 h 1297454"/>
                <a:gd name="connsiteX35" fmla="*/ 56412 w 911102"/>
                <a:gd name="connsiteY35" fmla="*/ 232310 h 1297454"/>
                <a:gd name="connsiteX36" fmla="*/ 127609 w 911102"/>
                <a:gd name="connsiteY36" fmla="*/ 8370 h 1297454"/>
                <a:gd name="connsiteX37" fmla="*/ 135979 w 911102"/>
                <a:gd name="connsiteY37" fmla="*/ 0 h 1297454"/>
                <a:gd name="connsiteX38" fmla="*/ 737166 w 911102"/>
                <a:gd name="connsiteY38" fmla="*/ 0 h 1297454"/>
                <a:gd name="connsiteX39" fmla="*/ 745536 w 911102"/>
                <a:gd name="connsiteY3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911102" h="1297454">
                  <a:moveTo>
                    <a:pt x="554" y="664205"/>
                  </a:moveTo>
                  <a:lnTo>
                    <a:pt x="0" y="664282"/>
                  </a:lnTo>
                  <a:cubicBezTo>
                    <a:pt x="5" y="664208"/>
                    <a:pt x="11" y="664135"/>
                    <a:pt x="16" y="664061"/>
                  </a:cubicBezTo>
                  <a:lnTo>
                    <a:pt x="554" y="664205"/>
                  </a:lnTo>
                  <a:close/>
                  <a:moveTo>
                    <a:pt x="745536" y="8370"/>
                  </a:moveTo>
                  <a:cubicBezTo>
                    <a:pt x="777296" y="94936"/>
                    <a:pt x="879455" y="311958"/>
                    <a:pt x="911102" y="379668"/>
                  </a:cubicBezTo>
                  <a:lnTo>
                    <a:pt x="876710" y="385825"/>
                  </a:lnTo>
                  <a:cubicBezTo>
                    <a:pt x="868621" y="377323"/>
                    <a:pt x="500563" y="302568"/>
                    <a:pt x="492061" y="310657"/>
                  </a:cubicBezTo>
                  <a:cubicBezTo>
                    <a:pt x="467650" y="368421"/>
                    <a:pt x="552876" y="601616"/>
                    <a:pt x="783320" y="626020"/>
                  </a:cubicBezTo>
                  <a:cubicBezTo>
                    <a:pt x="707017" y="751589"/>
                    <a:pt x="678492" y="1146233"/>
                    <a:pt x="724876" y="1290789"/>
                  </a:cubicBezTo>
                  <a:cubicBezTo>
                    <a:pt x="686289" y="1299923"/>
                    <a:pt x="599232" y="1312604"/>
                    <a:pt x="568039" y="1230080"/>
                  </a:cubicBezTo>
                  <a:cubicBezTo>
                    <a:pt x="505142" y="1271224"/>
                    <a:pt x="421109" y="1286153"/>
                    <a:pt x="364868" y="1184795"/>
                  </a:cubicBezTo>
                  <a:cubicBezTo>
                    <a:pt x="275380" y="1265558"/>
                    <a:pt x="187295" y="1190323"/>
                    <a:pt x="178811" y="1123147"/>
                  </a:cubicBezTo>
                  <a:cubicBezTo>
                    <a:pt x="136082" y="1156900"/>
                    <a:pt x="67183" y="1167242"/>
                    <a:pt x="28040" y="1036282"/>
                  </a:cubicBezTo>
                  <a:lnTo>
                    <a:pt x="26077" y="1027345"/>
                  </a:lnTo>
                  <a:lnTo>
                    <a:pt x="152633" y="1035076"/>
                  </a:lnTo>
                  <a:cubicBezTo>
                    <a:pt x="206298" y="1038354"/>
                    <a:pt x="252460" y="997507"/>
                    <a:pt x="255738" y="943843"/>
                  </a:cubicBezTo>
                  <a:cubicBezTo>
                    <a:pt x="257377" y="917011"/>
                    <a:pt x="247985" y="892054"/>
                    <a:pt x="231475" y="873395"/>
                  </a:cubicBezTo>
                  <a:lnTo>
                    <a:pt x="213502" y="859613"/>
                  </a:lnTo>
                  <a:lnTo>
                    <a:pt x="216878" y="859143"/>
                  </a:lnTo>
                  <a:cubicBezTo>
                    <a:pt x="252654" y="846522"/>
                    <a:pt x="279235" y="813484"/>
                    <a:pt x="281693" y="773235"/>
                  </a:cubicBezTo>
                  <a:cubicBezTo>
                    <a:pt x="284152" y="732987"/>
                    <a:pt x="261790" y="696958"/>
                    <a:pt x="227816" y="680077"/>
                  </a:cubicBezTo>
                  <a:lnTo>
                    <a:pt x="217008" y="677199"/>
                  </a:lnTo>
                  <a:lnTo>
                    <a:pt x="226953" y="675817"/>
                  </a:lnTo>
                  <a:cubicBezTo>
                    <a:pt x="262729" y="663196"/>
                    <a:pt x="289310" y="630158"/>
                    <a:pt x="291768" y="589909"/>
                  </a:cubicBezTo>
                  <a:cubicBezTo>
                    <a:pt x="294227" y="549660"/>
                    <a:pt x="271865" y="513632"/>
                    <a:pt x="237891" y="496751"/>
                  </a:cubicBezTo>
                  <a:lnTo>
                    <a:pt x="221568" y="492404"/>
                  </a:lnTo>
                  <a:lnTo>
                    <a:pt x="249567" y="475916"/>
                  </a:lnTo>
                  <a:cubicBezTo>
                    <a:pt x="267599" y="459959"/>
                    <a:pt x="279545" y="437125"/>
                    <a:pt x="281129" y="411193"/>
                  </a:cubicBezTo>
                  <a:lnTo>
                    <a:pt x="281130" y="411193"/>
                  </a:lnTo>
                  <a:cubicBezTo>
                    <a:pt x="282714" y="385260"/>
                    <a:pt x="273637" y="361142"/>
                    <a:pt x="257681" y="343108"/>
                  </a:cubicBezTo>
                  <a:cubicBezTo>
                    <a:pt x="241725" y="325077"/>
                    <a:pt x="218889" y="313132"/>
                    <a:pt x="192957" y="311547"/>
                  </a:cubicBezTo>
                  <a:lnTo>
                    <a:pt x="65424" y="303757"/>
                  </a:lnTo>
                  <a:lnTo>
                    <a:pt x="41901" y="309400"/>
                  </a:lnTo>
                  <a:lnTo>
                    <a:pt x="56412" y="232310"/>
                  </a:lnTo>
                  <a:cubicBezTo>
                    <a:pt x="76486" y="142148"/>
                    <a:pt x="100714" y="63554"/>
                    <a:pt x="127609" y="8370"/>
                  </a:cubicBezTo>
                  <a:cubicBezTo>
                    <a:pt x="127609" y="3747"/>
                    <a:pt x="131356" y="0"/>
                    <a:pt x="135979" y="0"/>
                  </a:cubicBezTo>
                  <a:lnTo>
                    <a:pt x="737166" y="0"/>
                  </a:lnTo>
                  <a:cubicBezTo>
                    <a:pt x="741789" y="0"/>
                    <a:pt x="745536" y="3747"/>
                    <a:pt x="745536" y="837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1" name="Rounded Rectangle 50"/>
            <p:cNvSpPr/>
            <p:nvPr/>
          </p:nvSpPr>
          <p:spPr>
            <a:xfrm rot="18254747">
              <a:off x="2121920" y="3773287"/>
              <a:ext cx="268275" cy="128977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2" name="Rounded Rectangle 51"/>
            <p:cNvSpPr/>
            <p:nvPr/>
          </p:nvSpPr>
          <p:spPr>
            <a:xfrm rot="18254747">
              <a:off x="2237781" y="3867949"/>
              <a:ext cx="311038" cy="143896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3" name="Rounded Rectangle 52"/>
            <p:cNvSpPr/>
            <p:nvPr/>
          </p:nvSpPr>
          <p:spPr>
            <a:xfrm rot="18254747">
              <a:off x="2396653" y="3967672"/>
              <a:ext cx="302453" cy="142014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4" name="Rounded Rectangle 53"/>
            <p:cNvSpPr/>
            <p:nvPr/>
          </p:nvSpPr>
          <p:spPr>
            <a:xfrm rot="18191826">
              <a:off x="2567056" y="4069412"/>
              <a:ext cx="257644" cy="132691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5" name="Rounded Rectangle 54"/>
            <p:cNvSpPr/>
            <p:nvPr/>
          </p:nvSpPr>
          <p:spPr>
            <a:xfrm rot="18170923">
              <a:off x="1446042" y="3129169"/>
              <a:ext cx="793564" cy="242045"/>
            </a:xfrm>
            <a:prstGeom prst="roundRect">
              <a:avLst>
                <a:gd name="adj" fmla="val 3458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6" name="Rounded Rectangle 55"/>
            <p:cNvSpPr/>
            <p:nvPr/>
          </p:nvSpPr>
          <p:spPr>
            <a:xfrm rot="18139869">
              <a:off x="1650404" y="3310198"/>
              <a:ext cx="701700" cy="59118"/>
            </a:xfrm>
            <a:prstGeom prst="roundRect">
              <a:avLst>
                <a:gd name="adj" fmla="val 5000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7" name="Rounded Rectangle 56"/>
            <p:cNvSpPr/>
            <p:nvPr/>
          </p:nvSpPr>
          <p:spPr>
            <a:xfrm rot="4209802">
              <a:off x="3305704" y="3176290"/>
              <a:ext cx="793564" cy="242045"/>
            </a:xfrm>
            <a:prstGeom prst="roundRect">
              <a:avLst>
                <a:gd name="adj" fmla="val 3458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8" name="Rounded Rectangle 57"/>
            <p:cNvSpPr/>
            <p:nvPr/>
          </p:nvSpPr>
          <p:spPr>
            <a:xfrm rot="4234155">
              <a:off x="3180849" y="3331995"/>
              <a:ext cx="701700" cy="59118"/>
            </a:xfrm>
            <a:prstGeom prst="roundRect">
              <a:avLst>
                <a:gd name="adj" fmla="val 5000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9" name="Freeform 58"/>
            <p:cNvSpPr/>
            <p:nvPr/>
          </p:nvSpPr>
          <p:spPr>
            <a:xfrm rot="20830502">
              <a:off x="2416807" y="3065880"/>
              <a:ext cx="1092446" cy="753122"/>
            </a:xfrm>
            <a:custGeom>
              <a:avLst/>
              <a:gdLst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3108 w 1092446"/>
                <a:gd name="connsiteY8" fmla="*/ 486300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3108 w 1092446"/>
                <a:gd name="connsiteY8" fmla="*/ 486300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3108 w 1092446"/>
                <a:gd name="connsiteY8" fmla="*/ 486300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1523 w 1092446"/>
                <a:gd name="connsiteY8" fmla="*/ 493267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99633 w 1092446"/>
                <a:gd name="connsiteY6" fmla="*/ 522004 h 741956"/>
                <a:gd name="connsiteX7" fmla="*/ 691523 w 1092446"/>
                <a:gd name="connsiteY7" fmla="*/ 493267 h 741956"/>
                <a:gd name="connsiteX8" fmla="*/ 576784 w 1092446"/>
                <a:gd name="connsiteY8" fmla="*/ 489842 h 741956"/>
                <a:gd name="connsiteX9" fmla="*/ 571648 w 1092446"/>
                <a:gd name="connsiteY9" fmla="*/ 489724 h 741956"/>
                <a:gd name="connsiteX10" fmla="*/ 481793 w 1092446"/>
                <a:gd name="connsiteY10" fmla="*/ 377963 h 741956"/>
                <a:gd name="connsiteX11" fmla="*/ 408161 w 1092446"/>
                <a:gd name="connsiteY11" fmla="*/ 225516 h 741956"/>
                <a:gd name="connsiteX12" fmla="*/ 0 w 1092446"/>
                <a:gd name="connsiteY12" fmla="*/ 271157 h 741956"/>
                <a:gd name="connsiteX13" fmla="*/ 393182 w 1092446"/>
                <a:gd name="connsiteY13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81793 w 1092446"/>
                <a:gd name="connsiteY8" fmla="*/ 377963 h 741956"/>
                <a:gd name="connsiteX9" fmla="*/ 408161 w 1092446"/>
                <a:gd name="connsiteY9" fmla="*/ 225516 h 741956"/>
                <a:gd name="connsiteX10" fmla="*/ 0 w 1092446"/>
                <a:gd name="connsiteY10" fmla="*/ 271157 h 741956"/>
                <a:gd name="connsiteX11" fmla="*/ 393182 w 1092446"/>
                <a:gd name="connsiteY11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53122"/>
                <a:gd name="connsiteX1" fmla="*/ 1030378 w 1092446"/>
                <a:gd name="connsiteY1" fmla="*/ 159143 h 753122"/>
                <a:gd name="connsiteX2" fmla="*/ 1092446 w 1092446"/>
                <a:gd name="connsiteY2" fmla="*/ 711193 h 753122"/>
                <a:gd name="connsiteX3" fmla="*/ 848296 w 1092446"/>
                <a:gd name="connsiteY3" fmla="*/ 752170 h 753122"/>
                <a:gd name="connsiteX4" fmla="*/ 600457 w 1092446"/>
                <a:gd name="connsiteY4" fmla="*/ 520096 h 753122"/>
                <a:gd name="connsiteX5" fmla="*/ 699633 w 1092446"/>
                <a:gd name="connsiteY5" fmla="*/ 522004 h 753122"/>
                <a:gd name="connsiteX6" fmla="*/ 689937 w 1092446"/>
                <a:gd name="connsiteY6" fmla="*/ 500232 h 753122"/>
                <a:gd name="connsiteX7" fmla="*/ 576784 w 1092446"/>
                <a:gd name="connsiteY7" fmla="*/ 489842 h 753122"/>
                <a:gd name="connsiteX8" fmla="*/ 408161 w 1092446"/>
                <a:gd name="connsiteY8" fmla="*/ 225516 h 753122"/>
                <a:gd name="connsiteX9" fmla="*/ 0 w 1092446"/>
                <a:gd name="connsiteY9" fmla="*/ 271157 h 753122"/>
                <a:gd name="connsiteX10" fmla="*/ 393182 w 1092446"/>
                <a:gd name="connsiteY10" fmla="*/ 0 h 753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92446" h="753122">
                  <a:moveTo>
                    <a:pt x="393182" y="0"/>
                  </a:moveTo>
                  <a:cubicBezTo>
                    <a:pt x="603014" y="50021"/>
                    <a:pt x="721952" y="145288"/>
                    <a:pt x="1030378" y="159143"/>
                  </a:cubicBezTo>
                  <a:cubicBezTo>
                    <a:pt x="1030378" y="348219"/>
                    <a:pt x="1061205" y="519889"/>
                    <a:pt x="1092446" y="711193"/>
                  </a:cubicBezTo>
                  <a:cubicBezTo>
                    <a:pt x="1032790" y="742751"/>
                    <a:pt x="923476" y="757108"/>
                    <a:pt x="848296" y="752170"/>
                  </a:cubicBezTo>
                  <a:cubicBezTo>
                    <a:pt x="798266" y="726242"/>
                    <a:pt x="684202" y="631576"/>
                    <a:pt x="600457" y="520096"/>
                  </a:cubicBezTo>
                  <a:cubicBezTo>
                    <a:pt x="633516" y="520732"/>
                    <a:pt x="684720" y="525315"/>
                    <a:pt x="699633" y="522004"/>
                  </a:cubicBezTo>
                  <a:cubicBezTo>
                    <a:pt x="714546" y="518693"/>
                    <a:pt x="725252" y="504787"/>
                    <a:pt x="689937" y="500232"/>
                  </a:cubicBezTo>
                  <a:cubicBezTo>
                    <a:pt x="654621" y="501428"/>
                    <a:pt x="614772" y="497298"/>
                    <a:pt x="576784" y="489842"/>
                  </a:cubicBezTo>
                  <a:cubicBezTo>
                    <a:pt x="507475" y="437824"/>
                    <a:pt x="432486" y="335672"/>
                    <a:pt x="408161" y="225516"/>
                  </a:cubicBezTo>
                  <a:cubicBezTo>
                    <a:pt x="253916" y="345672"/>
                    <a:pt x="75753" y="345602"/>
                    <a:pt x="0" y="271157"/>
                  </a:cubicBezTo>
                  <a:cubicBezTo>
                    <a:pt x="0" y="259422"/>
                    <a:pt x="381447" y="0"/>
                    <a:pt x="393182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61" name="Group 21"/>
          <p:cNvGrpSpPr>
            <a:grpSpLocks noChangeAspect="1"/>
          </p:cNvGrpSpPr>
          <p:nvPr/>
        </p:nvGrpSpPr>
        <p:grpSpPr bwMode="auto">
          <a:xfrm>
            <a:off x="10906749" y="3548572"/>
            <a:ext cx="463820" cy="462283"/>
            <a:chOff x="-425" y="2418"/>
            <a:chExt cx="302" cy="301"/>
          </a:xfrm>
          <a:solidFill>
            <a:srgbClr val="26867C"/>
          </a:solidFill>
        </p:grpSpPr>
        <p:sp>
          <p:nvSpPr>
            <p:cNvPr id="64" name="Freeform 23"/>
            <p:cNvSpPr>
              <a:spLocks/>
            </p:cNvSpPr>
            <p:nvPr/>
          </p:nvSpPr>
          <p:spPr bwMode="auto">
            <a:xfrm>
              <a:off x="-373" y="2472"/>
              <a:ext cx="130" cy="27"/>
            </a:xfrm>
            <a:custGeom>
              <a:avLst/>
              <a:gdLst>
                <a:gd name="T0" fmla="*/ 151 w 1438"/>
                <a:gd name="T1" fmla="*/ 0 h 302"/>
                <a:gd name="T2" fmla="*/ 1287 w 1438"/>
                <a:gd name="T3" fmla="*/ 0 h 302"/>
                <a:gd name="T4" fmla="*/ 1318 w 1438"/>
                <a:gd name="T5" fmla="*/ 3 h 302"/>
                <a:gd name="T6" fmla="*/ 1346 w 1438"/>
                <a:gd name="T7" fmla="*/ 12 h 302"/>
                <a:gd name="T8" fmla="*/ 1372 w 1438"/>
                <a:gd name="T9" fmla="*/ 26 h 302"/>
                <a:gd name="T10" fmla="*/ 1394 w 1438"/>
                <a:gd name="T11" fmla="*/ 45 h 302"/>
                <a:gd name="T12" fmla="*/ 1413 w 1438"/>
                <a:gd name="T13" fmla="*/ 67 h 302"/>
                <a:gd name="T14" fmla="*/ 1426 w 1438"/>
                <a:gd name="T15" fmla="*/ 93 h 302"/>
                <a:gd name="T16" fmla="*/ 1435 w 1438"/>
                <a:gd name="T17" fmla="*/ 121 h 302"/>
                <a:gd name="T18" fmla="*/ 1438 w 1438"/>
                <a:gd name="T19" fmla="*/ 151 h 302"/>
                <a:gd name="T20" fmla="*/ 1435 w 1438"/>
                <a:gd name="T21" fmla="*/ 181 h 302"/>
                <a:gd name="T22" fmla="*/ 1426 w 1438"/>
                <a:gd name="T23" fmla="*/ 209 h 302"/>
                <a:gd name="T24" fmla="*/ 1413 w 1438"/>
                <a:gd name="T25" fmla="*/ 235 h 302"/>
                <a:gd name="T26" fmla="*/ 1394 w 1438"/>
                <a:gd name="T27" fmla="*/ 257 h 302"/>
                <a:gd name="T28" fmla="*/ 1372 w 1438"/>
                <a:gd name="T29" fmla="*/ 276 h 302"/>
                <a:gd name="T30" fmla="*/ 1346 w 1438"/>
                <a:gd name="T31" fmla="*/ 289 h 302"/>
                <a:gd name="T32" fmla="*/ 1318 w 1438"/>
                <a:gd name="T33" fmla="*/ 298 h 302"/>
                <a:gd name="T34" fmla="*/ 1287 w 1438"/>
                <a:gd name="T35" fmla="*/ 302 h 302"/>
                <a:gd name="T36" fmla="*/ 151 w 1438"/>
                <a:gd name="T37" fmla="*/ 302 h 302"/>
                <a:gd name="T38" fmla="*/ 121 w 1438"/>
                <a:gd name="T39" fmla="*/ 298 h 302"/>
                <a:gd name="T40" fmla="*/ 93 w 1438"/>
                <a:gd name="T41" fmla="*/ 289 h 302"/>
                <a:gd name="T42" fmla="*/ 66 w 1438"/>
                <a:gd name="T43" fmla="*/ 276 h 302"/>
                <a:gd name="T44" fmla="*/ 44 w 1438"/>
                <a:gd name="T45" fmla="*/ 257 h 302"/>
                <a:gd name="T46" fmla="*/ 26 w 1438"/>
                <a:gd name="T47" fmla="*/ 235 h 302"/>
                <a:gd name="T48" fmla="*/ 12 w 1438"/>
                <a:gd name="T49" fmla="*/ 209 h 302"/>
                <a:gd name="T50" fmla="*/ 4 w 1438"/>
                <a:gd name="T51" fmla="*/ 181 h 302"/>
                <a:gd name="T52" fmla="*/ 0 w 1438"/>
                <a:gd name="T53" fmla="*/ 151 h 302"/>
                <a:gd name="T54" fmla="*/ 4 w 1438"/>
                <a:gd name="T55" fmla="*/ 121 h 302"/>
                <a:gd name="T56" fmla="*/ 12 w 1438"/>
                <a:gd name="T57" fmla="*/ 93 h 302"/>
                <a:gd name="T58" fmla="*/ 26 w 1438"/>
                <a:gd name="T59" fmla="*/ 67 h 302"/>
                <a:gd name="T60" fmla="*/ 44 w 1438"/>
                <a:gd name="T61" fmla="*/ 45 h 302"/>
                <a:gd name="T62" fmla="*/ 66 w 1438"/>
                <a:gd name="T63" fmla="*/ 26 h 302"/>
                <a:gd name="T64" fmla="*/ 93 w 1438"/>
                <a:gd name="T65" fmla="*/ 12 h 302"/>
                <a:gd name="T66" fmla="*/ 121 w 1438"/>
                <a:gd name="T67" fmla="*/ 3 h 302"/>
                <a:gd name="T68" fmla="*/ 151 w 1438"/>
                <a:gd name="T6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8" h="302">
                  <a:moveTo>
                    <a:pt x="151" y="0"/>
                  </a:moveTo>
                  <a:lnTo>
                    <a:pt x="1287" y="0"/>
                  </a:lnTo>
                  <a:lnTo>
                    <a:pt x="1318" y="3"/>
                  </a:lnTo>
                  <a:lnTo>
                    <a:pt x="1346" y="12"/>
                  </a:lnTo>
                  <a:lnTo>
                    <a:pt x="1372" y="26"/>
                  </a:lnTo>
                  <a:lnTo>
                    <a:pt x="1394" y="45"/>
                  </a:lnTo>
                  <a:lnTo>
                    <a:pt x="1413" y="67"/>
                  </a:lnTo>
                  <a:lnTo>
                    <a:pt x="1426" y="93"/>
                  </a:lnTo>
                  <a:lnTo>
                    <a:pt x="1435" y="121"/>
                  </a:lnTo>
                  <a:lnTo>
                    <a:pt x="1438" y="151"/>
                  </a:lnTo>
                  <a:lnTo>
                    <a:pt x="1435" y="181"/>
                  </a:lnTo>
                  <a:lnTo>
                    <a:pt x="1426" y="209"/>
                  </a:lnTo>
                  <a:lnTo>
                    <a:pt x="1413" y="235"/>
                  </a:lnTo>
                  <a:lnTo>
                    <a:pt x="1394" y="257"/>
                  </a:lnTo>
                  <a:lnTo>
                    <a:pt x="1372" y="276"/>
                  </a:lnTo>
                  <a:lnTo>
                    <a:pt x="1346" y="289"/>
                  </a:lnTo>
                  <a:lnTo>
                    <a:pt x="1318" y="298"/>
                  </a:lnTo>
                  <a:lnTo>
                    <a:pt x="1287" y="302"/>
                  </a:lnTo>
                  <a:lnTo>
                    <a:pt x="151" y="302"/>
                  </a:lnTo>
                  <a:lnTo>
                    <a:pt x="121" y="298"/>
                  </a:lnTo>
                  <a:lnTo>
                    <a:pt x="93" y="289"/>
                  </a:lnTo>
                  <a:lnTo>
                    <a:pt x="66" y="276"/>
                  </a:lnTo>
                  <a:lnTo>
                    <a:pt x="44" y="257"/>
                  </a:lnTo>
                  <a:lnTo>
                    <a:pt x="26" y="235"/>
                  </a:lnTo>
                  <a:lnTo>
                    <a:pt x="12" y="209"/>
                  </a:lnTo>
                  <a:lnTo>
                    <a:pt x="4" y="181"/>
                  </a:lnTo>
                  <a:lnTo>
                    <a:pt x="0" y="151"/>
                  </a:lnTo>
                  <a:lnTo>
                    <a:pt x="4" y="121"/>
                  </a:lnTo>
                  <a:lnTo>
                    <a:pt x="12" y="93"/>
                  </a:lnTo>
                  <a:lnTo>
                    <a:pt x="26" y="67"/>
                  </a:lnTo>
                  <a:lnTo>
                    <a:pt x="44" y="45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4"/>
            <p:cNvSpPr>
              <a:spLocks/>
            </p:cNvSpPr>
            <p:nvPr/>
          </p:nvSpPr>
          <p:spPr bwMode="auto">
            <a:xfrm>
              <a:off x="-373" y="2523"/>
              <a:ext cx="130" cy="27"/>
            </a:xfrm>
            <a:custGeom>
              <a:avLst/>
              <a:gdLst>
                <a:gd name="T0" fmla="*/ 151 w 1438"/>
                <a:gd name="T1" fmla="*/ 0 h 301"/>
                <a:gd name="T2" fmla="*/ 1287 w 1438"/>
                <a:gd name="T3" fmla="*/ 0 h 301"/>
                <a:gd name="T4" fmla="*/ 1318 w 1438"/>
                <a:gd name="T5" fmla="*/ 3 h 301"/>
                <a:gd name="T6" fmla="*/ 1346 w 1438"/>
                <a:gd name="T7" fmla="*/ 12 h 301"/>
                <a:gd name="T8" fmla="*/ 1372 w 1438"/>
                <a:gd name="T9" fmla="*/ 26 h 301"/>
                <a:gd name="T10" fmla="*/ 1394 w 1438"/>
                <a:gd name="T11" fmla="*/ 44 h 301"/>
                <a:gd name="T12" fmla="*/ 1413 w 1438"/>
                <a:gd name="T13" fmla="*/ 66 h 301"/>
                <a:gd name="T14" fmla="*/ 1426 w 1438"/>
                <a:gd name="T15" fmla="*/ 92 h 301"/>
                <a:gd name="T16" fmla="*/ 1435 w 1438"/>
                <a:gd name="T17" fmla="*/ 120 h 301"/>
                <a:gd name="T18" fmla="*/ 1438 w 1438"/>
                <a:gd name="T19" fmla="*/ 150 h 301"/>
                <a:gd name="T20" fmla="*/ 1435 w 1438"/>
                <a:gd name="T21" fmla="*/ 181 h 301"/>
                <a:gd name="T22" fmla="*/ 1426 w 1438"/>
                <a:gd name="T23" fmla="*/ 210 h 301"/>
                <a:gd name="T24" fmla="*/ 1413 w 1438"/>
                <a:gd name="T25" fmla="*/ 235 h 301"/>
                <a:gd name="T26" fmla="*/ 1394 w 1438"/>
                <a:gd name="T27" fmla="*/ 258 h 301"/>
                <a:gd name="T28" fmla="*/ 1372 w 1438"/>
                <a:gd name="T29" fmla="*/ 275 h 301"/>
                <a:gd name="T30" fmla="*/ 1346 w 1438"/>
                <a:gd name="T31" fmla="*/ 290 h 301"/>
                <a:gd name="T32" fmla="*/ 1318 w 1438"/>
                <a:gd name="T33" fmla="*/ 298 h 301"/>
                <a:gd name="T34" fmla="*/ 1287 w 1438"/>
                <a:gd name="T35" fmla="*/ 301 h 301"/>
                <a:gd name="T36" fmla="*/ 151 w 1438"/>
                <a:gd name="T37" fmla="*/ 301 h 301"/>
                <a:gd name="T38" fmla="*/ 121 w 1438"/>
                <a:gd name="T39" fmla="*/ 298 h 301"/>
                <a:gd name="T40" fmla="*/ 93 w 1438"/>
                <a:gd name="T41" fmla="*/ 290 h 301"/>
                <a:gd name="T42" fmla="*/ 66 w 1438"/>
                <a:gd name="T43" fmla="*/ 275 h 301"/>
                <a:gd name="T44" fmla="*/ 44 w 1438"/>
                <a:gd name="T45" fmla="*/ 258 h 301"/>
                <a:gd name="T46" fmla="*/ 26 w 1438"/>
                <a:gd name="T47" fmla="*/ 235 h 301"/>
                <a:gd name="T48" fmla="*/ 12 w 1438"/>
                <a:gd name="T49" fmla="*/ 210 h 301"/>
                <a:gd name="T50" fmla="*/ 4 w 1438"/>
                <a:gd name="T51" fmla="*/ 181 h 301"/>
                <a:gd name="T52" fmla="*/ 0 w 1438"/>
                <a:gd name="T53" fmla="*/ 150 h 301"/>
                <a:gd name="T54" fmla="*/ 4 w 1438"/>
                <a:gd name="T55" fmla="*/ 120 h 301"/>
                <a:gd name="T56" fmla="*/ 12 w 1438"/>
                <a:gd name="T57" fmla="*/ 92 h 301"/>
                <a:gd name="T58" fmla="*/ 26 w 1438"/>
                <a:gd name="T59" fmla="*/ 66 h 301"/>
                <a:gd name="T60" fmla="*/ 44 w 1438"/>
                <a:gd name="T61" fmla="*/ 44 h 301"/>
                <a:gd name="T62" fmla="*/ 66 w 1438"/>
                <a:gd name="T63" fmla="*/ 26 h 301"/>
                <a:gd name="T64" fmla="*/ 93 w 1438"/>
                <a:gd name="T65" fmla="*/ 12 h 301"/>
                <a:gd name="T66" fmla="*/ 121 w 1438"/>
                <a:gd name="T67" fmla="*/ 3 h 301"/>
                <a:gd name="T68" fmla="*/ 151 w 1438"/>
                <a:gd name="T6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8" h="301">
                  <a:moveTo>
                    <a:pt x="151" y="0"/>
                  </a:moveTo>
                  <a:lnTo>
                    <a:pt x="1287" y="0"/>
                  </a:lnTo>
                  <a:lnTo>
                    <a:pt x="1318" y="3"/>
                  </a:lnTo>
                  <a:lnTo>
                    <a:pt x="1346" y="12"/>
                  </a:lnTo>
                  <a:lnTo>
                    <a:pt x="1372" y="26"/>
                  </a:lnTo>
                  <a:lnTo>
                    <a:pt x="1394" y="44"/>
                  </a:lnTo>
                  <a:lnTo>
                    <a:pt x="1413" y="66"/>
                  </a:lnTo>
                  <a:lnTo>
                    <a:pt x="1426" y="92"/>
                  </a:lnTo>
                  <a:lnTo>
                    <a:pt x="1435" y="120"/>
                  </a:lnTo>
                  <a:lnTo>
                    <a:pt x="1438" y="150"/>
                  </a:lnTo>
                  <a:lnTo>
                    <a:pt x="1435" y="181"/>
                  </a:lnTo>
                  <a:lnTo>
                    <a:pt x="1426" y="210"/>
                  </a:lnTo>
                  <a:lnTo>
                    <a:pt x="1413" y="235"/>
                  </a:lnTo>
                  <a:lnTo>
                    <a:pt x="1394" y="258"/>
                  </a:lnTo>
                  <a:lnTo>
                    <a:pt x="1372" y="275"/>
                  </a:lnTo>
                  <a:lnTo>
                    <a:pt x="1346" y="290"/>
                  </a:lnTo>
                  <a:lnTo>
                    <a:pt x="1318" y="298"/>
                  </a:lnTo>
                  <a:lnTo>
                    <a:pt x="1287" y="301"/>
                  </a:lnTo>
                  <a:lnTo>
                    <a:pt x="151" y="301"/>
                  </a:lnTo>
                  <a:lnTo>
                    <a:pt x="121" y="298"/>
                  </a:lnTo>
                  <a:lnTo>
                    <a:pt x="93" y="290"/>
                  </a:lnTo>
                  <a:lnTo>
                    <a:pt x="66" y="275"/>
                  </a:lnTo>
                  <a:lnTo>
                    <a:pt x="44" y="258"/>
                  </a:lnTo>
                  <a:lnTo>
                    <a:pt x="26" y="235"/>
                  </a:lnTo>
                  <a:lnTo>
                    <a:pt x="12" y="210"/>
                  </a:lnTo>
                  <a:lnTo>
                    <a:pt x="4" y="181"/>
                  </a:lnTo>
                  <a:lnTo>
                    <a:pt x="0" y="150"/>
                  </a:lnTo>
                  <a:lnTo>
                    <a:pt x="4" y="120"/>
                  </a:lnTo>
                  <a:lnTo>
                    <a:pt x="12" y="92"/>
                  </a:lnTo>
                  <a:lnTo>
                    <a:pt x="26" y="66"/>
                  </a:lnTo>
                  <a:lnTo>
                    <a:pt x="44" y="44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5"/>
            <p:cNvSpPr>
              <a:spLocks/>
            </p:cNvSpPr>
            <p:nvPr/>
          </p:nvSpPr>
          <p:spPr bwMode="auto">
            <a:xfrm>
              <a:off x="-373" y="2574"/>
              <a:ext cx="79" cy="28"/>
            </a:xfrm>
            <a:custGeom>
              <a:avLst/>
              <a:gdLst>
                <a:gd name="T0" fmla="*/ 151 w 870"/>
                <a:gd name="T1" fmla="*/ 0 h 301"/>
                <a:gd name="T2" fmla="*/ 720 w 870"/>
                <a:gd name="T3" fmla="*/ 0 h 301"/>
                <a:gd name="T4" fmla="*/ 750 w 870"/>
                <a:gd name="T5" fmla="*/ 4 h 301"/>
                <a:gd name="T6" fmla="*/ 778 w 870"/>
                <a:gd name="T7" fmla="*/ 12 h 301"/>
                <a:gd name="T8" fmla="*/ 805 w 870"/>
                <a:gd name="T9" fmla="*/ 26 h 301"/>
                <a:gd name="T10" fmla="*/ 827 w 870"/>
                <a:gd name="T11" fmla="*/ 44 h 301"/>
                <a:gd name="T12" fmla="*/ 845 w 870"/>
                <a:gd name="T13" fmla="*/ 67 h 301"/>
                <a:gd name="T14" fmla="*/ 859 w 870"/>
                <a:gd name="T15" fmla="*/ 92 h 301"/>
                <a:gd name="T16" fmla="*/ 867 w 870"/>
                <a:gd name="T17" fmla="*/ 120 h 301"/>
                <a:gd name="T18" fmla="*/ 870 w 870"/>
                <a:gd name="T19" fmla="*/ 151 h 301"/>
                <a:gd name="T20" fmla="*/ 867 w 870"/>
                <a:gd name="T21" fmla="*/ 181 h 301"/>
                <a:gd name="T22" fmla="*/ 859 w 870"/>
                <a:gd name="T23" fmla="*/ 209 h 301"/>
                <a:gd name="T24" fmla="*/ 845 w 870"/>
                <a:gd name="T25" fmla="*/ 234 h 301"/>
                <a:gd name="T26" fmla="*/ 827 w 870"/>
                <a:gd name="T27" fmla="*/ 257 h 301"/>
                <a:gd name="T28" fmla="*/ 805 w 870"/>
                <a:gd name="T29" fmla="*/ 275 h 301"/>
                <a:gd name="T30" fmla="*/ 778 w 870"/>
                <a:gd name="T31" fmla="*/ 290 h 301"/>
                <a:gd name="T32" fmla="*/ 750 w 870"/>
                <a:gd name="T33" fmla="*/ 298 h 301"/>
                <a:gd name="T34" fmla="*/ 720 w 870"/>
                <a:gd name="T35" fmla="*/ 301 h 301"/>
                <a:gd name="T36" fmla="*/ 151 w 870"/>
                <a:gd name="T37" fmla="*/ 301 h 301"/>
                <a:gd name="T38" fmla="*/ 121 w 870"/>
                <a:gd name="T39" fmla="*/ 298 h 301"/>
                <a:gd name="T40" fmla="*/ 93 w 870"/>
                <a:gd name="T41" fmla="*/ 290 h 301"/>
                <a:gd name="T42" fmla="*/ 66 w 870"/>
                <a:gd name="T43" fmla="*/ 275 h 301"/>
                <a:gd name="T44" fmla="*/ 44 w 870"/>
                <a:gd name="T45" fmla="*/ 257 h 301"/>
                <a:gd name="T46" fmla="*/ 26 w 870"/>
                <a:gd name="T47" fmla="*/ 234 h 301"/>
                <a:gd name="T48" fmla="*/ 12 w 870"/>
                <a:gd name="T49" fmla="*/ 209 h 301"/>
                <a:gd name="T50" fmla="*/ 4 w 870"/>
                <a:gd name="T51" fmla="*/ 181 h 301"/>
                <a:gd name="T52" fmla="*/ 0 w 870"/>
                <a:gd name="T53" fmla="*/ 151 h 301"/>
                <a:gd name="T54" fmla="*/ 4 w 870"/>
                <a:gd name="T55" fmla="*/ 120 h 301"/>
                <a:gd name="T56" fmla="*/ 12 w 870"/>
                <a:gd name="T57" fmla="*/ 92 h 301"/>
                <a:gd name="T58" fmla="*/ 26 w 870"/>
                <a:gd name="T59" fmla="*/ 67 h 301"/>
                <a:gd name="T60" fmla="*/ 44 w 870"/>
                <a:gd name="T61" fmla="*/ 44 h 301"/>
                <a:gd name="T62" fmla="*/ 66 w 870"/>
                <a:gd name="T63" fmla="*/ 26 h 301"/>
                <a:gd name="T64" fmla="*/ 93 w 870"/>
                <a:gd name="T65" fmla="*/ 12 h 301"/>
                <a:gd name="T66" fmla="*/ 121 w 870"/>
                <a:gd name="T67" fmla="*/ 4 h 301"/>
                <a:gd name="T68" fmla="*/ 151 w 870"/>
                <a:gd name="T6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0" h="301">
                  <a:moveTo>
                    <a:pt x="151" y="0"/>
                  </a:moveTo>
                  <a:lnTo>
                    <a:pt x="720" y="0"/>
                  </a:lnTo>
                  <a:lnTo>
                    <a:pt x="750" y="4"/>
                  </a:lnTo>
                  <a:lnTo>
                    <a:pt x="778" y="12"/>
                  </a:lnTo>
                  <a:lnTo>
                    <a:pt x="805" y="26"/>
                  </a:lnTo>
                  <a:lnTo>
                    <a:pt x="827" y="44"/>
                  </a:lnTo>
                  <a:lnTo>
                    <a:pt x="845" y="67"/>
                  </a:lnTo>
                  <a:lnTo>
                    <a:pt x="859" y="92"/>
                  </a:lnTo>
                  <a:lnTo>
                    <a:pt x="867" y="120"/>
                  </a:lnTo>
                  <a:lnTo>
                    <a:pt x="870" y="151"/>
                  </a:lnTo>
                  <a:lnTo>
                    <a:pt x="867" y="181"/>
                  </a:lnTo>
                  <a:lnTo>
                    <a:pt x="859" y="209"/>
                  </a:lnTo>
                  <a:lnTo>
                    <a:pt x="845" y="234"/>
                  </a:lnTo>
                  <a:lnTo>
                    <a:pt x="827" y="257"/>
                  </a:lnTo>
                  <a:lnTo>
                    <a:pt x="805" y="275"/>
                  </a:lnTo>
                  <a:lnTo>
                    <a:pt x="778" y="290"/>
                  </a:lnTo>
                  <a:lnTo>
                    <a:pt x="750" y="298"/>
                  </a:lnTo>
                  <a:lnTo>
                    <a:pt x="720" y="301"/>
                  </a:lnTo>
                  <a:lnTo>
                    <a:pt x="151" y="301"/>
                  </a:lnTo>
                  <a:lnTo>
                    <a:pt x="121" y="298"/>
                  </a:lnTo>
                  <a:lnTo>
                    <a:pt x="93" y="290"/>
                  </a:lnTo>
                  <a:lnTo>
                    <a:pt x="66" y="275"/>
                  </a:lnTo>
                  <a:lnTo>
                    <a:pt x="44" y="257"/>
                  </a:lnTo>
                  <a:lnTo>
                    <a:pt x="26" y="234"/>
                  </a:lnTo>
                  <a:lnTo>
                    <a:pt x="12" y="209"/>
                  </a:lnTo>
                  <a:lnTo>
                    <a:pt x="4" y="181"/>
                  </a:lnTo>
                  <a:lnTo>
                    <a:pt x="0" y="151"/>
                  </a:lnTo>
                  <a:lnTo>
                    <a:pt x="4" y="120"/>
                  </a:lnTo>
                  <a:lnTo>
                    <a:pt x="12" y="92"/>
                  </a:lnTo>
                  <a:lnTo>
                    <a:pt x="26" y="67"/>
                  </a:lnTo>
                  <a:lnTo>
                    <a:pt x="44" y="44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4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6"/>
            <p:cNvSpPr>
              <a:spLocks/>
            </p:cNvSpPr>
            <p:nvPr/>
          </p:nvSpPr>
          <p:spPr bwMode="auto">
            <a:xfrm>
              <a:off x="-425" y="2418"/>
              <a:ext cx="234" cy="301"/>
            </a:xfrm>
            <a:custGeom>
              <a:avLst/>
              <a:gdLst>
                <a:gd name="T0" fmla="*/ 152 w 2574"/>
                <a:gd name="T1" fmla="*/ 0 h 3310"/>
                <a:gd name="T2" fmla="*/ 2423 w 2574"/>
                <a:gd name="T3" fmla="*/ 0 h 3310"/>
                <a:gd name="T4" fmla="*/ 2453 w 2574"/>
                <a:gd name="T5" fmla="*/ 3 h 3310"/>
                <a:gd name="T6" fmla="*/ 2481 w 2574"/>
                <a:gd name="T7" fmla="*/ 12 h 3310"/>
                <a:gd name="T8" fmla="*/ 2507 w 2574"/>
                <a:gd name="T9" fmla="*/ 26 h 3310"/>
                <a:gd name="T10" fmla="*/ 2529 w 2574"/>
                <a:gd name="T11" fmla="*/ 44 h 3310"/>
                <a:gd name="T12" fmla="*/ 2548 w 2574"/>
                <a:gd name="T13" fmla="*/ 67 h 3310"/>
                <a:gd name="T14" fmla="*/ 2562 w 2574"/>
                <a:gd name="T15" fmla="*/ 92 h 3310"/>
                <a:gd name="T16" fmla="*/ 2571 w 2574"/>
                <a:gd name="T17" fmla="*/ 120 h 3310"/>
                <a:gd name="T18" fmla="*/ 2574 w 2574"/>
                <a:gd name="T19" fmla="*/ 150 h 3310"/>
                <a:gd name="T20" fmla="*/ 2574 w 2574"/>
                <a:gd name="T21" fmla="*/ 374 h 3310"/>
                <a:gd name="T22" fmla="*/ 2272 w 2574"/>
                <a:gd name="T23" fmla="*/ 896 h 3310"/>
                <a:gd name="T24" fmla="*/ 2272 w 2574"/>
                <a:gd name="T25" fmla="*/ 301 h 3310"/>
                <a:gd name="T26" fmla="*/ 304 w 2574"/>
                <a:gd name="T27" fmla="*/ 301 h 3310"/>
                <a:gd name="T28" fmla="*/ 304 w 2574"/>
                <a:gd name="T29" fmla="*/ 3008 h 3310"/>
                <a:gd name="T30" fmla="*/ 2272 w 2574"/>
                <a:gd name="T31" fmla="*/ 3008 h 3310"/>
                <a:gd name="T32" fmla="*/ 2272 w 2574"/>
                <a:gd name="T33" fmla="*/ 2634 h 3310"/>
                <a:gd name="T34" fmla="*/ 2430 w 2574"/>
                <a:gd name="T35" fmla="*/ 2530 h 3310"/>
                <a:gd name="T36" fmla="*/ 2458 w 2574"/>
                <a:gd name="T37" fmla="*/ 2508 h 3310"/>
                <a:gd name="T38" fmla="*/ 2482 w 2574"/>
                <a:gd name="T39" fmla="*/ 2483 h 3310"/>
                <a:gd name="T40" fmla="*/ 2502 w 2574"/>
                <a:gd name="T41" fmla="*/ 2454 h 3310"/>
                <a:gd name="T42" fmla="*/ 2574 w 2574"/>
                <a:gd name="T43" fmla="*/ 2330 h 3310"/>
                <a:gd name="T44" fmla="*/ 2574 w 2574"/>
                <a:gd name="T45" fmla="*/ 3159 h 3310"/>
                <a:gd name="T46" fmla="*/ 2571 w 2574"/>
                <a:gd name="T47" fmla="*/ 3189 h 3310"/>
                <a:gd name="T48" fmla="*/ 2562 w 2574"/>
                <a:gd name="T49" fmla="*/ 3217 h 3310"/>
                <a:gd name="T50" fmla="*/ 2548 w 2574"/>
                <a:gd name="T51" fmla="*/ 3243 h 3310"/>
                <a:gd name="T52" fmla="*/ 2529 w 2574"/>
                <a:gd name="T53" fmla="*/ 3265 h 3310"/>
                <a:gd name="T54" fmla="*/ 2507 w 2574"/>
                <a:gd name="T55" fmla="*/ 3284 h 3310"/>
                <a:gd name="T56" fmla="*/ 2481 w 2574"/>
                <a:gd name="T57" fmla="*/ 3297 h 3310"/>
                <a:gd name="T58" fmla="*/ 2453 w 2574"/>
                <a:gd name="T59" fmla="*/ 3307 h 3310"/>
                <a:gd name="T60" fmla="*/ 2423 w 2574"/>
                <a:gd name="T61" fmla="*/ 3310 h 3310"/>
                <a:gd name="T62" fmla="*/ 152 w 2574"/>
                <a:gd name="T63" fmla="*/ 3310 h 3310"/>
                <a:gd name="T64" fmla="*/ 121 w 2574"/>
                <a:gd name="T65" fmla="*/ 3307 h 3310"/>
                <a:gd name="T66" fmla="*/ 93 w 2574"/>
                <a:gd name="T67" fmla="*/ 3297 h 3310"/>
                <a:gd name="T68" fmla="*/ 67 w 2574"/>
                <a:gd name="T69" fmla="*/ 3284 h 3310"/>
                <a:gd name="T70" fmla="*/ 45 w 2574"/>
                <a:gd name="T71" fmla="*/ 3265 h 3310"/>
                <a:gd name="T72" fmla="*/ 26 w 2574"/>
                <a:gd name="T73" fmla="*/ 3243 h 3310"/>
                <a:gd name="T74" fmla="*/ 13 w 2574"/>
                <a:gd name="T75" fmla="*/ 3217 h 3310"/>
                <a:gd name="T76" fmla="*/ 3 w 2574"/>
                <a:gd name="T77" fmla="*/ 3189 h 3310"/>
                <a:gd name="T78" fmla="*/ 0 w 2574"/>
                <a:gd name="T79" fmla="*/ 3159 h 3310"/>
                <a:gd name="T80" fmla="*/ 0 w 2574"/>
                <a:gd name="T81" fmla="*/ 150 h 3310"/>
                <a:gd name="T82" fmla="*/ 3 w 2574"/>
                <a:gd name="T83" fmla="*/ 120 h 3310"/>
                <a:gd name="T84" fmla="*/ 13 w 2574"/>
                <a:gd name="T85" fmla="*/ 92 h 3310"/>
                <a:gd name="T86" fmla="*/ 26 w 2574"/>
                <a:gd name="T87" fmla="*/ 67 h 3310"/>
                <a:gd name="T88" fmla="*/ 45 w 2574"/>
                <a:gd name="T89" fmla="*/ 44 h 3310"/>
                <a:gd name="T90" fmla="*/ 67 w 2574"/>
                <a:gd name="T91" fmla="*/ 26 h 3310"/>
                <a:gd name="T92" fmla="*/ 93 w 2574"/>
                <a:gd name="T93" fmla="*/ 12 h 3310"/>
                <a:gd name="T94" fmla="*/ 121 w 2574"/>
                <a:gd name="T95" fmla="*/ 3 h 3310"/>
                <a:gd name="T96" fmla="*/ 152 w 2574"/>
                <a:gd name="T97" fmla="*/ 0 h 3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74" h="3310">
                  <a:moveTo>
                    <a:pt x="152" y="0"/>
                  </a:moveTo>
                  <a:lnTo>
                    <a:pt x="2423" y="0"/>
                  </a:lnTo>
                  <a:lnTo>
                    <a:pt x="2453" y="3"/>
                  </a:lnTo>
                  <a:lnTo>
                    <a:pt x="2481" y="12"/>
                  </a:lnTo>
                  <a:lnTo>
                    <a:pt x="2507" y="26"/>
                  </a:lnTo>
                  <a:lnTo>
                    <a:pt x="2529" y="44"/>
                  </a:lnTo>
                  <a:lnTo>
                    <a:pt x="2548" y="67"/>
                  </a:lnTo>
                  <a:lnTo>
                    <a:pt x="2562" y="92"/>
                  </a:lnTo>
                  <a:lnTo>
                    <a:pt x="2571" y="120"/>
                  </a:lnTo>
                  <a:lnTo>
                    <a:pt x="2574" y="150"/>
                  </a:lnTo>
                  <a:lnTo>
                    <a:pt x="2574" y="374"/>
                  </a:lnTo>
                  <a:lnTo>
                    <a:pt x="2272" y="896"/>
                  </a:lnTo>
                  <a:lnTo>
                    <a:pt x="2272" y="301"/>
                  </a:lnTo>
                  <a:lnTo>
                    <a:pt x="304" y="301"/>
                  </a:lnTo>
                  <a:lnTo>
                    <a:pt x="304" y="3008"/>
                  </a:lnTo>
                  <a:lnTo>
                    <a:pt x="2272" y="3008"/>
                  </a:lnTo>
                  <a:lnTo>
                    <a:pt x="2272" y="2634"/>
                  </a:lnTo>
                  <a:lnTo>
                    <a:pt x="2430" y="2530"/>
                  </a:lnTo>
                  <a:lnTo>
                    <a:pt x="2458" y="2508"/>
                  </a:lnTo>
                  <a:lnTo>
                    <a:pt x="2482" y="2483"/>
                  </a:lnTo>
                  <a:lnTo>
                    <a:pt x="2502" y="2454"/>
                  </a:lnTo>
                  <a:lnTo>
                    <a:pt x="2574" y="2330"/>
                  </a:lnTo>
                  <a:lnTo>
                    <a:pt x="2574" y="3159"/>
                  </a:lnTo>
                  <a:lnTo>
                    <a:pt x="2571" y="3189"/>
                  </a:lnTo>
                  <a:lnTo>
                    <a:pt x="2562" y="3217"/>
                  </a:lnTo>
                  <a:lnTo>
                    <a:pt x="2548" y="3243"/>
                  </a:lnTo>
                  <a:lnTo>
                    <a:pt x="2529" y="3265"/>
                  </a:lnTo>
                  <a:lnTo>
                    <a:pt x="2507" y="3284"/>
                  </a:lnTo>
                  <a:lnTo>
                    <a:pt x="2481" y="3297"/>
                  </a:lnTo>
                  <a:lnTo>
                    <a:pt x="2453" y="3307"/>
                  </a:lnTo>
                  <a:lnTo>
                    <a:pt x="2423" y="3310"/>
                  </a:lnTo>
                  <a:lnTo>
                    <a:pt x="152" y="3310"/>
                  </a:lnTo>
                  <a:lnTo>
                    <a:pt x="121" y="3307"/>
                  </a:lnTo>
                  <a:lnTo>
                    <a:pt x="93" y="3297"/>
                  </a:lnTo>
                  <a:lnTo>
                    <a:pt x="67" y="3284"/>
                  </a:lnTo>
                  <a:lnTo>
                    <a:pt x="45" y="3265"/>
                  </a:lnTo>
                  <a:lnTo>
                    <a:pt x="26" y="3243"/>
                  </a:lnTo>
                  <a:lnTo>
                    <a:pt x="13" y="3217"/>
                  </a:lnTo>
                  <a:lnTo>
                    <a:pt x="3" y="3189"/>
                  </a:lnTo>
                  <a:lnTo>
                    <a:pt x="0" y="3159"/>
                  </a:lnTo>
                  <a:lnTo>
                    <a:pt x="0" y="150"/>
                  </a:lnTo>
                  <a:lnTo>
                    <a:pt x="3" y="120"/>
                  </a:lnTo>
                  <a:lnTo>
                    <a:pt x="13" y="92"/>
                  </a:lnTo>
                  <a:lnTo>
                    <a:pt x="26" y="67"/>
                  </a:lnTo>
                  <a:lnTo>
                    <a:pt x="45" y="44"/>
                  </a:lnTo>
                  <a:lnTo>
                    <a:pt x="67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7"/>
            <p:cNvSpPr>
              <a:spLocks noEditPoints="1"/>
            </p:cNvSpPr>
            <p:nvPr/>
          </p:nvSpPr>
          <p:spPr bwMode="auto">
            <a:xfrm>
              <a:off x="-267" y="2452"/>
              <a:ext cx="144" cy="215"/>
            </a:xfrm>
            <a:custGeom>
              <a:avLst/>
              <a:gdLst>
                <a:gd name="T0" fmla="*/ 131 w 1591"/>
                <a:gd name="T1" fmla="*/ 1996 h 2370"/>
                <a:gd name="T2" fmla="*/ 223 w 1591"/>
                <a:gd name="T3" fmla="*/ 2040 h 2370"/>
                <a:gd name="T4" fmla="*/ 308 w 1591"/>
                <a:gd name="T5" fmla="*/ 2097 h 2370"/>
                <a:gd name="T6" fmla="*/ 439 w 1591"/>
                <a:gd name="T7" fmla="*/ 1980 h 2370"/>
                <a:gd name="T8" fmla="*/ 389 w 1591"/>
                <a:gd name="T9" fmla="*/ 1934 h 2370"/>
                <a:gd name="T10" fmla="*/ 314 w 1591"/>
                <a:gd name="T11" fmla="*/ 1883 h 2370"/>
                <a:gd name="T12" fmla="*/ 245 w 1591"/>
                <a:gd name="T13" fmla="*/ 1849 h 2370"/>
                <a:gd name="T14" fmla="*/ 187 w 1591"/>
                <a:gd name="T15" fmla="*/ 1829 h 2370"/>
                <a:gd name="T16" fmla="*/ 141 w 1591"/>
                <a:gd name="T17" fmla="*/ 1820 h 2370"/>
                <a:gd name="T18" fmla="*/ 1118 w 1591"/>
                <a:gd name="T19" fmla="*/ 0 h 2370"/>
                <a:gd name="T20" fmla="*/ 1173 w 1591"/>
                <a:gd name="T21" fmla="*/ 7 h 2370"/>
                <a:gd name="T22" fmla="*/ 1240 w 1591"/>
                <a:gd name="T23" fmla="*/ 25 h 2370"/>
                <a:gd name="T24" fmla="*/ 1319 w 1591"/>
                <a:gd name="T25" fmla="*/ 57 h 2370"/>
                <a:gd name="T26" fmla="*/ 1407 w 1591"/>
                <a:gd name="T27" fmla="*/ 108 h 2370"/>
                <a:gd name="T28" fmla="*/ 1478 w 1591"/>
                <a:gd name="T29" fmla="*/ 163 h 2370"/>
                <a:gd name="T30" fmla="*/ 1528 w 1591"/>
                <a:gd name="T31" fmla="*/ 215 h 2370"/>
                <a:gd name="T32" fmla="*/ 1561 w 1591"/>
                <a:gd name="T33" fmla="*/ 261 h 2370"/>
                <a:gd name="T34" fmla="*/ 1580 w 1591"/>
                <a:gd name="T35" fmla="*/ 297 h 2370"/>
                <a:gd name="T36" fmla="*/ 1588 w 1591"/>
                <a:gd name="T37" fmla="*/ 320 h 2370"/>
                <a:gd name="T38" fmla="*/ 1591 w 1591"/>
                <a:gd name="T39" fmla="*/ 344 h 2370"/>
                <a:gd name="T40" fmla="*/ 1581 w 1591"/>
                <a:gd name="T41" fmla="*/ 379 h 2370"/>
                <a:gd name="T42" fmla="*/ 625 w 1591"/>
                <a:gd name="T43" fmla="*/ 2021 h 2370"/>
                <a:gd name="T44" fmla="*/ 116 w 1591"/>
                <a:gd name="T45" fmla="*/ 2357 h 2370"/>
                <a:gd name="T46" fmla="*/ 77 w 1591"/>
                <a:gd name="T47" fmla="*/ 2370 h 2370"/>
                <a:gd name="T48" fmla="*/ 36 w 1591"/>
                <a:gd name="T49" fmla="*/ 2359 h 2370"/>
                <a:gd name="T50" fmla="*/ 12 w 1591"/>
                <a:gd name="T51" fmla="*/ 2338 h 2370"/>
                <a:gd name="T52" fmla="*/ 0 w 1591"/>
                <a:gd name="T53" fmla="*/ 2306 h 2370"/>
                <a:gd name="T54" fmla="*/ 34 w 1591"/>
                <a:gd name="T55" fmla="*/ 1702 h 2370"/>
                <a:gd name="T56" fmla="*/ 45 w 1591"/>
                <a:gd name="T57" fmla="*/ 1670 h 2370"/>
                <a:gd name="T58" fmla="*/ 1002 w 1591"/>
                <a:gd name="T59" fmla="*/ 27 h 2370"/>
                <a:gd name="T60" fmla="*/ 1034 w 1591"/>
                <a:gd name="T61" fmla="*/ 7 h 2370"/>
                <a:gd name="T62" fmla="*/ 1048 w 1591"/>
                <a:gd name="T63" fmla="*/ 4 h 2370"/>
                <a:gd name="T64" fmla="*/ 1076 w 1591"/>
                <a:gd name="T65" fmla="*/ 0 h 2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91" h="2370">
                  <a:moveTo>
                    <a:pt x="141" y="1820"/>
                  </a:moveTo>
                  <a:lnTo>
                    <a:pt x="131" y="1996"/>
                  </a:lnTo>
                  <a:lnTo>
                    <a:pt x="177" y="2016"/>
                  </a:lnTo>
                  <a:lnTo>
                    <a:pt x="223" y="2040"/>
                  </a:lnTo>
                  <a:lnTo>
                    <a:pt x="267" y="2067"/>
                  </a:lnTo>
                  <a:lnTo>
                    <a:pt x="308" y="2097"/>
                  </a:lnTo>
                  <a:lnTo>
                    <a:pt x="455" y="2000"/>
                  </a:lnTo>
                  <a:lnTo>
                    <a:pt x="439" y="1980"/>
                  </a:lnTo>
                  <a:lnTo>
                    <a:pt x="417" y="1958"/>
                  </a:lnTo>
                  <a:lnTo>
                    <a:pt x="389" y="1934"/>
                  </a:lnTo>
                  <a:lnTo>
                    <a:pt x="355" y="1909"/>
                  </a:lnTo>
                  <a:lnTo>
                    <a:pt x="314" y="1883"/>
                  </a:lnTo>
                  <a:lnTo>
                    <a:pt x="278" y="1864"/>
                  </a:lnTo>
                  <a:lnTo>
                    <a:pt x="245" y="1849"/>
                  </a:lnTo>
                  <a:lnTo>
                    <a:pt x="214" y="1837"/>
                  </a:lnTo>
                  <a:lnTo>
                    <a:pt x="187" y="1829"/>
                  </a:lnTo>
                  <a:lnTo>
                    <a:pt x="163" y="1824"/>
                  </a:lnTo>
                  <a:lnTo>
                    <a:pt x="141" y="1820"/>
                  </a:lnTo>
                  <a:close/>
                  <a:moveTo>
                    <a:pt x="1095" y="0"/>
                  </a:moveTo>
                  <a:lnTo>
                    <a:pt x="1118" y="0"/>
                  </a:lnTo>
                  <a:lnTo>
                    <a:pt x="1144" y="2"/>
                  </a:lnTo>
                  <a:lnTo>
                    <a:pt x="1173" y="7"/>
                  </a:lnTo>
                  <a:lnTo>
                    <a:pt x="1205" y="14"/>
                  </a:lnTo>
                  <a:lnTo>
                    <a:pt x="1240" y="25"/>
                  </a:lnTo>
                  <a:lnTo>
                    <a:pt x="1278" y="39"/>
                  </a:lnTo>
                  <a:lnTo>
                    <a:pt x="1319" y="57"/>
                  </a:lnTo>
                  <a:lnTo>
                    <a:pt x="1362" y="81"/>
                  </a:lnTo>
                  <a:lnTo>
                    <a:pt x="1407" y="108"/>
                  </a:lnTo>
                  <a:lnTo>
                    <a:pt x="1446" y="136"/>
                  </a:lnTo>
                  <a:lnTo>
                    <a:pt x="1478" y="163"/>
                  </a:lnTo>
                  <a:lnTo>
                    <a:pt x="1505" y="190"/>
                  </a:lnTo>
                  <a:lnTo>
                    <a:pt x="1528" y="215"/>
                  </a:lnTo>
                  <a:lnTo>
                    <a:pt x="1546" y="239"/>
                  </a:lnTo>
                  <a:lnTo>
                    <a:pt x="1561" y="261"/>
                  </a:lnTo>
                  <a:lnTo>
                    <a:pt x="1571" y="280"/>
                  </a:lnTo>
                  <a:lnTo>
                    <a:pt x="1580" y="297"/>
                  </a:lnTo>
                  <a:lnTo>
                    <a:pt x="1585" y="311"/>
                  </a:lnTo>
                  <a:lnTo>
                    <a:pt x="1588" y="320"/>
                  </a:lnTo>
                  <a:lnTo>
                    <a:pt x="1589" y="325"/>
                  </a:lnTo>
                  <a:lnTo>
                    <a:pt x="1591" y="344"/>
                  </a:lnTo>
                  <a:lnTo>
                    <a:pt x="1588" y="363"/>
                  </a:lnTo>
                  <a:lnTo>
                    <a:pt x="1581" y="379"/>
                  </a:lnTo>
                  <a:lnTo>
                    <a:pt x="634" y="2008"/>
                  </a:lnTo>
                  <a:lnTo>
                    <a:pt x="625" y="2021"/>
                  </a:lnTo>
                  <a:lnTo>
                    <a:pt x="611" y="2033"/>
                  </a:lnTo>
                  <a:lnTo>
                    <a:pt x="116" y="2357"/>
                  </a:lnTo>
                  <a:lnTo>
                    <a:pt x="97" y="2367"/>
                  </a:lnTo>
                  <a:lnTo>
                    <a:pt x="77" y="2370"/>
                  </a:lnTo>
                  <a:lnTo>
                    <a:pt x="56" y="2368"/>
                  </a:lnTo>
                  <a:lnTo>
                    <a:pt x="36" y="2359"/>
                  </a:lnTo>
                  <a:lnTo>
                    <a:pt x="23" y="2350"/>
                  </a:lnTo>
                  <a:lnTo>
                    <a:pt x="12" y="2338"/>
                  </a:lnTo>
                  <a:lnTo>
                    <a:pt x="5" y="2323"/>
                  </a:lnTo>
                  <a:lnTo>
                    <a:pt x="0" y="2306"/>
                  </a:lnTo>
                  <a:lnTo>
                    <a:pt x="0" y="2290"/>
                  </a:lnTo>
                  <a:lnTo>
                    <a:pt x="34" y="1702"/>
                  </a:lnTo>
                  <a:lnTo>
                    <a:pt x="38" y="1685"/>
                  </a:lnTo>
                  <a:lnTo>
                    <a:pt x="45" y="1670"/>
                  </a:lnTo>
                  <a:lnTo>
                    <a:pt x="991" y="41"/>
                  </a:lnTo>
                  <a:lnTo>
                    <a:pt x="1002" y="27"/>
                  </a:lnTo>
                  <a:lnTo>
                    <a:pt x="1016" y="15"/>
                  </a:lnTo>
                  <a:lnTo>
                    <a:pt x="1034" y="7"/>
                  </a:lnTo>
                  <a:lnTo>
                    <a:pt x="1038" y="6"/>
                  </a:lnTo>
                  <a:lnTo>
                    <a:pt x="1048" y="4"/>
                  </a:lnTo>
                  <a:lnTo>
                    <a:pt x="1060" y="2"/>
                  </a:lnTo>
                  <a:lnTo>
                    <a:pt x="1076" y="0"/>
                  </a:lnTo>
                  <a:lnTo>
                    <a:pt x="10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"/>
            <p:cNvSpPr>
              <a:spLocks/>
            </p:cNvSpPr>
            <p:nvPr/>
          </p:nvSpPr>
          <p:spPr bwMode="auto">
            <a:xfrm>
              <a:off x="-381" y="2625"/>
              <a:ext cx="105" cy="53"/>
            </a:xfrm>
            <a:custGeom>
              <a:avLst/>
              <a:gdLst>
                <a:gd name="T0" fmla="*/ 557 w 1155"/>
                <a:gd name="T1" fmla="*/ 5 h 591"/>
                <a:gd name="T2" fmla="*/ 583 w 1155"/>
                <a:gd name="T3" fmla="*/ 28 h 591"/>
                <a:gd name="T4" fmla="*/ 591 w 1155"/>
                <a:gd name="T5" fmla="*/ 111 h 591"/>
                <a:gd name="T6" fmla="*/ 560 w 1155"/>
                <a:gd name="T7" fmla="*/ 199 h 591"/>
                <a:gd name="T8" fmla="*/ 569 w 1155"/>
                <a:gd name="T9" fmla="*/ 242 h 591"/>
                <a:gd name="T10" fmla="*/ 587 w 1155"/>
                <a:gd name="T11" fmla="*/ 270 h 591"/>
                <a:gd name="T12" fmla="*/ 637 w 1155"/>
                <a:gd name="T13" fmla="*/ 278 h 591"/>
                <a:gd name="T14" fmla="*/ 681 w 1155"/>
                <a:gd name="T15" fmla="*/ 323 h 591"/>
                <a:gd name="T16" fmla="*/ 693 w 1155"/>
                <a:gd name="T17" fmla="*/ 357 h 591"/>
                <a:gd name="T18" fmla="*/ 847 w 1155"/>
                <a:gd name="T19" fmla="*/ 351 h 591"/>
                <a:gd name="T20" fmla="*/ 996 w 1155"/>
                <a:gd name="T21" fmla="*/ 366 h 591"/>
                <a:gd name="T22" fmla="*/ 1118 w 1155"/>
                <a:gd name="T23" fmla="*/ 373 h 591"/>
                <a:gd name="T24" fmla="*/ 1149 w 1155"/>
                <a:gd name="T25" fmla="*/ 400 h 591"/>
                <a:gd name="T26" fmla="*/ 1154 w 1155"/>
                <a:gd name="T27" fmla="*/ 441 h 591"/>
                <a:gd name="T28" fmla="*/ 1131 w 1155"/>
                <a:gd name="T29" fmla="*/ 475 h 591"/>
                <a:gd name="T30" fmla="*/ 1066 w 1155"/>
                <a:gd name="T31" fmla="*/ 482 h 591"/>
                <a:gd name="T32" fmla="*/ 957 w 1155"/>
                <a:gd name="T33" fmla="*/ 467 h 591"/>
                <a:gd name="T34" fmla="*/ 843 w 1155"/>
                <a:gd name="T35" fmla="*/ 452 h 591"/>
                <a:gd name="T36" fmla="*/ 738 w 1155"/>
                <a:gd name="T37" fmla="*/ 461 h 591"/>
                <a:gd name="T38" fmla="*/ 679 w 1155"/>
                <a:gd name="T39" fmla="*/ 486 h 591"/>
                <a:gd name="T40" fmla="*/ 636 w 1155"/>
                <a:gd name="T41" fmla="*/ 492 h 591"/>
                <a:gd name="T42" fmla="*/ 603 w 1155"/>
                <a:gd name="T43" fmla="*/ 477 h 591"/>
                <a:gd name="T44" fmla="*/ 576 w 1155"/>
                <a:gd name="T45" fmla="*/ 454 h 591"/>
                <a:gd name="T46" fmla="*/ 571 w 1155"/>
                <a:gd name="T47" fmla="*/ 407 h 591"/>
                <a:gd name="T48" fmla="*/ 537 w 1155"/>
                <a:gd name="T49" fmla="*/ 457 h 591"/>
                <a:gd name="T50" fmla="*/ 495 w 1155"/>
                <a:gd name="T51" fmla="*/ 471 h 591"/>
                <a:gd name="T52" fmla="*/ 455 w 1155"/>
                <a:gd name="T53" fmla="*/ 456 h 591"/>
                <a:gd name="T54" fmla="*/ 439 w 1155"/>
                <a:gd name="T55" fmla="*/ 419 h 591"/>
                <a:gd name="T56" fmla="*/ 450 w 1155"/>
                <a:gd name="T57" fmla="*/ 390 h 591"/>
                <a:gd name="T58" fmla="*/ 458 w 1155"/>
                <a:gd name="T59" fmla="*/ 369 h 591"/>
                <a:gd name="T60" fmla="*/ 422 w 1155"/>
                <a:gd name="T61" fmla="*/ 404 h 591"/>
                <a:gd name="T62" fmla="*/ 379 w 1155"/>
                <a:gd name="T63" fmla="*/ 428 h 591"/>
                <a:gd name="T64" fmla="*/ 335 w 1155"/>
                <a:gd name="T65" fmla="*/ 417 h 591"/>
                <a:gd name="T66" fmla="*/ 314 w 1155"/>
                <a:gd name="T67" fmla="*/ 379 h 591"/>
                <a:gd name="T68" fmla="*/ 364 w 1155"/>
                <a:gd name="T69" fmla="*/ 288 h 591"/>
                <a:gd name="T70" fmla="*/ 252 w 1155"/>
                <a:gd name="T71" fmla="*/ 393 h 591"/>
                <a:gd name="T72" fmla="*/ 96 w 1155"/>
                <a:gd name="T73" fmla="*/ 581 h 591"/>
                <a:gd name="T74" fmla="*/ 49 w 1155"/>
                <a:gd name="T75" fmla="*/ 590 h 591"/>
                <a:gd name="T76" fmla="*/ 9 w 1155"/>
                <a:gd name="T77" fmla="*/ 569 h 591"/>
                <a:gd name="T78" fmla="*/ 2 w 1155"/>
                <a:gd name="T79" fmla="*/ 527 h 591"/>
                <a:gd name="T80" fmla="*/ 138 w 1155"/>
                <a:gd name="T81" fmla="*/ 351 h 591"/>
                <a:gd name="T82" fmla="*/ 344 w 1155"/>
                <a:gd name="T83" fmla="*/ 123 h 591"/>
                <a:gd name="T84" fmla="*/ 398 w 1155"/>
                <a:gd name="T85" fmla="*/ 70 h 591"/>
                <a:gd name="T86" fmla="*/ 462 w 1155"/>
                <a:gd name="T87" fmla="*/ 20 h 591"/>
                <a:gd name="T88" fmla="*/ 534 w 1155"/>
                <a:gd name="T89" fmla="*/ 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55" h="591">
                  <a:moveTo>
                    <a:pt x="534" y="0"/>
                  </a:moveTo>
                  <a:lnTo>
                    <a:pt x="545" y="2"/>
                  </a:lnTo>
                  <a:lnTo>
                    <a:pt x="557" y="5"/>
                  </a:lnTo>
                  <a:lnTo>
                    <a:pt x="567" y="10"/>
                  </a:lnTo>
                  <a:lnTo>
                    <a:pt x="576" y="18"/>
                  </a:lnTo>
                  <a:lnTo>
                    <a:pt x="583" y="28"/>
                  </a:lnTo>
                  <a:lnTo>
                    <a:pt x="591" y="54"/>
                  </a:lnTo>
                  <a:lnTo>
                    <a:pt x="593" y="82"/>
                  </a:lnTo>
                  <a:lnTo>
                    <a:pt x="591" y="111"/>
                  </a:lnTo>
                  <a:lnTo>
                    <a:pt x="584" y="140"/>
                  </a:lnTo>
                  <a:lnTo>
                    <a:pt x="573" y="170"/>
                  </a:lnTo>
                  <a:lnTo>
                    <a:pt x="560" y="199"/>
                  </a:lnTo>
                  <a:lnTo>
                    <a:pt x="543" y="230"/>
                  </a:lnTo>
                  <a:lnTo>
                    <a:pt x="557" y="235"/>
                  </a:lnTo>
                  <a:lnTo>
                    <a:pt x="569" y="242"/>
                  </a:lnTo>
                  <a:lnTo>
                    <a:pt x="579" y="254"/>
                  </a:lnTo>
                  <a:lnTo>
                    <a:pt x="583" y="263"/>
                  </a:lnTo>
                  <a:lnTo>
                    <a:pt x="587" y="270"/>
                  </a:lnTo>
                  <a:lnTo>
                    <a:pt x="604" y="269"/>
                  </a:lnTo>
                  <a:lnTo>
                    <a:pt x="620" y="272"/>
                  </a:lnTo>
                  <a:lnTo>
                    <a:pt x="637" y="278"/>
                  </a:lnTo>
                  <a:lnTo>
                    <a:pt x="653" y="289"/>
                  </a:lnTo>
                  <a:lnTo>
                    <a:pt x="668" y="303"/>
                  </a:lnTo>
                  <a:lnTo>
                    <a:pt x="681" y="323"/>
                  </a:lnTo>
                  <a:lnTo>
                    <a:pt x="689" y="338"/>
                  </a:lnTo>
                  <a:lnTo>
                    <a:pt x="692" y="349"/>
                  </a:lnTo>
                  <a:lnTo>
                    <a:pt x="693" y="357"/>
                  </a:lnTo>
                  <a:lnTo>
                    <a:pt x="746" y="351"/>
                  </a:lnTo>
                  <a:lnTo>
                    <a:pt x="797" y="350"/>
                  </a:lnTo>
                  <a:lnTo>
                    <a:pt x="847" y="351"/>
                  </a:lnTo>
                  <a:lnTo>
                    <a:pt x="897" y="355"/>
                  </a:lnTo>
                  <a:lnTo>
                    <a:pt x="946" y="361"/>
                  </a:lnTo>
                  <a:lnTo>
                    <a:pt x="996" y="366"/>
                  </a:lnTo>
                  <a:lnTo>
                    <a:pt x="1048" y="369"/>
                  </a:lnTo>
                  <a:lnTo>
                    <a:pt x="1101" y="371"/>
                  </a:lnTo>
                  <a:lnTo>
                    <a:pt x="1118" y="373"/>
                  </a:lnTo>
                  <a:lnTo>
                    <a:pt x="1131" y="379"/>
                  </a:lnTo>
                  <a:lnTo>
                    <a:pt x="1142" y="389"/>
                  </a:lnTo>
                  <a:lnTo>
                    <a:pt x="1149" y="400"/>
                  </a:lnTo>
                  <a:lnTo>
                    <a:pt x="1154" y="413"/>
                  </a:lnTo>
                  <a:lnTo>
                    <a:pt x="1155" y="427"/>
                  </a:lnTo>
                  <a:lnTo>
                    <a:pt x="1154" y="441"/>
                  </a:lnTo>
                  <a:lnTo>
                    <a:pt x="1149" y="454"/>
                  </a:lnTo>
                  <a:lnTo>
                    <a:pt x="1142" y="466"/>
                  </a:lnTo>
                  <a:lnTo>
                    <a:pt x="1131" y="475"/>
                  </a:lnTo>
                  <a:lnTo>
                    <a:pt x="1118" y="481"/>
                  </a:lnTo>
                  <a:lnTo>
                    <a:pt x="1101" y="483"/>
                  </a:lnTo>
                  <a:lnTo>
                    <a:pt x="1066" y="482"/>
                  </a:lnTo>
                  <a:lnTo>
                    <a:pt x="1031" y="478"/>
                  </a:lnTo>
                  <a:lnTo>
                    <a:pt x="993" y="473"/>
                  </a:lnTo>
                  <a:lnTo>
                    <a:pt x="957" y="467"/>
                  </a:lnTo>
                  <a:lnTo>
                    <a:pt x="919" y="460"/>
                  </a:lnTo>
                  <a:lnTo>
                    <a:pt x="881" y="455"/>
                  </a:lnTo>
                  <a:lnTo>
                    <a:pt x="843" y="452"/>
                  </a:lnTo>
                  <a:lnTo>
                    <a:pt x="807" y="451"/>
                  </a:lnTo>
                  <a:lnTo>
                    <a:pt x="771" y="454"/>
                  </a:lnTo>
                  <a:lnTo>
                    <a:pt x="738" y="461"/>
                  </a:lnTo>
                  <a:lnTo>
                    <a:pt x="705" y="474"/>
                  </a:lnTo>
                  <a:lnTo>
                    <a:pt x="693" y="480"/>
                  </a:lnTo>
                  <a:lnTo>
                    <a:pt x="679" y="486"/>
                  </a:lnTo>
                  <a:lnTo>
                    <a:pt x="664" y="492"/>
                  </a:lnTo>
                  <a:lnTo>
                    <a:pt x="651" y="494"/>
                  </a:lnTo>
                  <a:lnTo>
                    <a:pt x="636" y="492"/>
                  </a:lnTo>
                  <a:lnTo>
                    <a:pt x="626" y="487"/>
                  </a:lnTo>
                  <a:lnTo>
                    <a:pt x="614" y="482"/>
                  </a:lnTo>
                  <a:lnTo>
                    <a:pt x="603" y="477"/>
                  </a:lnTo>
                  <a:lnTo>
                    <a:pt x="592" y="471"/>
                  </a:lnTo>
                  <a:lnTo>
                    <a:pt x="584" y="464"/>
                  </a:lnTo>
                  <a:lnTo>
                    <a:pt x="576" y="454"/>
                  </a:lnTo>
                  <a:lnTo>
                    <a:pt x="572" y="442"/>
                  </a:lnTo>
                  <a:lnTo>
                    <a:pt x="571" y="423"/>
                  </a:lnTo>
                  <a:lnTo>
                    <a:pt x="571" y="407"/>
                  </a:lnTo>
                  <a:lnTo>
                    <a:pt x="560" y="427"/>
                  </a:lnTo>
                  <a:lnTo>
                    <a:pt x="547" y="446"/>
                  </a:lnTo>
                  <a:lnTo>
                    <a:pt x="537" y="457"/>
                  </a:lnTo>
                  <a:lnTo>
                    <a:pt x="524" y="466"/>
                  </a:lnTo>
                  <a:lnTo>
                    <a:pt x="509" y="470"/>
                  </a:lnTo>
                  <a:lnTo>
                    <a:pt x="495" y="471"/>
                  </a:lnTo>
                  <a:lnTo>
                    <a:pt x="480" y="469"/>
                  </a:lnTo>
                  <a:lnTo>
                    <a:pt x="467" y="464"/>
                  </a:lnTo>
                  <a:lnTo>
                    <a:pt x="455" y="456"/>
                  </a:lnTo>
                  <a:lnTo>
                    <a:pt x="446" y="446"/>
                  </a:lnTo>
                  <a:lnTo>
                    <a:pt x="440" y="433"/>
                  </a:lnTo>
                  <a:lnTo>
                    <a:pt x="439" y="419"/>
                  </a:lnTo>
                  <a:lnTo>
                    <a:pt x="444" y="402"/>
                  </a:lnTo>
                  <a:lnTo>
                    <a:pt x="447" y="396"/>
                  </a:lnTo>
                  <a:lnTo>
                    <a:pt x="450" y="390"/>
                  </a:lnTo>
                  <a:lnTo>
                    <a:pt x="450" y="390"/>
                  </a:lnTo>
                  <a:lnTo>
                    <a:pt x="449" y="390"/>
                  </a:lnTo>
                  <a:lnTo>
                    <a:pt x="458" y="369"/>
                  </a:lnTo>
                  <a:lnTo>
                    <a:pt x="445" y="378"/>
                  </a:lnTo>
                  <a:lnTo>
                    <a:pt x="432" y="390"/>
                  </a:lnTo>
                  <a:lnTo>
                    <a:pt x="422" y="404"/>
                  </a:lnTo>
                  <a:lnTo>
                    <a:pt x="409" y="417"/>
                  </a:lnTo>
                  <a:lnTo>
                    <a:pt x="394" y="425"/>
                  </a:lnTo>
                  <a:lnTo>
                    <a:pt x="379" y="428"/>
                  </a:lnTo>
                  <a:lnTo>
                    <a:pt x="363" y="428"/>
                  </a:lnTo>
                  <a:lnTo>
                    <a:pt x="348" y="424"/>
                  </a:lnTo>
                  <a:lnTo>
                    <a:pt x="335" y="417"/>
                  </a:lnTo>
                  <a:lnTo>
                    <a:pt x="324" y="406"/>
                  </a:lnTo>
                  <a:lnTo>
                    <a:pt x="317" y="394"/>
                  </a:lnTo>
                  <a:lnTo>
                    <a:pt x="314" y="379"/>
                  </a:lnTo>
                  <a:lnTo>
                    <a:pt x="316" y="364"/>
                  </a:lnTo>
                  <a:lnTo>
                    <a:pt x="323" y="347"/>
                  </a:lnTo>
                  <a:lnTo>
                    <a:pt x="364" y="288"/>
                  </a:lnTo>
                  <a:lnTo>
                    <a:pt x="404" y="226"/>
                  </a:lnTo>
                  <a:lnTo>
                    <a:pt x="326" y="309"/>
                  </a:lnTo>
                  <a:lnTo>
                    <a:pt x="252" y="393"/>
                  </a:lnTo>
                  <a:lnTo>
                    <a:pt x="179" y="480"/>
                  </a:lnTo>
                  <a:lnTo>
                    <a:pt x="108" y="569"/>
                  </a:lnTo>
                  <a:lnTo>
                    <a:pt x="96" y="581"/>
                  </a:lnTo>
                  <a:lnTo>
                    <a:pt x="80" y="588"/>
                  </a:lnTo>
                  <a:lnTo>
                    <a:pt x="65" y="591"/>
                  </a:lnTo>
                  <a:lnTo>
                    <a:pt x="49" y="590"/>
                  </a:lnTo>
                  <a:lnTo>
                    <a:pt x="33" y="586"/>
                  </a:lnTo>
                  <a:lnTo>
                    <a:pt x="21" y="579"/>
                  </a:lnTo>
                  <a:lnTo>
                    <a:pt x="9" y="569"/>
                  </a:lnTo>
                  <a:lnTo>
                    <a:pt x="2" y="556"/>
                  </a:lnTo>
                  <a:lnTo>
                    <a:pt x="0" y="542"/>
                  </a:lnTo>
                  <a:lnTo>
                    <a:pt x="2" y="527"/>
                  </a:lnTo>
                  <a:lnTo>
                    <a:pt x="11" y="511"/>
                  </a:lnTo>
                  <a:lnTo>
                    <a:pt x="74" y="431"/>
                  </a:lnTo>
                  <a:lnTo>
                    <a:pt x="138" y="351"/>
                  </a:lnTo>
                  <a:lnTo>
                    <a:pt x="204" y="273"/>
                  </a:lnTo>
                  <a:lnTo>
                    <a:pt x="273" y="196"/>
                  </a:lnTo>
                  <a:lnTo>
                    <a:pt x="344" y="123"/>
                  </a:lnTo>
                  <a:lnTo>
                    <a:pt x="361" y="107"/>
                  </a:lnTo>
                  <a:lnTo>
                    <a:pt x="380" y="89"/>
                  </a:lnTo>
                  <a:lnTo>
                    <a:pt x="398" y="70"/>
                  </a:lnTo>
                  <a:lnTo>
                    <a:pt x="418" y="52"/>
                  </a:lnTo>
                  <a:lnTo>
                    <a:pt x="439" y="35"/>
                  </a:lnTo>
                  <a:lnTo>
                    <a:pt x="462" y="20"/>
                  </a:lnTo>
                  <a:lnTo>
                    <a:pt x="485" y="9"/>
                  </a:lnTo>
                  <a:lnTo>
                    <a:pt x="509" y="2"/>
                  </a:lnTo>
                  <a:lnTo>
                    <a:pt x="5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1" name="Group 31"/>
          <p:cNvGrpSpPr>
            <a:grpSpLocks noChangeAspect="1"/>
          </p:cNvGrpSpPr>
          <p:nvPr/>
        </p:nvGrpSpPr>
        <p:grpSpPr bwMode="auto">
          <a:xfrm>
            <a:off x="10945605" y="2588278"/>
            <a:ext cx="386108" cy="525710"/>
            <a:chOff x="-395" y="1802"/>
            <a:chExt cx="614" cy="836"/>
          </a:xfrm>
          <a:solidFill>
            <a:srgbClr val="26867C"/>
          </a:solidFill>
        </p:grpSpPr>
        <p:sp>
          <p:nvSpPr>
            <p:cNvPr id="74" name="Freeform 33"/>
            <p:cNvSpPr>
              <a:spLocks/>
            </p:cNvSpPr>
            <p:nvPr/>
          </p:nvSpPr>
          <p:spPr bwMode="auto">
            <a:xfrm>
              <a:off x="-121" y="1981"/>
              <a:ext cx="340" cy="657"/>
            </a:xfrm>
            <a:custGeom>
              <a:avLst/>
              <a:gdLst>
                <a:gd name="T0" fmla="*/ 1121 w 1360"/>
                <a:gd name="T1" fmla="*/ 3 h 2628"/>
                <a:gd name="T2" fmla="*/ 1232 w 1360"/>
                <a:gd name="T3" fmla="*/ 45 h 2628"/>
                <a:gd name="T4" fmla="*/ 1315 w 1360"/>
                <a:gd name="T5" fmla="*/ 127 h 2628"/>
                <a:gd name="T6" fmla="*/ 1357 w 1360"/>
                <a:gd name="T7" fmla="*/ 239 h 2628"/>
                <a:gd name="T8" fmla="*/ 1360 w 1360"/>
                <a:gd name="T9" fmla="*/ 427 h 2628"/>
                <a:gd name="T10" fmla="*/ 1360 w 1360"/>
                <a:gd name="T11" fmla="*/ 668 h 2628"/>
                <a:gd name="T12" fmla="*/ 1360 w 1360"/>
                <a:gd name="T13" fmla="*/ 925 h 2628"/>
                <a:gd name="T14" fmla="*/ 1360 w 1360"/>
                <a:gd name="T15" fmla="*/ 1189 h 2628"/>
                <a:gd name="T16" fmla="*/ 1360 w 1360"/>
                <a:gd name="T17" fmla="*/ 1451 h 2628"/>
                <a:gd name="T18" fmla="*/ 1360 w 1360"/>
                <a:gd name="T19" fmla="*/ 1700 h 2628"/>
                <a:gd name="T20" fmla="*/ 1359 w 1360"/>
                <a:gd name="T21" fmla="*/ 1930 h 2628"/>
                <a:gd name="T22" fmla="*/ 1359 w 1360"/>
                <a:gd name="T23" fmla="*/ 2130 h 2628"/>
                <a:gd name="T24" fmla="*/ 1359 w 1360"/>
                <a:gd name="T25" fmla="*/ 2290 h 2628"/>
                <a:gd name="T26" fmla="*/ 1359 w 1360"/>
                <a:gd name="T27" fmla="*/ 2402 h 2628"/>
                <a:gd name="T28" fmla="*/ 1359 w 1360"/>
                <a:gd name="T29" fmla="*/ 2456 h 2628"/>
                <a:gd name="T30" fmla="*/ 1349 w 1360"/>
                <a:gd name="T31" fmla="*/ 2519 h 2628"/>
                <a:gd name="T32" fmla="*/ 1299 w 1360"/>
                <a:gd name="T33" fmla="*/ 2588 h 2628"/>
                <a:gd name="T34" fmla="*/ 1222 w 1360"/>
                <a:gd name="T35" fmla="*/ 2625 h 2628"/>
                <a:gd name="T36" fmla="*/ 1133 w 1360"/>
                <a:gd name="T37" fmla="*/ 2617 h 2628"/>
                <a:gd name="T38" fmla="*/ 1064 w 1360"/>
                <a:gd name="T39" fmla="*/ 2568 h 2628"/>
                <a:gd name="T40" fmla="*/ 1027 w 1360"/>
                <a:gd name="T41" fmla="*/ 2491 h 2628"/>
                <a:gd name="T42" fmla="*/ 912 w 1360"/>
                <a:gd name="T43" fmla="*/ 1463 h 2628"/>
                <a:gd name="T44" fmla="*/ 921 w 1360"/>
                <a:gd name="T45" fmla="*/ 2530 h 2628"/>
                <a:gd name="T46" fmla="*/ 925 w 1360"/>
                <a:gd name="T47" fmla="*/ 2608 h 2628"/>
                <a:gd name="T48" fmla="*/ 846 w 1360"/>
                <a:gd name="T49" fmla="*/ 2628 h 2628"/>
                <a:gd name="T50" fmla="*/ 761 w 1360"/>
                <a:gd name="T51" fmla="*/ 2604 h 2628"/>
                <a:gd name="T52" fmla="*/ 701 w 1360"/>
                <a:gd name="T53" fmla="*/ 2544 h 2628"/>
                <a:gd name="T54" fmla="*/ 679 w 1360"/>
                <a:gd name="T55" fmla="*/ 2460 h 2628"/>
                <a:gd name="T56" fmla="*/ 748 w 1360"/>
                <a:gd name="T57" fmla="*/ 795 h 2628"/>
                <a:gd name="T58" fmla="*/ 793 w 1360"/>
                <a:gd name="T59" fmla="*/ 763 h 2628"/>
                <a:gd name="T60" fmla="*/ 1223 w 1360"/>
                <a:gd name="T61" fmla="*/ 253 h 2628"/>
                <a:gd name="T62" fmla="*/ 736 w 1360"/>
                <a:gd name="T63" fmla="*/ 701 h 2628"/>
                <a:gd name="T64" fmla="*/ 193 w 1360"/>
                <a:gd name="T65" fmla="*/ 941 h 2628"/>
                <a:gd name="T66" fmla="*/ 116 w 1360"/>
                <a:gd name="T67" fmla="*/ 950 h 2628"/>
                <a:gd name="T68" fmla="*/ 54 w 1360"/>
                <a:gd name="T69" fmla="*/ 922 h 2628"/>
                <a:gd name="T70" fmla="*/ 11 w 1360"/>
                <a:gd name="T71" fmla="*/ 866 h 2628"/>
                <a:gd name="T72" fmla="*/ 1 w 1360"/>
                <a:gd name="T73" fmla="*/ 794 h 2628"/>
                <a:gd name="T74" fmla="*/ 27 w 1360"/>
                <a:gd name="T75" fmla="*/ 729 h 2628"/>
                <a:gd name="T76" fmla="*/ 84 w 1360"/>
                <a:gd name="T77" fmla="*/ 684 h 2628"/>
                <a:gd name="T78" fmla="*/ 1034 w 1360"/>
                <a:gd name="T79" fmla="*/ 49 h 2628"/>
                <a:gd name="T80" fmla="*/ 678 w 1360"/>
                <a:gd name="T81" fmla="*/ 281 h 2628"/>
                <a:gd name="T82" fmla="*/ 704 w 1360"/>
                <a:gd name="T83" fmla="*/ 162 h 2628"/>
                <a:gd name="T84" fmla="*/ 775 w 1360"/>
                <a:gd name="T85" fmla="*/ 68 h 2628"/>
                <a:gd name="T86" fmla="*/ 878 w 1360"/>
                <a:gd name="T87" fmla="*/ 11 h 2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60" h="2628">
                  <a:moveTo>
                    <a:pt x="959" y="0"/>
                  </a:moveTo>
                  <a:lnTo>
                    <a:pt x="1079" y="0"/>
                  </a:lnTo>
                  <a:lnTo>
                    <a:pt x="1121" y="3"/>
                  </a:lnTo>
                  <a:lnTo>
                    <a:pt x="1160" y="11"/>
                  </a:lnTo>
                  <a:lnTo>
                    <a:pt x="1198" y="25"/>
                  </a:lnTo>
                  <a:lnTo>
                    <a:pt x="1232" y="45"/>
                  </a:lnTo>
                  <a:lnTo>
                    <a:pt x="1263" y="68"/>
                  </a:lnTo>
                  <a:lnTo>
                    <a:pt x="1291" y="97"/>
                  </a:lnTo>
                  <a:lnTo>
                    <a:pt x="1315" y="127"/>
                  </a:lnTo>
                  <a:lnTo>
                    <a:pt x="1335" y="162"/>
                  </a:lnTo>
                  <a:lnTo>
                    <a:pt x="1348" y="199"/>
                  </a:lnTo>
                  <a:lnTo>
                    <a:pt x="1357" y="239"/>
                  </a:lnTo>
                  <a:lnTo>
                    <a:pt x="1360" y="281"/>
                  </a:lnTo>
                  <a:lnTo>
                    <a:pt x="1360" y="353"/>
                  </a:lnTo>
                  <a:lnTo>
                    <a:pt x="1360" y="427"/>
                  </a:lnTo>
                  <a:lnTo>
                    <a:pt x="1360" y="505"/>
                  </a:lnTo>
                  <a:lnTo>
                    <a:pt x="1360" y="586"/>
                  </a:lnTo>
                  <a:lnTo>
                    <a:pt x="1360" y="668"/>
                  </a:lnTo>
                  <a:lnTo>
                    <a:pt x="1360" y="753"/>
                  </a:lnTo>
                  <a:lnTo>
                    <a:pt x="1360" y="839"/>
                  </a:lnTo>
                  <a:lnTo>
                    <a:pt x="1360" y="925"/>
                  </a:lnTo>
                  <a:lnTo>
                    <a:pt x="1360" y="1013"/>
                  </a:lnTo>
                  <a:lnTo>
                    <a:pt x="1360" y="1101"/>
                  </a:lnTo>
                  <a:lnTo>
                    <a:pt x="1360" y="1189"/>
                  </a:lnTo>
                  <a:lnTo>
                    <a:pt x="1360" y="1277"/>
                  </a:lnTo>
                  <a:lnTo>
                    <a:pt x="1360" y="1365"/>
                  </a:lnTo>
                  <a:lnTo>
                    <a:pt x="1360" y="1451"/>
                  </a:lnTo>
                  <a:lnTo>
                    <a:pt x="1360" y="1536"/>
                  </a:lnTo>
                  <a:lnTo>
                    <a:pt x="1360" y="1619"/>
                  </a:lnTo>
                  <a:lnTo>
                    <a:pt x="1360" y="1700"/>
                  </a:lnTo>
                  <a:lnTo>
                    <a:pt x="1359" y="1780"/>
                  </a:lnTo>
                  <a:lnTo>
                    <a:pt x="1359" y="1857"/>
                  </a:lnTo>
                  <a:lnTo>
                    <a:pt x="1359" y="1930"/>
                  </a:lnTo>
                  <a:lnTo>
                    <a:pt x="1359" y="2000"/>
                  </a:lnTo>
                  <a:lnTo>
                    <a:pt x="1359" y="2066"/>
                  </a:lnTo>
                  <a:lnTo>
                    <a:pt x="1359" y="2130"/>
                  </a:lnTo>
                  <a:lnTo>
                    <a:pt x="1359" y="2188"/>
                  </a:lnTo>
                  <a:lnTo>
                    <a:pt x="1359" y="2241"/>
                  </a:lnTo>
                  <a:lnTo>
                    <a:pt x="1359" y="2290"/>
                  </a:lnTo>
                  <a:lnTo>
                    <a:pt x="1359" y="2333"/>
                  </a:lnTo>
                  <a:lnTo>
                    <a:pt x="1359" y="2371"/>
                  </a:lnTo>
                  <a:lnTo>
                    <a:pt x="1359" y="2402"/>
                  </a:lnTo>
                  <a:lnTo>
                    <a:pt x="1359" y="2427"/>
                  </a:lnTo>
                  <a:lnTo>
                    <a:pt x="1359" y="2445"/>
                  </a:lnTo>
                  <a:lnTo>
                    <a:pt x="1359" y="2456"/>
                  </a:lnTo>
                  <a:lnTo>
                    <a:pt x="1359" y="2460"/>
                  </a:lnTo>
                  <a:lnTo>
                    <a:pt x="1356" y="2491"/>
                  </a:lnTo>
                  <a:lnTo>
                    <a:pt x="1349" y="2519"/>
                  </a:lnTo>
                  <a:lnTo>
                    <a:pt x="1336" y="2544"/>
                  </a:lnTo>
                  <a:lnTo>
                    <a:pt x="1319" y="2568"/>
                  </a:lnTo>
                  <a:lnTo>
                    <a:pt x="1299" y="2588"/>
                  </a:lnTo>
                  <a:lnTo>
                    <a:pt x="1275" y="2604"/>
                  </a:lnTo>
                  <a:lnTo>
                    <a:pt x="1250" y="2617"/>
                  </a:lnTo>
                  <a:lnTo>
                    <a:pt x="1222" y="2625"/>
                  </a:lnTo>
                  <a:lnTo>
                    <a:pt x="1191" y="2628"/>
                  </a:lnTo>
                  <a:lnTo>
                    <a:pt x="1161" y="2625"/>
                  </a:lnTo>
                  <a:lnTo>
                    <a:pt x="1133" y="2617"/>
                  </a:lnTo>
                  <a:lnTo>
                    <a:pt x="1106" y="2604"/>
                  </a:lnTo>
                  <a:lnTo>
                    <a:pt x="1083" y="2588"/>
                  </a:lnTo>
                  <a:lnTo>
                    <a:pt x="1064" y="2568"/>
                  </a:lnTo>
                  <a:lnTo>
                    <a:pt x="1046" y="2544"/>
                  </a:lnTo>
                  <a:lnTo>
                    <a:pt x="1034" y="2519"/>
                  </a:lnTo>
                  <a:lnTo>
                    <a:pt x="1027" y="2491"/>
                  </a:lnTo>
                  <a:lnTo>
                    <a:pt x="1024" y="2460"/>
                  </a:lnTo>
                  <a:lnTo>
                    <a:pt x="1024" y="1463"/>
                  </a:lnTo>
                  <a:lnTo>
                    <a:pt x="912" y="1463"/>
                  </a:lnTo>
                  <a:lnTo>
                    <a:pt x="912" y="2460"/>
                  </a:lnTo>
                  <a:lnTo>
                    <a:pt x="915" y="2496"/>
                  </a:lnTo>
                  <a:lnTo>
                    <a:pt x="921" y="2530"/>
                  </a:lnTo>
                  <a:lnTo>
                    <a:pt x="932" y="2562"/>
                  </a:lnTo>
                  <a:lnTo>
                    <a:pt x="947" y="2592"/>
                  </a:lnTo>
                  <a:lnTo>
                    <a:pt x="925" y="2608"/>
                  </a:lnTo>
                  <a:lnTo>
                    <a:pt x="901" y="2619"/>
                  </a:lnTo>
                  <a:lnTo>
                    <a:pt x="874" y="2625"/>
                  </a:lnTo>
                  <a:lnTo>
                    <a:pt x="846" y="2628"/>
                  </a:lnTo>
                  <a:lnTo>
                    <a:pt x="816" y="2625"/>
                  </a:lnTo>
                  <a:lnTo>
                    <a:pt x="788" y="2617"/>
                  </a:lnTo>
                  <a:lnTo>
                    <a:pt x="761" y="2604"/>
                  </a:lnTo>
                  <a:lnTo>
                    <a:pt x="738" y="2588"/>
                  </a:lnTo>
                  <a:lnTo>
                    <a:pt x="717" y="2568"/>
                  </a:lnTo>
                  <a:lnTo>
                    <a:pt x="701" y="2544"/>
                  </a:lnTo>
                  <a:lnTo>
                    <a:pt x="689" y="2519"/>
                  </a:lnTo>
                  <a:lnTo>
                    <a:pt x="681" y="2491"/>
                  </a:lnTo>
                  <a:lnTo>
                    <a:pt x="679" y="2460"/>
                  </a:lnTo>
                  <a:lnTo>
                    <a:pt x="678" y="826"/>
                  </a:lnTo>
                  <a:lnTo>
                    <a:pt x="729" y="803"/>
                  </a:lnTo>
                  <a:lnTo>
                    <a:pt x="748" y="795"/>
                  </a:lnTo>
                  <a:lnTo>
                    <a:pt x="764" y="787"/>
                  </a:lnTo>
                  <a:lnTo>
                    <a:pt x="780" y="776"/>
                  </a:lnTo>
                  <a:lnTo>
                    <a:pt x="793" y="763"/>
                  </a:lnTo>
                  <a:lnTo>
                    <a:pt x="1222" y="255"/>
                  </a:lnTo>
                  <a:lnTo>
                    <a:pt x="1223" y="254"/>
                  </a:lnTo>
                  <a:lnTo>
                    <a:pt x="1223" y="253"/>
                  </a:lnTo>
                  <a:lnTo>
                    <a:pt x="1223" y="254"/>
                  </a:lnTo>
                  <a:lnTo>
                    <a:pt x="1222" y="254"/>
                  </a:lnTo>
                  <a:lnTo>
                    <a:pt x="736" y="701"/>
                  </a:lnTo>
                  <a:lnTo>
                    <a:pt x="717" y="716"/>
                  </a:lnTo>
                  <a:lnTo>
                    <a:pt x="696" y="727"/>
                  </a:lnTo>
                  <a:lnTo>
                    <a:pt x="193" y="941"/>
                  </a:lnTo>
                  <a:lnTo>
                    <a:pt x="167" y="949"/>
                  </a:lnTo>
                  <a:lnTo>
                    <a:pt x="139" y="952"/>
                  </a:lnTo>
                  <a:lnTo>
                    <a:pt x="116" y="950"/>
                  </a:lnTo>
                  <a:lnTo>
                    <a:pt x="93" y="944"/>
                  </a:lnTo>
                  <a:lnTo>
                    <a:pt x="73" y="935"/>
                  </a:lnTo>
                  <a:lnTo>
                    <a:pt x="54" y="922"/>
                  </a:lnTo>
                  <a:lnTo>
                    <a:pt x="36" y="907"/>
                  </a:lnTo>
                  <a:lnTo>
                    <a:pt x="22" y="888"/>
                  </a:lnTo>
                  <a:lnTo>
                    <a:pt x="11" y="866"/>
                  </a:lnTo>
                  <a:lnTo>
                    <a:pt x="3" y="843"/>
                  </a:lnTo>
                  <a:lnTo>
                    <a:pt x="0" y="819"/>
                  </a:lnTo>
                  <a:lnTo>
                    <a:pt x="1" y="794"/>
                  </a:lnTo>
                  <a:lnTo>
                    <a:pt x="6" y="771"/>
                  </a:lnTo>
                  <a:lnTo>
                    <a:pt x="14" y="750"/>
                  </a:lnTo>
                  <a:lnTo>
                    <a:pt x="27" y="729"/>
                  </a:lnTo>
                  <a:lnTo>
                    <a:pt x="42" y="711"/>
                  </a:lnTo>
                  <a:lnTo>
                    <a:pt x="62" y="696"/>
                  </a:lnTo>
                  <a:lnTo>
                    <a:pt x="84" y="684"/>
                  </a:lnTo>
                  <a:lnTo>
                    <a:pt x="565" y="480"/>
                  </a:lnTo>
                  <a:lnTo>
                    <a:pt x="1033" y="50"/>
                  </a:lnTo>
                  <a:lnTo>
                    <a:pt x="1034" y="49"/>
                  </a:lnTo>
                  <a:lnTo>
                    <a:pt x="1033" y="50"/>
                  </a:lnTo>
                  <a:lnTo>
                    <a:pt x="678" y="301"/>
                  </a:lnTo>
                  <a:lnTo>
                    <a:pt x="678" y="281"/>
                  </a:lnTo>
                  <a:lnTo>
                    <a:pt x="681" y="239"/>
                  </a:lnTo>
                  <a:lnTo>
                    <a:pt x="690" y="199"/>
                  </a:lnTo>
                  <a:lnTo>
                    <a:pt x="704" y="162"/>
                  </a:lnTo>
                  <a:lnTo>
                    <a:pt x="724" y="127"/>
                  </a:lnTo>
                  <a:lnTo>
                    <a:pt x="747" y="97"/>
                  </a:lnTo>
                  <a:lnTo>
                    <a:pt x="775" y="68"/>
                  </a:lnTo>
                  <a:lnTo>
                    <a:pt x="806" y="45"/>
                  </a:lnTo>
                  <a:lnTo>
                    <a:pt x="841" y="25"/>
                  </a:lnTo>
                  <a:lnTo>
                    <a:pt x="878" y="11"/>
                  </a:lnTo>
                  <a:lnTo>
                    <a:pt x="918" y="3"/>
                  </a:lnTo>
                  <a:lnTo>
                    <a:pt x="9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34"/>
            <p:cNvSpPr>
              <a:spLocks/>
            </p:cNvSpPr>
            <p:nvPr/>
          </p:nvSpPr>
          <p:spPr bwMode="auto">
            <a:xfrm>
              <a:off x="52" y="1802"/>
              <a:ext cx="163" cy="163"/>
            </a:xfrm>
            <a:custGeom>
              <a:avLst/>
              <a:gdLst>
                <a:gd name="T0" fmla="*/ 326 w 653"/>
                <a:gd name="T1" fmla="*/ 0 h 652"/>
                <a:gd name="T2" fmla="*/ 371 w 653"/>
                <a:gd name="T3" fmla="*/ 3 h 652"/>
                <a:gd name="T4" fmla="*/ 413 w 653"/>
                <a:gd name="T5" fmla="*/ 12 h 652"/>
                <a:gd name="T6" fmla="*/ 453 w 653"/>
                <a:gd name="T7" fmla="*/ 26 h 652"/>
                <a:gd name="T8" fmla="*/ 491 w 653"/>
                <a:gd name="T9" fmla="*/ 45 h 652"/>
                <a:gd name="T10" fmla="*/ 525 w 653"/>
                <a:gd name="T11" fmla="*/ 68 h 652"/>
                <a:gd name="T12" fmla="*/ 557 w 653"/>
                <a:gd name="T13" fmla="*/ 96 h 652"/>
                <a:gd name="T14" fmla="*/ 585 w 653"/>
                <a:gd name="T15" fmla="*/ 127 h 652"/>
                <a:gd name="T16" fmla="*/ 608 w 653"/>
                <a:gd name="T17" fmla="*/ 162 h 652"/>
                <a:gd name="T18" fmla="*/ 627 w 653"/>
                <a:gd name="T19" fmla="*/ 199 h 652"/>
                <a:gd name="T20" fmla="*/ 641 w 653"/>
                <a:gd name="T21" fmla="*/ 239 h 652"/>
                <a:gd name="T22" fmla="*/ 650 w 653"/>
                <a:gd name="T23" fmla="*/ 282 h 652"/>
                <a:gd name="T24" fmla="*/ 653 w 653"/>
                <a:gd name="T25" fmla="*/ 327 h 652"/>
                <a:gd name="T26" fmla="*/ 650 w 653"/>
                <a:gd name="T27" fmla="*/ 370 h 652"/>
                <a:gd name="T28" fmla="*/ 641 w 653"/>
                <a:gd name="T29" fmla="*/ 413 h 652"/>
                <a:gd name="T30" fmla="*/ 627 w 653"/>
                <a:gd name="T31" fmla="*/ 453 h 652"/>
                <a:gd name="T32" fmla="*/ 608 w 653"/>
                <a:gd name="T33" fmla="*/ 490 h 652"/>
                <a:gd name="T34" fmla="*/ 585 w 653"/>
                <a:gd name="T35" fmla="*/ 525 h 652"/>
                <a:gd name="T36" fmla="*/ 557 w 653"/>
                <a:gd name="T37" fmla="*/ 556 h 652"/>
                <a:gd name="T38" fmla="*/ 525 w 653"/>
                <a:gd name="T39" fmla="*/ 584 h 652"/>
                <a:gd name="T40" fmla="*/ 491 w 653"/>
                <a:gd name="T41" fmla="*/ 607 h 652"/>
                <a:gd name="T42" fmla="*/ 453 w 653"/>
                <a:gd name="T43" fmla="*/ 627 h 652"/>
                <a:gd name="T44" fmla="*/ 413 w 653"/>
                <a:gd name="T45" fmla="*/ 641 h 652"/>
                <a:gd name="T46" fmla="*/ 371 w 653"/>
                <a:gd name="T47" fmla="*/ 649 h 652"/>
                <a:gd name="T48" fmla="*/ 326 w 653"/>
                <a:gd name="T49" fmla="*/ 652 h 652"/>
                <a:gd name="T50" fmla="*/ 282 w 653"/>
                <a:gd name="T51" fmla="*/ 649 h 652"/>
                <a:gd name="T52" fmla="*/ 239 w 653"/>
                <a:gd name="T53" fmla="*/ 641 h 652"/>
                <a:gd name="T54" fmla="*/ 200 w 653"/>
                <a:gd name="T55" fmla="*/ 627 h 652"/>
                <a:gd name="T56" fmla="*/ 162 w 653"/>
                <a:gd name="T57" fmla="*/ 607 h 652"/>
                <a:gd name="T58" fmla="*/ 127 w 653"/>
                <a:gd name="T59" fmla="*/ 584 h 652"/>
                <a:gd name="T60" fmla="*/ 96 w 653"/>
                <a:gd name="T61" fmla="*/ 556 h 652"/>
                <a:gd name="T62" fmla="*/ 68 w 653"/>
                <a:gd name="T63" fmla="*/ 525 h 652"/>
                <a:gd name="T64" fmla="*/ 45 w 653"/>
                <a:gd name="T65" fmla="*/ 490 h 652"/>
                <a:gd name="T66" fmla="*/ 26 w 653"/>
                <a:gd name="T67" fmla="*/ 453 h 652"/>
                <a:gd name="T68" fmla="*/ 11 w 653"/>
                <a:gd name="T69" fmla="*/ 413 h 652"/>
                <a:gd name="T70" fmla="*/ 3 w 653"/>
                <a:gd name="T71" fmla="*/ 370 h 652"/>
                <a:gd name="T72" fmla="*/ 0 w 653"/>
                <a:gd name="T73" fmla="*/ 327 h 652"/>
                <a:gd name="T74" fmla="*/ 3 w 653"/>
                <a:gd name="T75" fmla="*/ 282 h 652"/>
                <a:gd name="T76" fmla="*/ 11 w 653"/>
                <a:gd name="T77" fmla="*/ 239 h 652"/>
                <a:gd name="T78" fmla="*/ 26 w 653"/>
                <a:gd name="T79" fmla="*/ 199 h 652"/>
                <a:gd name="T80" fmla="*/ 45 w 653"/>
                <a:gd name="T81" fmla="*/ 162 h 652"/>
                <a:gd name="T82" fmla="*/ 68 w 653"/>
                <a:gd name="T83" fmla="*/ 127 h 652"/>
                <a:gd name="T84" fmla="*/ 96 w 653"/>
                <a:gd name="T85" fmla="*/ 96 h 652"/>
                <a:gd name="T86" fmla="*/ 127 w 653"/>
                <a:gd name="T87" fmla="*/ 68 h 652"/>
                <a:gd name="T88" fmla="*/ 162 w 653"/>
                <a:gd name="T89" fmla="*/ 45 h 652"/>
                <a:gd name="T90" fmla="*/ 200 w 653"/>
                <a:gd name="T91" fmla="*/ 26 h 652"/>
                <a:gd name="T92" fmla="*/ 239 w 653"/>
                <a:gd name="T93" fmla="*/ 12 h 652"/>
                <a:gd name="T94" fmla="*/ 282 w 653"/>
                <a:gd name="T95" fmla="*/ 3 h 652"/>
                <a:gd name="T96" fmla="*/ 326 w 653"/>
                <a:gd name="T97" fmla="*/ 0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53" h="652">
                  <a:moveTo>
                    <a:pt x="326" y="0"/>
                  </a:moveTo>
                  <a:lnTo>
                    <a:pt x="371" y="3"/>
                  </a:lnTo>
                  <a:lnTo>
                    <a:pt x="413" y="12"/>
                  </a:lnTo>
                  <a:lnTo>
                    <a:pt x="453" y="26"/>
                  </a:lnTo>
                  <a:lnTo>
                    <a:pt x="491" y="45"/>
                  </a:lnTo>
                  <a:lnTo>
                    <a:pt x="525" y="68"/>
                  </a:lnTo>
                  <a:lnTo>
                    <a:pt x="557" y="96"/>
                  </a:lnTo>
                  <a:lnTo>
                    <a:pt x="585" y="127"/>
                  </a:lnTo>
                  <a:lnTo>
                    <a:pt x="608" y="162"/>
                  </a:lnTo>
                  <a:lnTo>
                    <a:pt x="627" y="199"/>
                  </a:lnTo>
                  <a:lnTo>
                    <a:pt x="641" y="239"/>
                  </a:lnTo>
                  <a:lnTo>
                    <a:pt x="650" y="282"/>
                  </a:lnTo>
                  <a:lnTo>
                    <a:pt x="653" y="327"/>
                  </a:lnTo>
                  <a:lnTo>
                    <a:pt x="650" y="370"/>
                  </a:lnTo>
                  <a:lnTo>
                    <a:pt x="641" y="413"/>
                  </a:lnTo>
                  <a:lnTo>
                    <a:pt x="627" y="453"/>
                  </a:lnTo>
                  <a:lnTo>
                    <a:pt x="608" y="490"/>
                  </a:lnTo>
                  <a:lnTo>
                    <a:pt x="585" y="525"/>
                  </a:lnTo>
                  <a:lnTo>
                    <a:pt x="557" y="556"/>
                  </a:lnTo>
                  <a:lnTo>
                    <a:pt x="525" y="584"/>
                  </a:lnTo>
                  <a:lnTo>
                    <a:pt x="491" y="607"/>
                  </a:lnTo>
                  <a:lnTo>
                    <a:pt x="453" y="627"/>
                  </a:lnTo>
                  <a:lnTo>
                    <a:pt x="413" y="641"/>
                  </a:lnTo>
                  <a:lnTo>
                    <a:pt x="371" y="649"/>
                  </a:lnTo>
                  <a:lnTo>
                    <a:pt x="326" y="652"/>
                  </a:lnTo>
                  <a:lnTo>
                    <a:pt x="282" y="649"/>
                  </a:lnTo>
                  <a:lnTo>
                    <a:pt x="239" y="641"/>
                  </a:lnTo>
                  <a:lnTo>
                    <a:pt x="200" y="627"/>
                  </a:lnTo>
                  <a:lnTo>
                    <a:pt x="162" y="607"/>
                  </a:lnTo>
                  <a:lnTo>
                    <a:pt x="127" y="584"/>
                  </a:lnTo>
                  <a:lnTo>
                    <a:pt x="96" y="556"/>
                  </a:lnTo>
                  <a:lnTo>
                    <a:pt x="68" y="525"/>
                  </a:lnTo>
                  <a:lnTo>
                    <a:pt x="45" y="490"/>
                  </a:lnTo>
                  <a:lnTo>
                    <a:pt x="26" y="453"/>
                  </a:lnTo>
                  <a:lnTo>
                    <a:pt x="11" y="413"/>
                  </a:lnTo>
                  <a:lnTo>
                    <a:pt x="3" y="370"/>
                  </a:lnTo>
                  <a:lnTo>
                    <a:pt x="0" y="327"/>
                  </a:lnTo>
                  <a:lnTo>
                    <a:pt x="3" y="282"/>
                  </a:lnTo>
                  <a:lnTo>
                    <a:pt x="11" y="239"/>
                  </a:lnTo>
                  <a:lnTo>
                    <a:pt x="26" y="199"/>
                  </a:lnTo>
                  <a:lnTo>
                    <a:pt x="45" y="162"/>
                  </a:lnTo>
                  <a:lnTo>
                    <a:pt x="68" y="127"/>
                  </a:lnTo>
                  <a:lnTo>
                    <a:pt x="96" y="96"/>
                  </a:lnTo>
                  <a:lnTo>
                    <a:pt x="127" y="68"/>
                  </a:lnTo>
                  <a:lnTo>
                    <a:pt x="162" y="45"/>
                  </a:lnTo>
                  <a:lnTo>
                    <a:pt x="200" y="26"/>
                  </a:lnTo>
                  <a:lnTo>
                    <a:pt x="239" y="12"/>
                  </a:lnTo>
                  <a:lnTo>
                    <a:pt x="282" y="3"/>
                  </a:lnTo>
                  <a:lnTo>
                    <a:pt x="3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35"/>
            <p:cNvSpPr>
              <a:spLocks/>
            </p:cNvSpPr>
            <p:nvPr/>
          </p:nvSpPr>
          <p:spPr bwMode="auto">
            <a:xfrm>
              <a:off x="-391" y="1802"/>
              <a:ext cx="163" cy="163"/>
            </a:xfrm>
            <a:custGeom>
              <a:avLst/>
              <a:gdLst>
                <a:gd name="T0" fmla="*/ 326 w 653"/>
                <a:gd name="T1" fmla="*/ 0 h 652"/>
                <a:gd name="T2" fmla="*/ 371 w 653"/>
                <a:gd name="T3" fmla="*/ 3 h 652"/>
                <a:gd name="T4" fmla="*/ 414 w 653"/>
                <a:gd name="T5" fmla="*/ 12 h 652"/>
                <a:gd name="T6" fmla="*/ 453 w 653"/>
                <a:gd name="T7" fmla="*/ 26 h 652"/>
                <a:gd name="T8" fmla="*/ 491 w 653"/>
                <a:gd name="T9" fmla="*/ 45 h 652"/>
                <a:gd name="T10" fmla="*/ 526 w 653"/>
                <a:gd name="T11" fmla="*/ 68 h 652"/>
                <a:gd name="T12" fmla="*/ 557 w 653"/>
                <a:gd name="T13" fmla="*/ 96 h 652"/>
                <a:gd name="T14" fmla="*/ 585 w 653"/>
                <a:gd name="T15" fmla="*/ 127 h 652"/>
                <a:gd name="T16" fmla="*/ 608 w 653"/>
                <a:gd name="T17" fmla="*/ 162 h 652"/>
                <a:gd name="T18" fmla="*/ 627 w 653"/>
                <a:gd name="T19" fmla="*/ 199 h 652"/>
                <a:gd name="T20" fmla="*/ 641 w 653"/>
                <a:gd name="T21" fmla="*/ 239 h 652"/>
                <a:gd name="T22" fmla="*/ 650 w 653"/>
                <a:gd name="T23" fmla="*/ 282 h 652"/>
                <a:gd name="T24" fmla="*/ 653 w 653"/>
                <a:gd name="T25" fmla="*/ 327 h 652"/>
                <a:gd name="T26" fmla="*/ 650 w 653"/>
                <a:gd name="T27" fmla="*/ 370 h 652"/>
                <a:gd name="T28" fmla="*/ 641 w 653"/>
                <a:gd name="T29" fmla="*/ 413 h 652"/>
                <a:gd name="T30" fmla="*/ 627 w 653"/>
                <a:gd name="T31" fmla="*/ 453 h 652"/>
                <a:gd name="T32" fmla="*/ 608 w 653"/>
                <a:gd name="T33" fmla="*/ 490 h 652"/>
                <a:gd name="T34" fmla="*/ 585 w 653"/>
                <a:gd name="T35" fmla="*/ 525 h 652"/>
                <a:gd name="T36" fmla="*/ 557 w 653"/>
                <a:gd name="T37" fmla="*/ 556 h 652"/>
                <a:gd name="T38" fmla="*/ 526 w 653"/>
                <a:gd name="T39" fmla="*/ 584 h 652"/>
                <a:gd name="T40" fmla="*/ 491 w 653"/>
                <a:gd name="T41" fmla="*/ 607 h 652"/>
                <a:gd name="T42" fmla="*/ 453 w 653"/>
                <a:gd name="T43" fmla="*/ 627 h 652"/>
                <a:gd name="T44" fmla="*/ 414 w 653"/>
                <a:gd name="T45" fmla="*/ 641 h 652"/>
                <a:gd name="T46" fmla="*/ 371 w 653"/>
                <a:gd name="T47" fmla="*/ 649 h 652"/>
                <a:gd name="T48" fmla="*/ 326 w 653"/>
                <a:gd name="T49" fmla="*/ 652 h 652"/>
                <a:gd name="T50" fmla="*/ 282 w 653"/>
                <a:gd name="T51" fmla="*/ 649 h 652"/>
                <a:gd name="T52" fmla="*/ 240 w 653"/>
                <a:gd name="T53" fmla="*/ 641 h 652"/>
                <a:gd name="T54" fmla="*/ 200 w 653"/>
                <a:gd name="T55" fmla="*/ 627 h 652"/>
                <a:gd name="T56" fmla="*/ 162 w 653"/>
                <a:gd name="T57" fmla="*/ 607 h 652"/>
                <a:gd name="T58" fmla="*/ 127 w 653"/>
                <a:gd name="T59" fmla="*/ 584 h 652"/>
                <a:gd name="T60" fmla="*/ 96 w 653"/>
                <a:gd name="T61" fmla="*/ 556 h 652"/>
                <a:gd name="T62" fmla="*/ 68 w 653"/>
                <a:gd name="T63" fmla="*/ 525 h 652"/>
                <a:gd name="T64" fmla="*/ 45 w 653"/>
                <a:gd name="T65" fmla="*/ 490 h 652"/>
                <a:gd name="T66" fmla="*/ 26 w 653"/>
                <a:gd name="T67" fmla="*/ 453 h 652"/>
                <a:gd name="T68" fmla="*/ 11 w 653"/>
                <a:gd name="T69" fmla="*/ 413 h 652"/>
                <a:gd name="T70" fmla="*/ 3 w 653"/>
                <a:gd name="T71" fmla="*/ 370 h 652"/>
                <a:gd name="T72" fmla="*/ 0 w 653"/>
                <a:gd name="T73" fmla="*/ 327 h 652"/>
                <a:gd name="T74" fmla="*/ 3 w 653"/>
                <a:gd name="T75" fmla="*/ 282 h 652"/>
                <a:gd name="T76" fmla="*/ 11 w 653"/>
                <a:gd name="T77" fmla="*/ 239 h 652"/>
                <a:gd name="T78" fmla="*/ 26 w 653"/>
                <a:gd name="T79" fmla="*/ 199 h 652"/>
                <a:gd name="T80" fmla="*/ 45 w 653"/>
                <a:gd name="T81" fmla="*/ 162 h 652"/>
                <a:gd name="T82" fmla="*/ 68 w 653"/>
                <a:gd name="T83" fmla="*/ 127 h 652"/>
                <a:gd name="T84" fmla="*/ 96 w 653"/>
                <a:gd name="T85" fmla="*/ 96 h 652"/>
                <a:gd name="T86" fmla="*/ 127 w 653"/>
                <a:gd name="T87" fmla="*/ 68 h 652"/>
                <a:gd name="T88" fmla="*/ 162 w 653"/>
                <a:gd name="T89" fmla="*/ 45 h 652"/>
                <a:gd name="T90" fmla="*/ 200 w 653"/>
                <a:gd name="T91" fmla="*/ 26 h 652"/>
                <a:gd name="T92" fmla="*/ 240 w 653"/>
                <a:gd name="T93" fmla="*/ 12 h 652"/>
                <a:gd name="T94" fmla="*/ 282 w 653"/>
                <a:gd name="T95" fmla="*/ 3 h 652"/>
                <a:gd name="T96" fmla="*/ 326 w 653"/>
                <a:gd name="T97" fmla="*/ 0 h 652"/>
                <a:gd name="T98" fmla="*/ 326 w 653"/>
                <a:gd name="T99" fmla="*/ 0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53" h="652">
                  <a:moveTo>
                    <a:pt x="326" y="0"/>
                  </a:moveTo>
                  <a:lnTo>
                    <a:pt x="371" y="3"/>
                  </a:lnTo>
                  <a:lnTo>
                    <a:pt x="414" y="12"/>
                  </a:lnTo>
                  <a:lnTo>
                    <a:pt x="453" y="26"/>
                  </a:lnTo>
                  <a:lnTo>
                    <a:pt x="491" y="45"/>
                  </a:lnTo>
                  <a:lnTo>
                    <a:pt x="526" y="68"/>
                  </a:lnTo>
                  <a:lnTo>
                    <a:pt x="557" y="96"/>
                  </a:lnTo>
                  <a:lnTo>
                    <a:pt x="585" y="127"/>
                  </a:lnTo>
                  <a:lnTo>
                    <a:pt x="608" y="162"/>
                  </a:lnTo>
                  <a:lnTo>
                    <a:pt x="627" y="199"/>
                  </a:lnTo>
                  <a:lnTo>
                    <a:pt x="641" y="239"/>
                  </a:lnTo>
                  <a:lnTo>
                    <a:pt x="650" y="282"/>
                  </a:lnTo>
                  <a:lnTo>
                    <a:pt x="653" y="327"/>
                  </a:lnTo>
                  <a:lnTo>
                    <a:pt x="650" y="370"/>
                  </a:lnTo>
                  <a:lnTo>
                    <a:pt x="641" y="413"/>
                  </a:lnTo>
                  <a:lnTo>
                    <a:pt x="627" y="453"/>
                  </a:lnTo>
                  <a:lnTo>
                    <a:pt x="608" y="490"/>
                  </a:lnTo>
                  <a:lnTo>
                    <a:pt x="585" y="525"/>
                  </a:lnTo>
                  <a:lnTo>
                    <a:pt x="557" y="556"/>
                  </a:lnTo>
                  <a:lnTo>
                    <a:pt x="526" y="584"/>
                  </a:lnTo>
                  <a:lnTo>
                    <a:pt x="491" y="607"/>
                  </a:lnTo>
                  <a:lnTo>
                    <a:pt x="453" y="627"/>
                  </a:lnTo>
                  <a:lnTo>
                    <a:pt x="414" y="641"/>
                  </a:lnTo>
                  <a:lnTo>
                    <a:pt x="371" y="649"/>
                  </a:lnTo>
                  <a:lnTo>
                    <a:pt x="326" y="652"/>
                  </a:lnTo>
                  <a:lnTo>
                    <a:pt x="282" y="649"/>
                  </a:lnTo>
                  <a:lnTo>
                    <a:pt x="240" y="641"/>
                  </a:lnTo>
                  <a:lnTo>
                    <a:pt x="200" y="627"/>
                  </a:lnTo>
                  <a:lnTo>
                    <a:pt x="162" y="607"/>
                  </a:lnTo>
                  <a:lnTo>
                    <a:pt x="127" y="584"/>
                  </a:lnTo>
                  <a:lnTo>
                    <a:pt x="96" y="556"/>
                  </a:lnTo>
                  <a:lnTo>
                    <a:pt x="68" y="525"/>
                  </a:lnTo>
                  <a:lnTo>
                    <a:pt x="45" y="490"/>
                  </a:lnTo>
                  <a:lnTo>
                    <a:pt x="26" y="453"/>
                  </a:lnTo>
                  <a:lnTo>
                    <a:pt x="11" y="413"/>
                  </a:lnTo>
                  <a:lnTo>
                    <a:pt x="3" y="370"/>
                  </a:lnTo>
                  <a:lnTo>
                    <a:pt x="0" y="327"/>
                  </a:lnTo>
                  <a:lnTo>
                    <a:pt x="3" y="282"/>
                  </a:lnTo>
                  <a:lnTo>
                    <a:pt x="11" y="239"/>
                  </a:lnTo>
                  <a:lnTo>
                    <a:pt x="26" y="199"/>
                  </a:lnTo>
                  <a:lnTo>
                    <a:pt x="45" y="162"/>
                  </a:lnTo>
                  <a:lnTo>
                    <a:pt x="68" y="127"/>
                  </a:lnTo>
                  <a:lnTo>
                    <a:pt x="96" y="96"/>
                  </a:lnTo>
                  <a:lnTo>
                    <a:pt x="127" y="68"/>
                  </a:lnTo>
                  <a:lnTo>
                    <a:pt x="162" y="45"/>
                  </a:lnTo>
                  <a:lnTo>
                    <a:pt x="200" y="26"/>
                  </a:lnTo>
                  <a:lnTo>
                    <a:pt x="240" y="12"/>
                  </a:lnTo>
                  <a:lnTo>
                    <a:pt x="282" y="3"/>
                  </a:lnTo>
                  <a:lnTo>
                    <a:pt x="326" y="0"/>
                  </a:lnTo>
                  <a:lnTo>
                    <a:pt x="3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36"/>
            <p:cNvSpPr>
              <a:spLocks/>
            </p:cNvSpPr>
            <p:nvPr/>
          </p:nvSpPr>
          <p:spPr bwMode="auto">
            <a:xfrm>
              <a:off x="-395" y="1981"/>
              <a:ext cx="272" cy="657"/>
            </a:xfrm>
            <a:custGeom>
              <a:avLst/>
              <a:gdLst>
                <a:gd name="T0" fmla="*/ 400 w 1089"/>
                <a:gd name="T1" fmla="*/ 0 h 2628"/>
                <a:gd name="T2" fmla="*/ 482 w 1089"/>
                <a:gd name="T3" fmla="*/ 11 h 2628"/>
                <a:gd name="T4" fmla="*/ 554 w 1089"/>
                <a:gd name="T5" fmla="*/ 45 h 2628"/>
                <a:gd name="T6" fmla="*/ 613 w 1089"/>
                <a:gd name="T7" fmla="*/ 97 h 2628"/>
                <a:gd name="T8" fmla="*/ 656 w 1089"/>
                <a:gd name="T9" fmla="*/ 162 h 2628"/>
                <a:gd name="T10" fmla="*/ 678 w 1089"/>
                <a:gd name="T11" fmla="*/ 239 h 2628"/>
                <a:gd name="T12" fmla="*/ 681 w 1089"/>
                <a:gd name="T13" fmla="*/ 333 h 2628"/>
                <a:gd name="T14" fmla="*/ 750 w 1089"/>
                <a:gd name="T15" fmla="*/ 458 h 2628"/>
                <a:gd name="T16" fmla="*/ 1064 w 1089"/>
                <a:gd name="T17" fmla="*/ 670 h 2628"/>
                <a:gd name="T18" fmla="*/ 1028 w 1089"/>
                <a:gd name="T19" fmla="*/ 729 h 2628"/>
                <a:gd name="T20" fmla="*/ 1012 w 1089"/>
                <a:gd name="T21" fmla="*/ 795 h 2628"/>
                <a:gd name="T22" fmla="*/ 1018 w 1089"/>
                <a:gd name="T23" fmla="*/ 865 h 2628"/>
                <a:gd name="T24" fmla="*/ 1043 w 1089"/>
                <a:gd name="T25" fmla="*/ 925 h 2628"/>
                <a:gd name="T26" fmla="*/ 599 w 1089"/>
                <a:gd name="T27" fmla="*/ 693 h 2628"/>
                <a:gd name="T28" fmla="*/ 570 w 1089"/>
                <a:gd name="T29" fmla="*/ 671 h 2628"/>
                <a:gd name="T30" fmla="*/ 528 w 1089"/>
                <a:gd name="T31" fmla="*/ 714 h 2628"/>
                <a:gd name="T32" fmla="*/ 535 w 1089"/>
                <a:gd name="T33" fmla="*/ 719 h 2628"/>
                <a:gd name="T34" fmla="*/ 681 w 1089"/>
                <a:gd name="T35" fmla="*/ 824 h 2628"/>
                <a:gd name="T36" fmla="*/ 679 w 1089"/>
                <a:gd name="T37" fmla="*/ 2491 h 2628"/>
                <a:gd name="T38" fmla="*/ 659 w 1089"/>
                <a:gd name="T39" fmla="*/ 2544 h 2628"/>
                <a:gd name="T40" fmla="*/ 622 w 1089"/>
                <a:gd name="T41" fmla="*/ 2588 h 2628"/>
                <a:gd name="T42" fmla="*/ 572 w 1089"/>
                <a:gd name="T43" fmla="*/ 2617 h 2628"/>
                <a:gd name="T44" fmla="*/ 514 w 1089"/>
                <a:gd name="T45" fmla="*/ 2628 h 2628"/>
                <a:gd name="T46" fmla="*/ 459 w 1089"/>
                <a:gd name="T47" fmla="*/ 2619 h 2628"/>
                <a:gd name="T48" fmla="*/ 412 w 1089"/>
                <a:gd name="T49" fmla="*/ 2592 h 2628"/>
                <a:gd name="T50" fmla="*/ 438 w 1089"/>
                <a:gd name="T51" fmla="*/ 2530 h 2628"/>
                <a:gd name="T52" fmla="*/ 448 w 1089"/>
                <a:gd name="T53" fmla="*/ 2460 h 2628"/>
                <a:gd name="T54" fmla="*/ 336 w 1089"/>
                <a:gd name="T55" fmla="*/ 1463 h 2628"/>
                <a:gd name="T56" fmla="*/ 333 w 1089"/>
                <a:gd name="T57" fmla="*/ 2491 h 2628"/>
                <a:gd name="T58" fmla="*/ 313 w 1089"/>
                <a:gd name="T59" fmla="*/ 2544 h 2628"/>
                <a:gd name="T60" fmla="*/ 276 w 1089"/>
                <a:gd name="T61" fmla="*/ 2588 h 2628"/>
                <a:gd name="T62" fmla="*/ 227 w 1089"/>
                <a:gd name="T63" fmla="*/ 2617 h 2628"/>
                <a:gd name="T64" fmla="*/ 168 w 1089"/>
                <a:gd name="T65" fmla="*/ 2628 h 2628"/>
                <a:gd name="T66" fmla="*/ 110 w 1089"/>
                <a:gd name="T67" fmla="*/ 2617 h 2628"/>
                <a:gd name="T68" fmla="*/ 60 w 1089"/>
                <a:gd name="T69" fmla="*/ 2588 h 2628"/>
                <a:gd name="T70" fmla="*/ 23 w 1089"/>
                <a:gd name="T71" fmla="*/ 2544 h 2628"/>
                <a:gd name="T72" fmla="*/ 4 w 1089"/>
                <a:gd name="T73" fmla="*/ 2491 h 2628"/>
                <a:gd name="T74" fmla="*/ 1 w 1089"/>
                <a:gd name="T75" fmla="*/ 2456 h 2628"/>
                <a:gd name="T76" fmla="*/ 1 w 1089"/>
                <a:gd name="T77" fmla="*/ 2425 h 2628"/>
                <a:gd name="T78" fmla="*/ 1 w 1089"/>
                <a:gd name="T79" fmla="*/ 2367 h 2628"/>
                <a:gd name="T80" fmla="*/ 1 w 1089"/>
                <a:gd name="T81" fmla="*/ 2282 h 2628"/>
                <a:gd name="T82" fmla="*/ 1 w 1089"/>
                <a:gd name="T83" fmla="*/ 2176 h 2628"/>
                <a:gd name="T84" fmla="*/ 1 w 1089"/>
                <a:gd name="T85" fmla="*/ 2050 h 2628"/>
                <a:gd name="T86" fmla="*/ 0 w 1089"/>
                <a:gd name="T87" fmla="*/ 1908 h 2628"/>
                <a:gd name="T88" fmla="*/ 0 w 1089"/>
                <a:gd name="T89" fmla="*/ 1752 h 2628"/>
                <a:gd name="T90" fmla="*/ 0 w 1089"/>
                <a:gd name="T91" fmla="*/ 1585 h 2628"/>
                <a:gd name="T92" fmla="*/ 0 w 1089"/>
                <a:gd name="T93" fmla="*/ 1411 h 2628"/>
                <a:gd name="T94" fmla="*/ 0 w 1089"/>
                <a:gd name="T95" fmla="*/ 1231 h 2628"/>
                <a:gd name="T96" fmla="*/ 0 w 1089"/>
                <a:gd name="T97" fmla="*/ 1049 h 2628"/>
                <a:gd name="T98" fmla="*/ 0 w 1089"/>
                <a:gd name="T99" fmla="*/ 867 h 2628"/>
                <a:gd name="T100" fmla="*/ 0 w 1089"/>
                <a:gd name="T101" fmla="*/ 690 h 2628"/>
                <a:gd name="T102" fmla="*/ 0 w 1089"/>
                <a:gd name="T103" fmla="*/ 519 h 2628"/>
                <a:gd name="T104" fmla="*/ 0 w 1089"/>
                <a:gd name="T105" fmla="*/ 357 h 2628"/>
                <a:gd name="T106" fmla="*/ 3 w 1089"/>
                <a:gd name="T107" fmla="*/ 239 h 2628"/>
                <a:gd name="T108" fmla="*/ 25 w 1089"/>
                <a:gd name="T109" fmla="*/ 162 h 2628"/>
                <a:gd name="T110" fmla="*/ 68 w 1089"/>
                <a:gd name="T111" fmla="*/ 97 h 2628"/>
                <a:gd name="T112" fmla="*/ 127 w 1089"/>
                <a:gd name="T113" fmla="*/ 45 h 2628"/>
                <a:gd name="T114" fmla="*/ 200 w 1089"/>
                <a:gd name="T115" fmla="*/ 11 h 2628"/>
                <a:gd name="T116" fmla="*/ 281 w 1089"/>
                <a:gd name="T117" fmla="*/ 0 h 2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89" h="2628">
                  <a:moveTo>
                    <a:pt x="281" y="0"/>
                  </a:moveTo>
                  <a:lnTo>
                    <a:pt x="400" y="0"/>
                  </a:lnTo>
                  <a:lnTo>
                    <a:pt x="442" y="3"/>
                  </a:lnTo>
                  <a:lnTo>
                    <a:pt x="482" y="11"/>
                  </a:lnTo>
                  <a:lnTo>
                    <a:pt x="519" y="25"/>
                  </a:lnTo>
                  <a:lnTo>
                    <a:pt x="554" y="45"/>
                  </a:lnTo>
                  <a:lnTo>
                    <a:pt x="584" y="68"/>
                  </a:lnTo>
                  <a:lnTo>
                    <a:pt x="613" y="97"/>
                  </a:lnTo>
                  <a:lnTo>
                    <a:pt x="636" y="127"/>
                  </a:lnTo>
                  <a:lnTo>
                    <a:pt x="656" y="162"/>
                  </a:lnTo>
                  <a:lnTo>
                    <a:pt x="670" y="199"/>
                  </a:lnTo>
                  <a:lnTo>
                    <a:pt x="678" y="239"/>
                  </a:lnTo>
                  <a:lnTo>
                    <a:pt x="681" y="281"/>
                  </a:lnTo>
                  <a:lnTo>
                    <a:pt x="681" y="333"/>
                  </a:lnTo>
                  <a:lnTo>
                    <a:pt x="378" y="99"/>
                  </a:lnTo>
                  <a:lnTo>
                    <a:pt x="750" y="458"/>
                  </a:lnTo>
                  <a:lnTo>
                    <a:pt x="1089" y="646"/>
                  </a:lnTo>
                  <a:lnTo>
                    <a:pt x="1064" y="670"/>
                  </a:lnTo>
                  <a:lnTo>
                    <a:pt x="1044" y="699"/>
                  </a:lnTo>
                  <a:lnTo>
                    <a:pt x="1028" y="729"/>
                  </a:lnTo>
                  <a:lnTo>
                    <a:pt x="1018" y="762"/>
                  </a:lnTo>
                  <a:lnTo>
                    <a:pt x="1012" y="795"/>
                  </a:lnTo>
                  <a:lnTo>
                    <a:pt x="1012" y="830"/>
                  </a:lnTo>
                  <a:lnTo>
                    <a:pt x="1018" y="865"/>
                  </a:lnTo>
                  <a:lnTo>
                    <a:pt x="1029" y="900"/>
                  </a:lnTo>
                  <a:lnTo>
                    <a:pt x="1043" y="925"/>
                  </a:lnTo>
                  <a:lnTo>
                    <a:pt x="1059" y="949"/>
                  </a:lnTo>
                  <a:lnTo>
                    <a:pt x="599" y="693"/>
                  </a:lnTo>
                  <a:lnTo>
                    <a:pt x="583" y="682"/>
                  </a:lnTo>
                  <a:lnTo>
                    <a:pt x="570" y="671"/>
                  </a:lnTo>
                  <a:lnTo>
                    <a:pt x="184" y="300"/>
                  </a:lnTo>
                  <a:lnTo>
                    <a:pt x="528" y="714"/>
                  </a:lnTo>
                  <a:lnTo>
                    <a:pt x="532" y="716"/>
                  </a:lnTo>
                  <a:lnTo>
                    <a:pt x="535" y="719"/>
                  </a:lnTo>
                  <a:lnTo>
                    <a:pt x="570" y="744"/>
                  </a:lnTo>
                  <a:lnTo>
                    <a:pt x="681" y="824"/>
                  </a:lnTo>
                  <a:lnTo>
                    <a:pt x="681" y="2460"/>
                  </a:lnTo>
                  <a:lnTo>
                    <a:pt x="679" y="2491"/>
                  </a:lnTo>
                  <a:lnTo>
                    <a:pt x="671" y="2519"/>
                  </a:lnTo>
                  <a:lnTo>
                    <a:pt x="659" y="2544"/>
                  </a:lnTo>
                  <a:lnTo>
                    <a:pt x="641" y="2568"/>
                  </a:lnTo>
                  <a:lnTo>
                    <a:pt x="622" y="2588"/>
                  </a:lnTo>
                  <a:lnTo>
                    <a:pt x="599" y="2604"/>
                  </a:lnTo>
                  <a:lnTo>
                    <a:pt x="572" y="2617"/>
                  </a:lnTo>
                  <a:lnTo>
                    <a:pt x="544" y="2625"/>
                  </a:lnTo>
                  <a:lnTo>
                    <a:pt x="514" y="2628"/>
                  </a:lnTo>
                  <a:lnTo>
                    <a:pt x="486" y="2625"/>
                  </a:lnTo>
                  <a:lnTo>
                    <a:pt x="459" y="2619"/>
                  </a:lnTo>
                  <a:lnTo>
                    <a:pt x="435" y="2608"/>
                  </a:lnTo>
                  <a:lnTo>
                    <a:pt x="412" y="2592"/>
                  </a:lnTo>
                  <a:lnTo>
                    <a:pt x="428" y="2562"/>
                  </a:lnTo>
                  <a:lnTo>
                    <a:pt x="438" y="2530"/>
                  </a:lnTo>
                  <a:lnTo>
                    <a:pt x="445" y="2496"/>
                  </a:lnTo>
                  <a:lnTo>
                    <a:pt x="448" y="2460"/>
                  </a:lnTo>
                  <a:lnTo>
                    <a:pt x="448" y="1463"/>
                  </a:lnTo>
                  <a:lnTo>
                    <a:pt x="336" y="1463"/>
                  </a:lnTo>
                  <a:lnTo>
                    <a:pt x="336" y="2460"/>
                  </a:lnTo>
                  <a:lnTo>
                    <a:pt x="333" y="2491"/>
                  </a:lnTo>
                  <a:lnTo>
                    <a:pt x="326" y="2519"/>
                  </a:lnTo>
                  <a:lnTo>
                    <a:pt x="313" y="2544"/>
                  </a:lnTo>
                  <a:lnTo>
                    <a:pt x="296" y="2568"/>
                  </a:lnTo>
                  <a:lnTo>
                    <a:pt x="276" y="2588"/>
                  </a:lnTo>
                  <a:lnTo>
                    <a:pt x="253" y="2604"/>
                  </a:lnTo>
                  <a:lnTo>
                    <a:pt x="227" y="2617"/>
                  </a:lnTo>
                  <a:lnTo>
                    <a:pt x="199" y="2625"/>
                  </a:lnTo>
                  <a:lnTo>
                    <a:pt x="168" y="2628"/>
                  </a:lnTo>
                  <a:lnTo>
                    <a:pt x="138" y="2625"/>
                  </a:lnTo>
                  <a:lnTo>
                    <a:pt x="110" y="2617"/>
                  </a:lnTo>
                  <a:lnTo>
                    <a:pt x="83" y="2604"/>
                  </a:lnTo>
                  <a:lnTo>
                    <a:pt x="60" y="2588"/>
                  </a:lnTo>
                  <a:lnTo>
                    <a:pt x="41" y="2568"/>
                  </a:lnTo>
                  <a:lnTo>
                    <a:pt x="23" y="2544"/>
                  </a:lnTo>
                  <a:lnTo>
                    <a:pt x="11" y="2519"/>
                  </a:lnTo>
                  <a:lnTo>
                    <a:pt x="4" y="2491"/>
                  </a:lnTo>
                  <a:lnTo>
                    <a:pt x="1" y="2460"/>
                  </a:lnTo>
                  <a:lnTo>
                    <a:pt x="1" y="2456"/>
                  </a:lnTo>
                  <a:lnTo>
                    <a:pt x="1" y="2445"/>
                  </a:lnTo>
                  <a:lnTo>
                    <a:pt x="1" y="2425"/>
                  </a:lnTo>
                  <a:lnTo>
                    <a:pt x="1" y="2399"/>
                  </a:lnTo>
                  <a:lnTo>
                    <a:pt x="1" y="2367"/>
                  </a:lnTo>
                  <a:lnTo>
                    <a:pt x="1" y="2328"/>
                  </a:lnTo>
                  <a:lnTo>
                    <a:pt x="1" y="2282"/>
                  </a:lnTo>
                  <a:lnTo>
                    <a:pt x="1" y="2232"/>
                  </a:lnTo>
                  <a:lnTo>
                    <a:pt x="1" y="2176"/>
                  </a:lnTo>
                  <a:lnTo>
                    <a:pt x="1" y="2115"/>
                  </a:lnTo>
                  <a:lnTo>
                    <a:pt x="1" y="2050"/>
                  </a:lnTo>
                  <a:lnTo>
                    <a:pt x="0" y="1981"/>
                  </a:lnTo>
                  <a:lnTo>
                    <a:pt x="0" y="1908"/>
                  </a:lnTo>
                  <a:lnTo>
                    <a:pt x="0" y="1832"/>
                  </a:lnTo>
                  <a:lnTo>
                    <a:pt x="0" y="1752"/>
                  </a:lnTo>
                  <a:lnTo>
                    <a:pt x="0" y="1670"/>
                  </a:lnTo>
                  <a:lnTo>
                    <a:pt x="0" y="1585"/>
                  </a:lnTo>
                  <a:lnTo>
                    <a:pt x="0" y="1498"/>
                  </a:lnTo>
                  <a:lnTo>
                    <a:pt x="0" y="1411"/>
                  </a:lnTo>
                  <a:lnTo>
                    <a:pt x="0" y="1321"/>
                  </a:lnTo>
                  <a:lnTo>
                    <a:pt x="0" y="1231"/>
                  </a:lnTo>
                  <a:lnTo>
                    <a:pt x="0" y="1140"/>
                  </a:lnTo>
                  <a:lnTo>
                    <a:pt x="0" y="1049"/>
                  </a:lnTo>
                  <a:lnTo>
                    <a:pt x="0" y="957"/>
                  </a:lnTo>
                  <a:lnTo>
                    <a:pt x="0" y="867"/>
                  </a:lnTo>
                  <a:lnTo>
                    <a:pt x="0" y="778"/>
                  </a:lnTo>
                  <a:lnTo>
                    <a:pt x="0" y="690"/>
                  </a:lnTo>
                  <a:lnTo>
                    <a:pt x="0" y="603"/>
                  </a:lnTo>
                  <a:lnTo>
                    <a:pt x="0" y="519"/>
                  </a:lnTo>
                  <a:lnTo>
                    <a:pt x="0" y="436"/>
                  </a:lnTo>
                  <a:lnTo>
                    <a:pt x="0" y="357"/>
                  </a:lnTo>
                  <a:lnTo>
                    <a:pt x="0" y="281"/>
                  </a:lnTo>
                  <a:lnTo>
                    <a:pt x="3" y="239"/>
                  </a:lnTo>
                  <a:lnTo>
                    <a:pt x="11" y="199"/>
                  </a:lnTo>
                  <a:lnTo>
                    <a:pt x="25" y="162"/>
                  </a:lnTo>
                  <a:lnTo>
                    <a:pt x="45" y="127"/>
                  </a:lnTo>
                  <a:lnTo>
                    <a:pt x="68" y="97"/>
                  </a:lnTo>
                  <a:lnTo>
                    <a:pt x="97" y="68"/>
                  </a:lnTo>
                  <a:lnTo>
                    <a:pt x="127" y="45"/>
                  </a:lnTo>
                  <a:lnTo>
                    <a:pt x="162" y="25"/>
                  </a:lnTo>
                  <a:lnTo>
                    <a:pt x="200" y="11"/>
                  </a:lnTo>
                  <a:lnTo>
                    <a:pt x="239" y="3"/>
                  </a:lnTo>
                  <a:lnTo>
                    <a:pt x="28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609747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8</TotalTime>
  <Words>2549</Words>
  <Application>Microsoft Office PowerPoint</Application>
  <PresentationFormat>Widescreen</PresentationFormat>
  <Paragraphs>537</Paragraphs>
  <Slides>5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0</vt:i4>
      </vt:variant>
    </vt:vector>
  </HeadingPairs>
  <TitlesOfParts>
    <vt:vector size="58" baseType="lpstr">
      <vt:lpstr>Adobe Fan Heiti Std B</vt:lpstr>
      <vt:lpstr>Arial</vt:lpstr>
      <vt:lpstr>Calibri</vt:lpstr>
      <vt:lpstr>Calibri Light</vt:lpstr>
      <vt:lpstr>Century Gothic</vt:lpstr>
      <vt:lpstr>Franklin Gothic Book</vt:lpstr>
      <vt:lpstr>Office Theme</vt:lpstr>
      <vt:lpstr>think-cell Slide</vt:lpstr>
      <vt:lpstr>PowerPoint Presentation</vt:lpstr>
      <vt:lpstr>How can I take my practice to the next level?</vt:lpstr>
      <vt:lpstr>Our methodology</vt:lpstr>
      <vt:lpstr>WHAT IS A LAND TRUST?</vt:lpstr>
      <vt:lpstr>PowerPoint Presentation</vt:lpstr>
      <vt:lpstr>  HOW A LAND TRUST IS CREATED</vt:lpstr>
      <vt:lpstr>  FINDING THE RIGHT ATTORNEY/ADVISOR</vt:lpstr>
      <vt:lpstr>SP LARNER  Strategic Alliance Extended Team</vt:lpstr>
      <vt:lpstr>     BENEFITS OF THE ALOHA COMMITMENT TRUST</vt:lpstr>
      <vt:lpstr>BENEFIT 1:  USE  SHARES FOR COLLATERAL WHEN BORROWING</vt:lpstr>
      <vt:lpstr>BENEFIT 2:    PRIVACY AND SECRECY IN ACQUISITION</vt:lpstr>
      <vt:lpstr>BENEFIT 3:   MARITAL DOCUMENTS SIGNED BY TRUSTEE</vt:lpstr>
      <vt:lpstr>BENEFIT 4: TRANSFER BY WRITTEN ASSIGNMENT-NOT DEED</vt:lpstr>
      <vt:lpstr>  BENEFIT 5:  ESTATE PLANNING FLEXIBILITY</vt:lpstr>
      <vt:lpstr>BENEFIT 6:   CAPITAL GAINS TAX WILL NOT BE     TRIGGERED</vt:lpstr>
      <vt:lpstr>  BENEFIT 7:   EASE IN SPLITTING ASSETS</vt:lpstr>
      <vt:lpstr>  BENEFIT 8:  TRUST PLACEMENT NEGATES TAXATION</vt:lpstr>
      <vt:lpstr>BENEFIT 9:  CIRCUMVENT THE DUE ON SALE CLAUSE</vt:lpstr>
      <vt:lpstr>  BENEFIT 10:     LOW PROFILE ON PUBLIC RECORD</vt:lpstr>
      <vt:lpstr>BENEFIT 11: KEEP THE SALES PRICECONFIDENTIAL</vt:lpstr>
      <vt:lpstr>BENEFIT 12:   ELIMINATE TITLE INSURANCE TRANSFER COST</vt:lpstr>
      <vt:lpstr>BENEFIT 13:   AVOIDS PROBATE</vt:lpstr>
      <vt:lpstr>BENEFIT 14:  LIMIT LENDER’S SECURITY AGAINST THE PROPERTY</vt:lpstr>
      <vt:lpstr>BENEFIT 15: TRUE LENDER CONFIDENTIALITY RE: TENANTS</vt:lpstr>
      <vt:lpstr>BENEFIT 16: MAY BE DRAWN AS PARTNERSHIP OR JOINT VENTURE</vt:lpstr>
      <vt:lpstr>BENEFIT 17: AN IRA CAN PURCHASE PROPERTY IN A LAND TRUST</vt:lpstr>
      <vt:lpstr> BENEFIT 17: A NEW BENEFICIARY MAY MAKE CHANGES</vt:lpstr>
      <vt:lpstr>BENEFIT 19: CHANGES ONLY NEED TO BE SIGNED BY BENEFICIARY</vt:lpstr>
      <vt:lpstr>BENEFIT 20:   NO DOCUMENTARY STAMPS UPON ASSIGNMENT.</vt:lpstr>
      <vt:lpstr>BENEFIT 21: CROSS BORDER CLIENTS MAY AVOID DOUBLE TAX</vt:lpstr>
      <vt:lpstr>BENEFIT 22: SPLIT OWNERSHIP NOW TO MINIMIZE TAXES LATER</vt:lpstr>
      <vt:lpstr>BENEFIT 23: PLANNING TO DISTRIBUTE ALL PROPERTY AT DEATH</vt:lpstr>
      <vt:lpstr>BENEFIT 24: THE LAND TRUST IS INEXPENSIVE TO IMPLEMENT</vt:lpstr>
      <vt:lpstr> BENEFIT 25: A REGISTERED AGENT IS NOT REQUIRED </vt:lpstr>
      <vt:lpstr> BENEFIT 26: PROPERTY IS EASIER TO FORECLOSE UPON</vt:lpstr>
      <vt:lpstr>BENEFIT 27:  EASE IN OPERATING ACROSS STATE LINES</vt:lpstr>
      <vt:lpstr>BENEFIT 28: STOP ADVERSARIES FROM CONTRACT INTERFERENCE</vt:lpstr>
      <vt:lpstr>BENEFIT 29: AVOID IDENTITY THEFT OF NAME AND SIGNATURE</vt:lpstr>
      <vt:lpstr> BENEFIT 30:  NO PERSONAL CREDIT REPORTING</vt:lpstr>
      <vt:lpstr>BENEFIT 31: SPOUSE NEED SIGN FOR PROPERTY TRANSFERS</vt:lpstr>
      <vt:lpstr>BENEFIT 32:  PROTECTION FROM HOMEOWNER’S ISSUES</vt:lpstr>
      <vt:lpstr> BENEFIT 33:  DISPOSING OF PART ISSUES</vt:lpstr>
      <vt:lpstr>  BENEFIT 34:  A LAND TRUST IS EASY TO CREATE</vt:lpstr>
      <vt:lpstr>BENEFIT 35:  PROTECT AGAINST UNFORESEEN CIRCUMSTANCES</vt:lpstr>
      <vt:lpstr>BENEFIT 36: AVOID PROBATE IN HOME STATE OR COUNTRY</vt:lpstr>
      <vt:lpstr>BENEFIT 37:   LAND TRUST “GIFT BANK” FOR ANNUAL EXCLUSION</vt:lpstr>
      <vt:lpstr>BENEFIT 38:  LAND TRUST CERTIFICATES WITH NO DEFINITE TERM</vt:lpstr>
      <vt:lpstr> BENEFIT 39:  FORMATION OF A BUY-SELL AGREEMENT</vt:lpstr>
      <vt:lpstr>BENEFIT 40:  JUDGMENT PROOF YOUR PROPERTY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ul Larner, Ph.D. LL.M., MBA</dc:creator>
  <cp:lastModifiedBy>Alan Silva</cp:lastModifiedBy>
  <cp:revision>89</cp:revision>
  <dcterms:created xsi:type="dcterms:W3CDTF">2018-07-30T05:25:46Z</dcterms:created>
  <dcterms:modified xsi:type="dcterms:W3CDTF">2020-01-24T00:05:28Z</dcterms:modified>
</cp:coreProperties>
</file>